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8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2.xml" ContentType="application/vnd.openxmlformats-officedocument.drawingml.chartshape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3.xml" ContentType="application/vnd.openxmlformats-officedocument.drawingml.chartshape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4.xml" ContentType="application/vnd.openxmlformats-officedocument.drawingml.chartshape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2" r:id="rId2"/>
    <p:sldMasterId id="2147483681" r:id="rId3"/>
    <p:sldMasterId id="2147483689" r:id="rId4"/>
    <p:sldMasterId id="2147483716" r:id="rId5"/>
    <p:sldMasterId id="2147483737" r:id="rId6"/>
    <p:sldMasterId id="2147483771" r:id="rId7"/>
    <p:sldMasterId id="2147483778" r:id="rId8"/>
  </p:sldMasterIdLst>
  <p:notesMasterIdLst>
    <p:notesMasterId r:id="rId24"/>
  </p:notesMasterIdLst>
  <p:handoutMasterIdLst>
    <p:handoutMasterId r:id="rId25"/>
  </p:handoutMasterIdLst>
  <p:sldIdLst>
    <p:sldId id="336" r:id="rId9"/>
    <p:sldId id="370" r:id="rId10"/>
    <p:sldId id="371" r:id="rId11"/>
    <p:sldId id="368" r:id="rId12"/>
    <p:sldId id="382" r:id="rId13"/>
    <p:sldId id="372" r:id="rId14"/>
    <p:sldId id="373" r:id="rId15"/>
    <p:sldId id="374" r:id="rId16"/>
    <p:sldId id="377" r:id="rId17"/>
    <p:sldId id="375" r:id="rId18"/>
    <p:sldId id="378" r:id="rId19"/>
    <p:sldId id="405" r:id="rId20"/>
    <p:sldId id="338" r:id="rId21"/>
    <p:sldId id="404" r:id="rId22"/>
    <p:sldId id="381" r:id="rId23"/>
  </p:sldIdLst>
  <p:sldSz cx="12192000" cy="6858000"/>
  <p:notesSz cx="6797675" cy="9926638"/>
  <p:custDataLst>
    <p:tags r:id="rId26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840" userDrawn="1">
          <p15:clr>
            <a:srgbClr val="A4A3A4"/>
          </p15:clr>
        </p15:guide>
        <p15:guide id="4" pos="7151" userDrawn="1">
          <p15:clr>
            <a:srgbClr val="A4A3A4"/>
          </p15:clr>
        </p15:guide>
        <p15:guide id="7" orient="horz" pos="2319" userDrawn="1">
          <p15:clr>
            <a:srgbClr val="A4A3A4"/>
          </p15:clr>
        </p15:guide>
        <p15:guide id="8" orient="horz" pos="36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7E4DD"/>
    <a:srgbClr val="D9E7DE"/>
    <a:srgbClr val="E5EDF2"/>
    <a:srgbClr val="F6F5F1"/>
    <a:srgbClr val="366D6B"/>
    <a:srgbClr val="D36248"/>
    <a:srgbClr val="8FB8CA"/>
    <a:srgbClr val="3B5776"/>
    <a:srgbClr val="9D9C9C"/>
    <a:srgbClr val="3664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82577" autoAdjust="0"/>
  </p:normalViewPr>
  <p:slideViewPr>
    <p:cSldViewPr snapToGrid="0" showGuides="1">
      <p:cViewPr varScale="1">
        <p:scale>
          <a:sx n="84" d="100"/>
          <a:sy n="84" d="100"/>
        </p:scale>
        <p:origin x="552" y="90"/>
      </p:cViewPr>
      <p:guideLst>
        <p:guide pos="3840"/>
        <p:guide pos="7151"/>
        <p:guide orient="horz" pos="2319"/>
        <p:guide orient="horz" pos="361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4" d="100"/>
          <a:sy n="74" d="100"/>
        </p:scale>
        <p:origin x="4044" y="7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brg.local\Shares\Profiles\petwar\Desktop\&#214;vrigt\PPTer\export%20donut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https://businessregion.sharepoint.com/sites/etablering-och-investering-avd/Delade%20dokument/Analys/Statistik/Konjunkturen/Statistik/Arbetsmarknaden/Nya%20platser,%20varsel%20och%20konkurser/Nya%20platser%20och%20varsel%20-%20fr&#229;n%201998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https://businessregion.sharepoint.com/sites/etablering-och-investering-avd/Delade%20dokument/Analys/Statistik/Konjunkturen/Statistik/Konkurser/Konkurser%20och%20drabbade%20anst&#228;llda%20alla%20kommuner%20samt%20per%20bransch%20-%20&#229;rlig%20fr&#229;n%201994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https://businessregion.sharepoint.com/sites/etablering-och-investering-avd/Delade%20dokument/Analys/Statistik/Konjunkturen/Statistik/Konkurser/Konkurser%20och%20drabbade%20anst&#228;llda%20alla%20kommuner%20samt%20per%20bransch%20-%20&#229;rlig%20fr&#229;n%201994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businessregion.sharepoint.com/sites/etablering-och-investering-avd/Delade%20dokument/Analys/Statistik/Konjunkturen/Statistik/BNP%20data/BNP%20senaste%20prognoser%20fr&#229;n%20KIs%20sammanst&#228;llning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businessregion.sharepoint.com/sites/etablering-och-investering-avd/Delade%20dokument/Analys/Statistik/Konjunkturen/Statistik/F&#246;retagssektor/Konjunkturinstitutet/KI%20m&#228;tare%20till%20rapport.xlsx" TargetMode="Externa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businessregion.sharepoint.com/sites/etablering-och-investering-avd/Delade%20dokument/Analys/Statistik/Konjunkturen/Statistik/F&#246;retagssektor/Konjunkturinstitutet/KI%20barometer%20G&#246;teborgsregionen%20-masterfil.xlsx" TargetMode="Externa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businessregion.sharepoint.com/sites/etablering-och-investering-avd/Delade%20dokument/Analys/Statistik/Konjunkturen/Statistik/F&#246;retagssektor/Konjunkturinstitutet/KI%20m&#228;tare%20till%20rapport.xlsx" TargetMode="Externa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businessregion.sharepoint.com/sites/etablering-och-investering-avd/Delade%20dokument/Analys/Statistik/Konjunkturen/Statistik/F&#246;retagssektor/Konjunkturinstitutet/KI%20m&#228;tare%20till%20rapport.xlsx" TargetMode="Externa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4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businessregion.sharepoint.com/sites/etablering-och-investering-avd/Delade%20dokument/Analys/Statistik/Konjunkturen/Rapportunderlag/2022/AKU%20ers&#228;ttare%20under%202022/Ny%20AKU%20fil%20sysselsatta%20per%20storstadsregion%20-%20fr&#229;n%202008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businessregion.sharepoint.com/sites/etablering-och-investering-avd/Delade%20dokument/Analys/Statistik/Konjunkturen/Statistik/Arbetsmarknaden/Antal%20arbetsl&#246;sa/M&#229;nadsdata%20-%20totalt%2016-64%20&#229;r%20-%20fr&#229;n%202007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https://businessregion.sharepoint.com/sites/etablering-och-investering-avd/Delade%20dokument/Analys/Statistik/Konjunkturen/Statistik/Arbetsmarknaden/Nya%20platser,%20varsel%20och%20konkurser/Nya%20platser%20och%20varsel%20-%20fr&#229;n%201998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608278157157949E-2"/>
          <c:y val="2.5959301473195747E-2"/>
          <c:w val="0.8731776993074043"/>
          <c:h val="0.94190722247604053"/>
        </c:manualLayout>
      </c:layout>
      <c:doughnutChart>
        <c:varyColors val="1"/>
        <c:ser>
          <c:idx val="0"/>
          <c:order val="0"/>
          <c:spPr>
            <a:ln w="63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2">
                  <a:shade val="41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618-4D80-B9BE-A3D14436304F}"/>
              </c:ext>
            </c:extLst>
          </c:dPt>
          <c:dPt>
            <c:idx val="1"/>
            <c:bubble3D val="0"/>
            <c:spPr>
              <a:solidFill>
                <a:schemeClr val="accent2">
                  <a:shade val="53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618-4D80-B9BE-A3D14436304F}"/>
              </c:ext>
            </c:extLst>
          </c:dPt>
          <c:dPt>
            <c:idx val="2"/>
            <c:bubble3D val="0"/>
            <c:spPr>
              <a:solidFill>
                <a:schemeClr val="accent2">
                  <a:shade val="65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618-4D80-B9BE-A3D14436304F}"/>
              </c:ext>
            </c:extLst>
          </c:dPt>
          <c:dPt>
            <c:idx val="3"/>
            <c:bubble3D val="0"/>
            <c:spPr>
              <a:solidFill>
                <a:schemeClr val="accent2">
                  <a:shade val="76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618-4D80-B9BE-A3D14436304F}"/>
              </c:ext>
            </c:extLst>
          </c:dPt>
          <c:dPt>
            <c:idx val="4"/>
            <c:bubble3D val="0"/>
            <c:spPr>
              <a:solidFill>
                <a:schemeClr val="accent2">
                  <a:shade val="88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E618-4D80-B9BE-A3D14436304F}"/>
              </c:ext>
            </c:extLst>
          </c:dPt>
          <c:dPt>
            <c:idx val="5"/>
            <c:bubble3D val="0"/>
            <c:spPr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E618-4D80-B9BE-A3D14436304F}"/>
              </c:ext>
            </c:extLst>
          </c:dPt>
          <c:dPt>
            <c:idx val="6"/>
            <c:bubble3D val="0"/>
            <c:spPr>
              <a:solidFill>
                <a:schemeClr val="accent2">
                  <a:tint val="89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E618-4D80-B9BE-A3D14436304F}"/>
              </c:ext>
            </c:extLst>
          </c:dPt>
          <c:dPt>
            <c:idx val="7"/>
            <c:bubble3D val="0"/>
            <c:spPr>
              <a:solidFill>
                <a:schemeClr val="accent2">
                  <a:tint val="77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E618-4D80-B9BE-A3D14436304F}"/>
              </c:ext>
            </c:extLst>
          </c:dPt>
          <c:dPt>
            <c:idx val="8"/>
            <c:bubble3D val="0"/>
            <c:spPr>
              <a:solidFill>
                <a:schemeClr val="accent2">
                  <a:tint val="65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E618-4D80-B9BE-A3D14436304F}"/>
              </c:ext>
            </c:extLst>
          </c:dPt>
          <c:dPt>
            <c:idx val="9"/>
            <c:bubble3D val="0"/>
            <c:spPr>
              <a:solidFill>
                <a:schemeClr val="accent2">
                  <a:tint val="54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E618-4D80-B9BE-A3D14436304F}"/>
              </c:ext>
            </c:extLst>
          </c:dPt>
          <c:dPt>
            <c:idx val="10"/>
            <c:bubble3D val="0"/>
            <c:spPr>
              <a:solidFill>
                <a:schemeClr val="accent2">
                  <a:tint val="42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E618-4D80-B9BE-A3D14436304F}"/>
              </c:ext>
            </c:extLst>
          </c:dPt>
          <c:cat>
            <c:strRef>
              <c:f>Blad1!$G$6:$G$16</c:f>
              <c:strCache>
                <c:ptCount val="11"/>
                <c:pt idx="0">
                  <c:v>USA</c:v>
                </c:pt>
                <c:pt idx="1">
                  <c:v>Belgien</c:v>
                </c:pt>
                <c:pt idx="2">
                  <c:v>Norge</c:v>
                </c:pt>
                <c:pt idx="3">
                  <c:v>Kina</c:v>
                </c:pt>
                <c:pt idx="4">
                  <c:v>Tyskland</c:v>
                </c:pt>
                <c:pt idx="5">
                  <c:v>Danmark</c:v>
                </c:pt>
                <c:pt idx="6">
                  <c:v>Finland</c:v>
                </c:pt>
                <c:pt idx="7">
                  <c:v>Storbritannien</c:v>
                </c:pt>
                <c:pt idx="8">
                  <c:v>Nederländerna</c:v>
                </c:pt>
                <c:pt idx="9">
                  <c:v>Frankrike</c:v>
                </c:pt>
                <c:pt idx="10">
                  <c:v>Övriga länder</c:v>
                </c:pt>
              </c:strCache>
            </c:strRef>
          </c:cat>
          <c:val>
            <c:numRef>
              <c:f>Blad1!$H$6:$H$16</c:f>
              <c:numCache>
                <c:formatCode>0%</c:formatCode>
                <c:ptCount val="11"/>
                <c:pt idx="0">
                  <c:v>0.14399999999999999</c:v>
                </c:pt>
                <c:pt idx="1">
                  <c:v>0.109</c:v>
                </c:pt>
                <c:pt idx="2">
                  <c:v>9.7000000000000003E-2</c:v>
                </c:pt>
                <c:pt idx="3">
                  <c:v>9.5000000000000001E-2</c:v>
                </c:pt>
                <c:pt idx="4">
                  <c:v>8.3000000000000004E-2</c:v>
                </c:pt>
                <c:pt idx="5">
                  <c:v>7.2999999999999995E-2</c:v>
                </c:pt>
                <c:pt idx="6">
                  <c:v>5.7000000000000002E-2</c:v>
                </c:pt>
                <c:pt idx="7">
                  <c:v>5.0999999999999997E-2</c:v>
                </c:pt>
                <c:pt idx="8">
                  <c:v>3.7999999999999999E-2</c:v>
                </c:pt>
                <c:pt idx="9">
                  <c:v>3.4000000000000002E-2</c:v>
                </c:pt>
                <c:pt idx="10">
                  <c:v>0.2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E618-4D80-B9BE-A3D1443630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prstDash val="solid"/>
      <a:round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930769230769231E-2"/>
          <c:y val="3.7207211254850991E-2"/>
          <c:w val="0.87845641025641019"/>
          <c:h val="0.92272222222222222"/>
        </c:manualLayout>
      </c:layout>
      <c:lineChart>
        <c:grouping val="standard"/>
        <c:varyColors val="0"/>
        <c:ser>
          <c:idx val="1"/>
          <c:order val="0"/>
          <c:tx>
            <c:v>  Varsel</c:v>
          </c:tx>
          <c:spPr>
            <a:ln w="28575" cap="rnd">
              <a:solidFill>
                <a:schemeClr val="bg1"/>
              </a:solidFill>
            </a:ln>
          </c:spPr>
          <c:marker>
            <c:symbol val="none"/>
          </c:marker>
          <c:dLbls>
            <c:dLbl>
              <c:idx val="12"/>
              <c:layout>
                <c:manualLayout>
                  <c:x val="-3.7991239316239329E-2"/>
                  <c:y val="-9.239417989417989E-2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lang="sv-SE" noProof="0">
                        <a:solidFill>
                          <a:schemeClr val="bg1"/>
                        </a:solidFill>
                      </a:defRPr>
                    </a:pPr>
                    <a:r>
                      <a:rPr lang="en-US" noProof="0" dirty="0">
                        <a:solidFill>
                          <a:schemeClr val="bg1"/>
                        </a:solidFill>
                      </a:rPr>
                      <a:t>Finanskris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144871794871789"/>
                      <c:h val="0.19898346560846561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6-B07A-4D1B-B97C-BE0E832CF3A3}"/>
                </c:ext>
              </c:extLst>
            </c:dLbl>
            <c:dLbl>
              <c:idx val="149"/>
              <c:layout>
                <c:manualLayout>
                  <c:x val="-0.2388034188034189"/>
                  <c:y val="-3.8071759259259257E-2"/>
                </c:manualLayout>
              </c:layout>
              <c:tx>
                <c:rich>
                  <a:bodyPr wrap="square" lIns="38100" tIns="19050" rIns="38100" bIns="19050" anchor="ctr">
                    <a:noAutofit/>
                  </a:bodyPr>
                  <a:lstStyle/>
                  <a:p>
                    <a:pPr>
                      <a:defRPr lang="sv-SE" noProof="0">
                        <a:solidFill>
                          <a:schemeClr val="bg1"/>
                        </a:solidFill>
                      </a:defRPr>
                    </a:pPr>
                    <a:r>
                      <a:rPr lang="en-US" noProof="0" dirty="0">
                        <a:solidFill>
                          <a:schemeClr val="bg1"/>
                        </a:solidFill>
                      </a:rPr>
                      <a:t>Covid-19 pandemi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054017094017096"/>
                      <c:h val="0.28877380952380949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5-B07A-4D1B-B97C-BE0E832CF3A3}"/>
                </c:ext>
              </c:extLst>
            </c:dLbl>
            <c:dLbl>
              <c:idx val="168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07A-4D1B-B97C-BE0E832CF3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Nya platser'!$A$183:$A$351</c:f>
              <c:strCache>
                <c:ptCount val="169"/>
                <c:pt idx="0">
                  <c:v>200712</c:v>
                </c:pt>
                <c:pt idx="1">
                  <c:v>200801</c:v>
                </c:pt>
                <c:pt idx="2">
                  <c:v>200802</c:v>
                </c:pt>
                <c:pt idx="3">
                  <c:v>200803</c:v>
                </c:pt>
                <c:pt idx="4">
                  <c:v>200804</c:v>
                </c:pt>
                <c:pt idx="5">
                  <c:v>200805</c:v>
                </c:pt>
                <c:pt idx="6">
                  <c:v>200806</c:v>
                </c:pt>
                <c:pt idx="7">
                  <c:v>200807</c:v>
                </c:pt>
                <c:pt idx="8">
                  <c:v>200808</c:v>
                </c:pt>
                <c:pt idx="9">
                  <c:v>200809</c:v>
                </c:pt>
                <c:pt idx="10">
                  <c:v>200810</c:v>
                </c:pt>
                <c:pt idx="11">
                  <c:v>200811</c:v>
                </c:pt>
                <c:pt idx="12">
                  <c:v>200812</c:v>
                </c:pt>
                <c:pt idx="13">
                  <c:v>200901</c:v>
                </c:pt>
                <c:pt idx="14">
                  <c:v>200902</c:v>
                </c:pt>
                <c:pt idx="15">
                  <c:v>200903</c:v>
                </c:pt>
                <c:pt idx="16">
                  <c:v>200904</c:v>
                </c:pt>
                <c:pt idx="17">
                  <c:v>200905</c:v>
                </c:pt>
                <c:pt idx="18">
                  <c:v>200906</c:v>
                </c:pt>
                <c:pt idx="19">
                  <c:v>200907</c:v>
                </c:pt>
                <c:pt idx="20">
                  <c:v>200908</c:v>
                </c:pt>
                <c:pt idx="21">
                  <c:v>200909</c:v>
                </c:pt>
                <c:pt idx="22">
                  <c:v>200910</c:v>
                </c:pt>
                <c:pt idx="23">
                  <c:v>200911</c:v>
                </c:pt>
                <c:pt idx="24">
                  <c:v>200912</c:v>
                </c:pt>
                <c:pt idx="25">
                  <c:v>201001</c:v>
                </c:pt>
                <c:pt idx="26">
                  <c:v>201002</c:v>
                </c:pt>
                <c:pt idx="27">
                  <c:v>201003</c:v>
                </c:pt>
                <c:pt idx="28">
                  <c:v>201004</c:v>
                </c:pt>
                <c:pt idx="29">
                  <c:v>201005</c:v>
                </c:pt>
                <c:pt idx="30">
                  <c:v>201006</c:v>
                </c:pt>
                <c:pt idx="31">
                  <c:v>201007</c:v>
                </c:pt>
                <c:pt idx="32">
                  <c:v>201008</c:v>
                </c:pt>
                <c:pt idx="33">
                  <c:v>201009</c:v>
                </c:pt>
                <c:pt idx="34">
                  <c:v>201010</c:v>
                </c:pt>
                <c:pt idx="35">
                  <c:v>201011</c:v>
                </c:pt>
                <c:pt idx="36">
                  <c:v>201012</c:v>
                </c:pt>
                <c:pt idx="37">
                  <c:v>201101</c:v>
                </c:pt>
                <c:pt idx="38">
                  <c:v>201102</c:v>
                </c:pt>
                <c:pt idx="39">
                  <c:v>201103</c:v>
                </c:pt>
                <c:pt idx="40">
                  <c:v>201104</c:v>
                </c:pt>
                <c:pt idx="41">
                  <c:v>201105</c:v>
                </c:pt>
                <c:pt idx="42">
                  <c:v>201106</c:v>
                </c:pt>
                <c:pt idx="43">
                  <c:v>201107</c:v>
                </c:pt>
                <c:pt idx="44">
                  <c:v>201108</c:v>
                </c:pt>
                <c:pt idx="45">
                  <c:v>201109</c:v>
                </c:pt>
                <c:pt idx="46">
                  <c:v>201110</c:v>
                </c:pt>
                <c:pt idx="47">
                  <c:v>201111</c:v>
                </c:pt>
                <c:pt idx="48">
                  <c:v>201112</c:v>
                </c:pt>
                <c:pt idx="49">
                  <c:v>201201</c:v>
                </c:pt>
                <c:pt idx="50">
                  <c:v>201202</c:v>
                </c:pt>
                <c:pt idx="51">
                  <c:v>201203</c:v>
                </c:pt>
                <c:pt idx="52">
                  <c:v>201204</c:v>
                </c:pt>
                <c:pt idx="53">
                  <c:v>201205</c:v>
                </c:pt>
                <c:pt idx="54">
                  <c:v>201206</c:v>
                </c:pt>
                <c:pt idx="55">
                  <c:v>201207</c:v>
                </c:pt>
                <c:pt idx="56">
                  <c:v>201208</c:v>
                </c:pt>
                <c:pt idx="57">
                  <c:v>201209</c:v>
                </c:pt>
                <c:pt idx="58">
                  <c:v>201210</c:v>
                </c:pt>
                <c:pt idx="59">
                  <c:v>201211</c:v>
                </c:pt>
                <c:pt idx="60">
                  <c:v>201212</c:v>
                </c:pt>
                <c:pt idx="61">
                  <c:v>201301</c:v>
                </c:pt>
                <c:pt idx="62">
                  <c:v>201302</c:v>
                </c:pt>
                <c:pt idx="63">
                  <c:v>201303</c:v>
                </c:pt>
                <c:pt idx="64">
                  <c:v>201304</c:v>
                </c:pt>
                <c:pt idx="65">
                  <c:v>201305</c:v>
                </c:pt>
                <c:pt idx="66">
                  <c:v>201306</c:v>
                </c:pt>
                <c:pt idx="67">
                  <c:v>201307</c:v>
                </c:pt>
                <c:pt idx="68">
                  <c:v>201308</c:v>
                </c:pt>
                <c:pt idx="69">
                  <c:v>201309</c:v>
                </c:pt>
                <c:pt idx="70">
                  <c:v>201310</c:v>
                </c:pt>
                <c:pt idx="71">
                  <c:v>201311</c:v>
                </c:pt>
                <c:pt idx="72">
                  <c:v>201312</c:v>
                </c:pt>
                <c:pt idx="73">
                  <c:v>201401</c:v>
                </c:pt>
                <c:pt idx="74">
                  <c:v>201402</c:v>
                </c:pt>
                <c:pt idx="75">
                  <c:v>201403</c:v>
                </c:pt>
                <c:pt idx="76">
                  <c:v>201404</c:v>
                </c:pt>
                <c:pt idx="77">
                  <c:v>201405</c:v>
                </c:pt>
                <c:pt idx="78">
                  <c:v>201406</c:v>
                </c:pt>
                <c:pt idx="79">
                  <c:v>201407</c:v>
                </c:pt>
                <c:pt idx="80">
                  <c:v>201408</c:v>
                </c:pt>
                <c:pt idx="81">
                  <c:v>201409</c:v>
                </c:pt>
                <c:pt idx="82">
                  <c:v>201410</c:v>
                </c:pt>
                <c:pt idx="83">
                  <c:v>201411</c:v>
                </c:pt>
                <c:pt idx="84">
                  <c:v>201412</c:v>
                </c:pt>
                <c:pt idx="85">
                  <c:v>201501</c:v>
                </c:pt>
                <c:pt idx="86">
                  <c:v>201502</c:v>
                </c:pt>
                <c:pt idx="87">
                  <c:v>201503</c:v>
                </c:pt>
                <c:pt idx="88">
                  <c:v>201504</c:v>
                </c:pt>
                <c:pt idx="89">
                  <c:v>201505</c:v>
                </c:pt>
                <c:pt idx="90">
                  <c:v>201506</c:v>
                </c:pt>
                <c:pt idx="91">
                  <c:v>201507</c:v>
                </c:pt>
                <c:pt idx="92">
                  <c:v>201508</c:v>
                </c:pt>
                <c:pt idx="93">
                  <c:v>201509</c:v>
                </c:pt>
                <c:pt idx="94">
                  <c:v>201510</c:v>
                </c:pt>
                <c:pt idx="95">
                  <c:v>201511</c:v>
                </c:pt>
                <c:pt idx="96">
                  <c:v>201512</c:v>
                </c:pt>
                <c:pt idx="97">
                  <c:v>201601</c:v>
                </c:pt>
                <c:pt idx="98">
                  <c:v>201602</c:v>
                </c:pt>
                <c:pt idx="99">
                  <c:v>201603</c:v>
                </c:pt>
                <c:pt idx="100">
                  <c:v>201604</c:v>
                </c:pt>
                <c:pt idx="101">
                  <c:v>201605</c:v>
                </c:pt>
                <c:pt idx="102">
                  <c:v>201606</c:v>
                </c:pt>
                <c:pt idx="103">
                  <c:v>201607</c:v>
                </c:pt>
                <c:pt idx="104">
                  <c:v>201608</c:v>
                </c:pt>
                <c:pt idx="105">
                  <c:v>201609</c:v>
                </c:pt>
                <c:pt idx="106">
                  <c:v>201610</c:v>
                </c:pt>
                <c:pt idx="107">
                  <c:v>201611</c:v>
                </c:pt>
                <c:pt idx="108">
                  <c:v>201612</c:v>
                </c:pt>
                <c:pt idx="109">
                  <c:v>201701</c:v>
                </c:pt>
                <c:pt idx="110">
                  <c:v>201702</c:v>
                </c:pt>
                <c:pt idx="111">
                  <c:v>201703</c:v>
                </c:pt>
                <c:pt idx="112">
                  <c:v>201704</c:v>
                </c:pt>
                <c:pt idx="113">
                  <c:v>201705</c:v>
                </c:pt>
                <c:pt idx="114">
                  <c:v>201706</c:v>
                </c:pt>
                <c:pt idx="115">
                  <c:v>201707</c:v>
                </c:pt>
                <c:pt idx="116">
                  <c:v>201708</c:v>
                </c:pt>
                <c:pt idx="117">
                  <c:v>201709</c:v>
                </c:pt>
                <c:pt idx="118">
                  <c:v>201710</c:v>
                </c:pt>
                <c:pt idx="119">
                  <c:v>201711</c:v>
                </c:pt>
                <c:pt idx="120">
                  <c:v>201712</c:v>
                </c:pt>
                <c:pt idx="121">
                  <c:v>201801</c:v>
                </c:pt>
                <c:pt idx="122">
                  <c:v>201802</c:v>
                </c:pt>
                <c:pt idx="123">
                  <c:v>201803</c:v>
                </c:pt>
                <c:pt idx="124">
                  <c:v>201804</c:v>
                </c:pt>
                <c:pt idx="125">
                  <c:v>201805</c:v>
                </c:pt>
                <c:pt idx="126">
                  <c:v>201806</c:v>
                </c:pt>
                <c:pt idx="127">
                  <c:v>201807</c:v>
                </c:pt>
                <c:pt idx="128">
                  <c:v>201808</c:v>
                </c:pt>
                <c:pt idx="129">
                  <c:v>201809</c:v>
                </c:pt>
                <c:pt idx="130">
                  <c:v>201810</c:v>
                </c:pt>
                <c:pt idx="131">
                  <c:v>201811</c:v>
                </c:pt>
                <c:pt idx="132">
                  <c:v>201812</c:v>
                </c:pt>
                <c:pt idx="133">
                  <c:v>201901</c:v>
                </c:pt>
                <c:pt idx="134">
                  <c:v>201902</c:v>
                </c:pt>
                <c:pt idx="135">
                  <c:v>201903</c:v>
                </c:pt>
                <c:pt idx="136">
                  <c:v>201904</c:v>
                </c:pt>
                <c:pt idx="137">
                  <c:v>201905</c:v>
                </c:pt>
                <c:pt idx="138">
                  <c:v>201906</c:v>
                </c:pt>
                <c:pt idx="139">
                  <c:v>201907</c:v>
                </c:pt>
                <c:pt idx="140">
                  <c:v>201908</c:v>
                </c:pt>
                <c:pt idx="141">
                  <c:v>201909</c:v>
                </c:pt>
                <c:pt idx="142">
                  <c:v>201910</c:v>
                </c:pt>
                <c:pt idx="143">
                  <c:v>201911</c:v>
                </c:pt>
                <c:pt idx="144">
                  <c:v>201912</c:v>
                </c:pt>
                <c:pt idx="145">
                  <c:v>202001</c:v>
                </c:pt>
                <c:pt idx="146">
                  <c:v>202002</c:v>
                </c:pt>
                <c:pt idx="147">
                  <c:v>202003</c:v>
                </c:pt>
                <c:pt idx="148">
                  <c:v>202004</c:v>
                </c:pt>
                <c:pt idx="149">
                  <c:v>202005</c:v>
                </c:pt>
                <c:pt idx="150">
                  <c:v>202006</c:v>
                </c:pt>
                <c:pt idx="151">
                  <c:v>202007</c:v>
                </c:pt>
                <c:pt idx="152">
                  <c:v>202008</c:v>
                </c:pt>
                <c:pt idx="153">
                  <c:v>202009</c:v>
                </c:pt>
                <c:pt idx="154">
                  <c:v>202010</c:v>
                </c:pt>
                <c:pt idx="155">
                  <c:v>202011</c:v>
                </c:pt>
                <c:pt idx="156">
                  <c:v>202012</c:v>
                </c:pt>
                <c:pt idx="157">
                  <c:v>202101</c:v>
                </c:pt>
                <c:pt idx="158">
                  <c:v>202102</c:v>
                </c:pt>
                <c:pt idx="159">
                  <c:v>202103</c:v>
                </c:pt>
                <c:pt idx="160">
                  <c:v>202104</c:v>
                </c:pt>
                <c:pt idx="161">
                  <c:v>202105</c:v>
                </c:pt>
                <c:pt idx="162">
                  <c:v>202106</c:v>
                </c:pt>
                <c:pt idx="163">
                  <c:v>202107</c:v>
                </c:pt>
                <c:pt idx="164">
                  <c:v>202108</c:v>
                </c:pt>
                <c:pt idx="165">
                  <c:v>202109</c:v>
                </c:pt>
                <c:pt idx="166">
                  <c:v>202110</c:v>
                </c:pt>
                <c:pt idx="167">
                  <c:v>202111</c:v>
                </c:pt>
                <c:pt idx="168">
                  <c:v>202112</c:v>
                </c:pt>
              </c:strCache>
            </c:strRef>
          </c:cat>
          <c:val>
            <c:numRef>
              <c:f>'Varsel - personer'!$T$123:$T$291</c:f>
              <c:numCache>
                <c:formatCode>#,##0</c:formatCode>
                <c:ptCount val="169"/>
                <c:pt idx="0">
                  <c:v>174.66666666666666</c:v>
                </c:pt>
                <c:pt idx="1">
                  <c:v>165.33333333333334</c:v>
                </c:pt>
                <c:pt idx="2">
                  <c:v>154.33333333333334</c:v>
                </c:pt>
                <c:pt idx="3">
                  <c:v>126.66666666666667</c:v>
                </c:pt>
                <c:pt idx="4">
                  <c:v>122</c:v>
                </c:pt>
                <c:pt idx="5">
                  <c:v>317.66666666666669</c:v>
                </c:pt>
                <c:pt idx="6">
                  <c:v>712.33333333333337</c:v>
                </c:pt>
                <c:pt idx="7">
                  <c:v>825.33333333333337</c:v>
                </c:pt>
                <c:pt idx="8">
                  <c:v>652.33333333333337</c:v>
                </c:pt>
                <c:pt idx="9">
                  <c:v>421</c:v>
                </c:pt>
                <c:pt idx="10">
                  <c:v>1746.3333333333333</c:v>
                </c:pt>
                <c:pt idx="11">
                  <c:v>2146</c:v>
                </c:pt>
                <c:pt idx="12">
                  <c:v>2433.6666666666665</c:v>
                </c:pt>
                <c:pt idx="13">
                  <c:v>1389.3333333333333</c:v>
                </c:pt>
                <c:pt idx="14">
                  <c:v>1345.3333333333333</c:v>
                </c:pt>
                <c:pt idx="15">
                  <c:v>1336</c:v>
                </c:pt>
                <c:pt idx="16">
                  <c:v>1275</c:v>
                </c:pt>
                <c:pt idx="17">
                  <c:v>1192</c:v>
                </c:pt>
                <c:pt idx="18">
                  <c:v>1002</c:v>
                </c:pt>
                <c:pt idx="19">
                  <c:v>756.33333333333337</c:v>
                </c:pt>
                <c:pt idx="20">
                  <c:v>646.33333333333337</c:v>
                </c:pt>
                <c:pt idx="21">
                  <c:v>532.66666666666663</c:v>
                </c:pt>
                <c:pt idx="22">
                  <c:v>565.66666666666663</c:v>
                </c:pt>
                <c:pt idx="23">
                  <c:v>540</c:v>
                </c:pt>
                <c:pt idx="24">
                  <c:v>475.66666666666669</c:v>
                </c:pt>
                <c:pt idx="25">
                  <c:v>390</c:v>
                </c:pt>
                <c:pt idx="26">
                  <c:v>325.33333333333331</c:v>
                </c:pt>
                <c:pt idx="27">
                  <c:v>403</c:v>
                </c:pt>
                <c:pt idx="28">
                  <c:v>414</c:v>
                </c:pt>
                <c:pt idx="29">
                  <c:v>456</c:v>
                </c:pt>
                <c:pt idx="30">
                  <c:v>406</c:v>
                </c:pt>
                <c:pt idx="31">
                  <c:v>376.33333333333331</c:v>
                </c:pt>
                <c:pt idx="32">
                  <c:v>241.66666666666666</c:v>
                </c:pt>
                <c:pt idx="33">
                  <c:v>256</c:v>
                </c:pt>
                <c:pt idx="34">
                  <c:v>338</c:v>
                </c:pt>
                <c:pt idx="35">
                  <c:v>414.66666666666669</c:v>
                </c:pt>
                <c:pt idx="36">
                  <c:v>340</c:v>
                </c:pt>
                <c:pt idx="37">
                  <c:v>295.66666666666669</c:v>
                </c:pt>
                <c:pt idx="38">
                  <c:v>318</c:v>
                </c:pt>
                <c:pt idx="39">
                  <c:v>280</c:v>
                </c:pt>
                <c:pt idx="40">
                  <c:v>274</c:v>
                </c:pt>
                <c:pt idx="41">
                  <c:v>229.66666666666666</c:v>
                </c:pt>
                <c:pt idx="42">
                  <c:v>236</c:v>
                </c:pt>
                <c:pt idx="43">
                  <c:v>229.33333333333334</c:v>
                </c:pt>
                <c:pt idx="44">
                  <c:v>225.33333333333334</c:v>
                </c:pt>
                <c:pt idx="45">
                  <c:v>236</c:v>
                </c:pt>
                <c:pt idx="46">
                  <c:v>307.66666666666669</c:v>
                </c:pt>
                <c:pt idx="47">
                  <c:v>409</c:v>
                </c:pt>
                <c:pt idx="48">
                  <c:v>504.33333333333331</c:v>
                </c:pt>
                <c:pt idx="49">
                  <c:v>510.33333333333331</c:v>
                </c:pt>
                <c:pt idx="50">
                  <c:v>476</c:v>
                </c:pt>
                <c:pt idx="51">
                  <c:v>463</c:v>
                </c:pt>
                <c:pt idx="52">
                  <c:v>412.33333333333331</c:v>
                </c:pt>
                <c:pt idx="53">
                  <c:v>469</c:v>
                </c:pt>
                <c:pt idx="54">
                  <c:v>501.33333333333331</c:v>
                </c:pt>
                <c:pt idx="55">
                  <c:v>468.66666666666669</c:v>
                </c:pt>
                <c:pt idx="56">
                  <c:v>429.66666666666669</c:v>
                </c:pt>
                <c:pt idx="57">
                  <c:v>405</c:v>
                </c:pt>
                <c:pt idx="58">
                  <c:v>466</c:v>
                </c:pt>
                <c:pt idx="59">
                  <c:v>571.33333333333337</c:v>
                </c:pt>
                <c:pt idx="60">
                  <c:v>549</c:v>
                </c:pt>
                <c:pt idx="61">
                  <c:v>582.33333333333337</c:v>
                </c:pt>
                <c:pt idx="62">
                  <c:v>416.33333333333331</c:v>
                </c:pt>
                <c:pt idx="63">
                  <c:v>390.33333333333331</c:v>
                </c:pt>
                <c:pt idx="64">
                  <c:v>394</c:v>
                </c:pt>
                <c:pt idx="65">
                  <c:v>366</c:v>
                </c:pt>
                <c:pt idx="66">
                  <c:v>419.33333333333331</c:v>
                </c:pt>
                <c:pt idx="67">
                  <c:v>354</c:v>
                </c:pt>
                <c:pt idx="68">
                  <c:v>351</c:v>
                </c:pt>
                <c:pt idx="69">
                  <c:v>284.66666666666669</c:v>
                </c:pt>
                <c:pt idx="70">
                  <c:v>439</c:v>
                </c:pt>
                <c:pt idx="71">
                  <c:v>493</c:v>
                </c:pt>
                <c:pt idx="72">
                  <c:v>498.66666666666669</c:v>
                </c:pt>
                <c:pt idx="73">
                  <c:v>314.33333333333331</c:v>
                </c:pt>
                <c:pt idx="74">
                  <c:v>315</c:v>
                </c:pt>
                <c:pt idx="75">
                  <c:v>319</c:v>
                </c:pt>
                <c:pt idx="76">
                  <c:v>360</c:v>
                </c:pt>
                <c:pt idx="77">
                  <c:v>340</c:v>
                </c:pt>
                <c:pt idx="78">
                  <c:v>377.66666666666669</c:v>
                </c:pt>
                <c:pt idx="79">
                  <c:v>302.33333333333331</c:v>
                </c:pt>
                <c:pt idx="80">
                  <c:v>282.66666666666669</c:v>
                </c:pt>
                <c:pt idx="81">
                  <c:v>329</c:v>
                </c:pt>
                <c:pt idx="82">
                  <c:v>454.66666666666669</c:v>
                </c:pt>
                <c:pt idx="83">
                  <c:v>443.33333333333331</c:v>
                </c:pt>
                <c:pt idx="84">
                  <c:v>280.66666666666669</c:v>
                </c:pt>
                <c:pt idx="85">
                  <c:v>399.66666666666669</c:v>
                </c:pt>
                <c:pt idx="86">
                  <c:v>371.66666666666669</c:v>
                </c:pt>
                <c:pt idx="87">
                  <c:v>426</c:v>
                </c:pt>
                <c:pt idx="88">
                  <c:v>219</c:v>
                </c:pt>
                <c:pt idx="89">
                  <c:v>224</c:v>
                </c:pt>
                <c:pt idx="90">
                  <c:v>287.66666666666669</c:v>
                </c:pt>
                <c:pt idx="91">
                  <c:v>254</c:v>
                </c:pt>
                <c:pt idx="92">
                  <c:v>261</c:v>
                </c:pt>
                <c:pt idx="93">
                  <c:v>256.33333333333331</c:v>
                </c:pt>
                <c:pt idx="94">
                  <c:v>376.66666666666669</c:v>
                </c:pt>
                <c:pt idx="95">
                  <c:v>362</c:v>
                </c:pt>
                <c:pt idx="96">
                  <c:v>315.33333333333331</c:v>
                </c:pt>
                <c:pt idx="97">
                  <c:v>241.33333333333334</c:v>
                </c:pt>
                <c:pt idx="98">
                  <c:v>208.33333333333334</c:v>
                </c:pt>
                <c:pt idx="99">
                  <c:v>195</c:v>
                </c:pt>
                <c:pt idx="100">
                  <c:v>210.66666666666666</c:v>
                </c:pt>
                <c:pt idx="101">
                  <c:v>280</c:v>
                </c:pt>
                <c:pt idx="102">
                  <c:v>286</c:v>
                </c:pt>
                <c:pt idx="103">
                  <c:v>203.33333333333334</c:v>
                </c:pt>
                <c:pt idx="104">
                  <c:v>136.66666666666666</c:v>
                </c:pt>
                <c:pt idx="105">
                  <c:v>218.66666666666666</c:v>
                </c:pt>
                <c:pt idx="106">
                  <c:v>322</c:v>
                </c:pt>
                <c:pt idx="107">
                  <c:v>468</c:v>
                </c:pt>
                <c:pt idx="108">
                  <c:v>361</c:v>
                </c:pt>
                <c:pt idx="109">
                  <c:v>264.66666666666669</c:v>
                </c:pt>
                <c:pt idx="110">
                  <c:v>151.33333333333334</c:v>
                </c:pt>
                <c:pt idx="111">
                  <c:v>187.33333333333334</c:v>
                </c:pt>
                <c:pt idx="112">
                  <c:v>199</c:v>
                </c:pt>
                <c:pt idx="113">
                  <c:v>276.66666666666669</c:v>
                </c:pt>
                <c:pt idx="114">
                  <c:v>283.33333333333331</c:v>
                </c:pt>
                <c:pt idx="115">
                  <c:v>283.33333333333331</c:v>
                </c:pt>
                <c:pt idx="116">
                  <c:v>194.66666666666666</c:v>
                </c:pt>
                <c:pt idx="117">
                  <c:v>132.33333333333334</c:v>
                </c:pt>
                <c:pt idx="118">
                  <c:v>153.66666666666666</c:v>
                </c:pt>
                <c:pt idx="119">
                  <c:v>177</c:v>
                </c:pt>
                <c:pt idx="120">
                  <c:v>202</c:v>
                </c:pt>
                <c:pt idx="121">
                  <c:v>244.66666666666666</c:v>
                </c:pt>
                <c:pt idx="122">
                  <c:v>227</c:v>
                </c:pt>
                <c:pt idx="123">
                  <c:v>177.66666666666666</c:v>
                </c:pt>
                <c:pt idx="124">
                  <c:v>135</c:v>
                </c:pt>
                <c:pt idx="125">
                  <c:v>163</c:v>
                </c:pt>
                <c:pt idx="126">
                  <c:v>176</c:v>
                </c:pt>
                <c:pt idx="127">
                  <c:v>157.33333333333334</c:v>
                </c:pt>
                <c:pt idx="128">
                  <c:v>120.33333333333333</c:v>
                </c:pt>
                <c:pt idx="129">
                  <c:v>126.66666666666667</c:v>
                </c:pt>
                <c:pt idx="130">
                  <c:v>219</c:v>
                </c:pt>
                <c:pt idx="131">
                  <c:v>199</c:v>
                </c:pt>
                <c:pt idx="132">
                  <c:v>266</c:v>
                </c:pt>
                <c:pt idx="133">
                  <c:v>211.66666666666666</c:v>
                </c:pt>
                <c:pt idx="134">
                  <c:v>285.66666666666669</c:v>
                </c:pt>
                <c:pt idx="135">
                  <c:v>279</c:v>
                </c:pt>
                <c:pt idx="136">
                  <c:v>342.66666666666669</c:v>
                </c:pt>
                <c:pt idx="137">
                  <c:v>334</c:v>
                </c:pt>
                <c:pt idx="138">
                  <c:v>373</c:v>
                </c:pt>
                <c:pt idx="139">
                  <c:v>265</c:v>
                </c:pt>
                <c:pt idx="140">
                  <c:v>198.66666666666666</c:v>
                </c:pt>
                <c:pt idx="141">
                  <c:v>249.66666666666666</c:v>
                </c:pt>
                <c:pt idx="142">
                  <c:v>309.66666666666669</c:v>
                </c:pt>
                <c:pt idx="143">
                  <c:v>369.66666666666669</c:v>
                </c:pt>
                <c:pt idx="144">
                  <c:v>230.33333333333334</c:v>
                </c:pt>
                <c:pt idx="145">
                  <c:v>237.33333333333334</c:v>
                </c:pt>
                <c:pt idx="146">
                  <c:v>265.66666666666669</c:v>
                </c:pt>
                <c:pt idx="147">
                  <c:v>1879.6666666666667</c:v>
                </c:pt>
                <c:pt idx="148">
                  <c:v>2972.3333333333335</c:v>
                </c:pt>
                <c:pt idx="149">
                  <c:v>3370.3333333333335</c:v>
                </c:pt>
                <c:pt idx="150">
                  <c:v>2260.6666666666665</c:v>
                </c:pt>
                <c:pt idx="151">
                  <c:v>1181.6666666666667</c:v>
                </c:pt>
                <c:pt idx="152">
                  <c:v>743.33333333333337</c:v>
                </c:pt>
                <c:pt idx="153">
                  <c:v>483</c:v>
                </c:pt>
                <c:pt idx="154">
                  <c:v>536.33333333333337</c:v>
                </c:pt>
                <c:pt idx="155">
                  <c:v>617.66666666666663</c:v>
                </c:pt>
                <c:pt idx="156">
                  <c:v>388.66666666666669</c:v>
                </c:pt>
                <c:pt idx="157">
                  <c:v>278.33333333333331</c:v>
                </c:pt>
                <c:pt idx="158">
                  <c:v>171.33333333333334</c:v>
                </c:pt>
                <c:pt idx="159">
                  <c:v>144.33333333333334</c:v>
                </c:pt>
                <c:pt idx="160">
                  <c:v>161</c:v>
                </c:pt>
                <c:pt idx="161">
                  <c:v>198.33333333333334</c:v>
                </c:pt>
                <c:pt idx="162">
                  <c:v>218.33333333333334</c:v>
                </c:pt>
                <c:pt idx="163">
                  <c:v>157</c:v>
                </c:pt>
                <c:pt idx="164">
                  <c:v>95.666666666666671</c:v>
                </c:pt>
                <c:pt idx="165">
                  <c:v>119.33333333333333</c:v>
                </c:pt>
                <c:pt idx="166">
                  <c:v>164.33333333333334</c:v>
                </c:pt>
                <c:pt idx="167">
                  <c:v>232.33333333333334</c:v>
                </c:pt>
                <c:pt idx="168">
                  <c:v>232.33333333333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07A-4D1B-B97C-BE0E832CF3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8212992"/>
        <c:axId val="108214528"/>
      </c:lineChart>
      <c:catAx>
        <c:axId val="108212992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one"/>
        <c:spPr>
          <a:ln w="6350">
            <a:noFill/>
          </a:ln>
        </c:spPr>
        <c:txPr>
          <a:bodyPr rot="5400000" vert="horz"/>
          <a:lstStyle/>
          <a:p>
            <a:pPr>
              <a:defRPr/>
            </a:pPr>
            <a:endParaRPr lang="sv-SE"/>
          </a:p>
        </c:txPr>
        <c:crossAx val="108214528"/>
        <c:crosses val="autoZero"/>
        <c:auto val="1"/>
        <c:lblAlgn val="ctr"/>
        <c:lblOffset val="100"/>
        <c:tickLblSkip val="12"/>
        <c:tickMarkSkip val="1"/>
        <c:noMultiLvlLbl val="0"/>
      </c:catAx>
      <c:valAx>
        <c:axId val="108214528"/>
        <c:scaling>
          <c:orientation val="minMax"/>
        </c:scaling>
        <c:delete val="0"/>
        <c:axPos val="l"/>
        <c:numFmt formatCode="#,##0" sourceLinked="1"/>
        <c:majorTickMark val="in"/>
        <c:minorTickMark val="none"/>
        <c:tickLblPos val="none"/>
        <c:spPr>
          <a:ln w="6350">
            <a:noFill/>
          </a:ln>
        </c:spPr>
        <c:crossAx val="108212992"/>
        <c:crosses val="autoZero"/>
        <c:crossBetween val="between"/>
      </c:valAx>
      <c:spPr>
        <a:noFill/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993055555555542E-2"/>
          <c:y val="8.307870370370371E-2"/>
          <c:w val="0.60774305555555552"/>
          <c:h val="0.81032407407407403"/>
        </c:manualLayout>
      </c:layout>
      <c:pieChart>
        <c:varyColors val="1"/>
        <c:ser>
          <c:idx val="0"/>
          <c:order val="0"/>
          <c:spPr>
            <a:ln w="63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>
                  <a:tint val="5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987-4F95-B65E-B76323216AE2}"/>
              </c:ext>
            </c:extLst>
          </c:dPt>
          <c:dPt>
            <c:idx val="1"/>
            <c:bubble3D val="0"/>
            <c:spPr>
              <a:solidFill>
                <a:schemeClr val="accent1">
                  <a:tint val="7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987-4F95-B65E-B76323216AE2}"/>
              </c:ext>
            </c:extLst>
          </c:dPt>
          <c:dPt>
            <c:idx val="2"/>
            <c:bubble3D val="0"/>
            <c:spPr>
              <a:solidFill>
                <a:schemeClr val="accent1">
                  <a:tint val="9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987-4F95-B65E-B76323216AE2}"/>
              </c:ext>
            </c:extLst>
          </c:dPt>
          <c:dPt>
            <c:idx val="3"/>
            <c:bubble3D val="0"/>
            <c:spPr>
              <a:solidFill>
                <a:schemeClr val="accent1">
                  <a:shade val="9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987-4F95-B65E-B76323216AE2}"/>
              </c:ext>
            </c:extLst>
          </c:dPt>
          <c:dPt>
            <c:idx val="4"/>
            <c:bubble3D val="0"/>
            <c:spPr>
              <a:solidFill>
                <a:schemeClr val="accent1">
                  <a:shade val="7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987-4F95-B65E-B76323216AE2}"/>
              </c:ext>
            </c:extLst>
          </c:dPt>
          <c:dPt>
            <c:idx val="5"/>
            <c:bubble3D val="0"/>
            <c:spPr>
              <a:solidFill>
                <a:schemeClr val="accent1">
                  <a:shade val="5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987-4F95-B65E-B76323216AE2}"/>
              </c:ext>
            </c:extLst>
          </c:dPt>
          <c:dPt>
            <c:idx val="6"/>
            <c:bubble3D val="0"/>
            <c:spPr>
              <a:solidFill>
                <a:schemeClr val="accent1">
                  <a:shade val="5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987-4F95-B65E-B76323216AE2}"/>
              </c:ext>
            </c:extLst>
          </c:dPt>
          <c:dPt>
            <c:idx val="7"/>
            <c:bubble3D val="0"/>
            <c:spPr>
              <a:solidFill>
                <a:schemeClr val="accent1">
                  <a:shade val="5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A987-4F95-B65E-B76323216AE2}"/>
              </c:ext>
            </c:extLst>
          </c:dPt>
          <c:dPt>
            <c:idx val="8"/>
            <c:bubble3D val="0"/>
            <c:spPr>
              <a:solidFill>
                <a:schemeClr val="accent1">
                  <a:shade val="5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987-4F95-B65E-B76323216AE2}"/>
              </c:ext>
            </c:extLst>
          </c:dPt>
          <c:dPt>
            <c:idx val="9"/>
            <c:bubble3D val="0"/>
            <c:spPr>
              <a:solidFill>
                <a:schemeClr val="accent1">
                  <a:shade val="5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987-4F95-B65E-B76323216AE2}"/>
              </c:ext>
            </c:extLst>
          </c:dPt>
          <c:dPt>
            <c:idx val="10"/>
            <c:bubble3D val="0"/>
            <c:spPr>
              <a:solidFill>
                <a:schemeClr val="accent1">
                  <a:shade val="5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A987-4F95-B65E-B76323216AE2}"/>
              </c:ext>
            </c:extLst>
          </c:dPt>
          <c:cat>
            <c:strRef>
              <c:f>Sammanställning!$B$33:$B$38</c:f>
              <c:strCache>
                <c:ptCount val="6"/>
                <c:pt idx="0">
                  <c:v>Handel</c:v>
                </c:pt>
                <c:pt idx="1">
                  <c:v>Byggindustri</c:v>
                </c:pt>
                <c:pt idx="2">
                  <c:v>Företagstjänster</c:v>
                </c:pt>
                <c:pt idx="3">
                  <c:v>Hotell och restaurang</c:v>
                </c:pt>
                <c:pt idx="4">
                  <c:v>Transport och magasinering</c:v>
                </c:pt>
                <c:pt idx="5">
                  <c:v>Övriga branscher</c:v>
                </c:pt>
              </c:strCache>
            </c:strRef>
          </c:cat>
          <c:val>
            <c:numRef>
              <c:f>Sammanställning!$D$33:$D$38</c:f>
              <c:numCache>
                <c:formatCode>#,##0</c:formatCode>
                <c:ptCount val="6"/>
                <c:pt idx="0">
                  <c:v>1681</c:v>
                </c:pt>
                <c:pt idx="1">
                  <c:v>866</c:v>
                </c:pt>
                <c:pt idx="2">
                  <c:v>420</c:v>
                </c:pt>
                <c:pt idx="3">
                  <c:v>340</c:v>
                </c:pt>
                <c:pt idx="4">
                  <c:v>197</c:v>
                </c:pt>
                <c:pt idx="5" formatCode="General">
                  <c:v>4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A987-4F95-B65E-B76323216A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53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295138888888862E-2"/>
          <c:y val="9.1898148148148159E-2"/>
          <c:w val="0.60774305555555552"/>
          <c:h val="0.81032407407407403"/>
        </c:manualLayout>
      </c:layout>
      <c:pieChart>
        <c:varyColors val="1"/>
        <c:ser>
          <c:idx val="0"/>
          <c:order val="0"/>
          <c:spPr>
            <a:ln w="63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4">
                  <a:shade val="5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7CA-407D-8300-854A7A16B5B3}"/>
              </c:ext>
            </c:extLst>
          </c:dPt>
          <c:dPt>
            <c:idx val="1"/>
            <c:bubble3D val="0"/>
            <c:spPr>
              <a:solidFill>
                <a:schemeClr val="accent4">
                  <a:shade val="7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7CA-407D-8300-854A7A16B5B3}"/>
              </c:ext>
            </c:extLst>
          </c:dPt>
          <c:dPt>
            <c:idx val="2"/>
            <c:bubble3D val="0"/>
            <c:spPr>
              <a:solidFill>
                <a:schemeClr val="accent4">
                  <a:shade val="9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7CA-407D-8300-854A7A16B5B3}"/>
              </c:ext>
            </c:extLst>
          </c:dPt>
          <c:dPt>
            <c:idx val="3"/>
            <c:bubble3D val="0"/>
            <c:spPr>
              <a:solidFill>
                <a:schemeClr val="accent4">
                  <a:tint val="9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7CA-407D-8300-854A7A16B5B3}"/>
              </c:ext>
            </c:extLst>
          </c:dPt>
          <c:dPt>
            <c:idx val="4"/>
            <c:bubble3D val="0"/>
            <c:spPr>
              <a:solidFill>
                <a:schemeClr val="accent4">
                  <a:tint val="7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7CA-407D-8300-854A7A16B5B3}"/>
              </c:ext>
            </c:extLst>
          </c:dPt>
          <c:dPt>
            <c:idx val="5"/>
            <c:bubble3D val="0"/>
            <c:spPr>
              <a:solidFill>
                <a:schemeClr val="accent4">
                  <a:tint val="5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37CA-407D-8300-854A7A16B5B3}"/>
              </c:ext>
            </c:extLst>
          </c:dPt>
          <c:dPt>
            <c:idx val="6"/>
            <c:bubble3D val="0"/>
            <c:spPr>
              <a:solidFill>
                <a:schemeClr val="accent4">
                  <a:tint val="3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37CA-407D-8300-854A7A16B5B3}"/>
              </c:ext>
            </c:extLst>
          </c:dPt>
          <c:dPt>
            <c:idx val="7"/>
            <c:bubble3D val="0"/>
            <c:spPr>
              <a:solidFill>
                <a:schemeClr val="accent4">
                  <a:tint val="1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37CA-407D-8300-854A7A16B5B3}"/>
              </c:ext>
            </c:extLst>
          </c:dPt>
          <c:dPt>
            <c:idx val="8"/>
            <c:bubble3D val="0"/>
            <c:spPr>
              <a:solidFill>
                <a:schemeClr val="accent4">
                  <a:tint val="9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37CA-407D-8300-854A7A16B5B3}"/>
              </c:ext>
            </c:extLst>
          </c:dPt>
          <c:dPt>
            <c:idx val="9"/>
            <c:bubble3D val="0"/>
            <c:spPr>
              <a:solidFill>
                <a:schemeClr val="accent4">
                  <a:tint val="7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37CA-407D-8300-854A7A16B5B3}"/>
              </c:ext>
            </c:extLst>
          </c:dPt>
          <c:dPt>
            <c:idx val="10"/>
            <c:bubble3D val="0"/>
            <c:spPr>
              <a:solidFill>
                <a:schemeClr val="accent4">
                  <a:tint val="5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37CA-407D-8300-854A7A16B5B3}"/>
              </c:ext>
            </c:extLst>
          </c:dPt>
          <c:cat>
            <c:strRef>
              <c:f>Sammanställning!$B$33:$B$38</c:f>
              <c:strCache>
                <c:ptCount val="6"/>
                <c:pt idx="0">
                  <c:v>Handel</c:v>
                </c:pt>
                <c:pt idx="1">
                  <c:v>Byggindustri</c:v>
                </c:pt>
                <c:pt idx="2">
                  <c:v>Företagstjänster</c:v>
                </c:pt>
                <c:pt idx="3">
                  <c:v>Hotell och restaurang</c:v>
                </c:pt>
                <c:pt idx="4">
                  <c:v>Transport och magasinering</c:v>
                </c:pt>
                <c:pt idx="5">
                  <c:v>Övriga branscher</c:v>
                </c:pt>
              </c:strCache>
            </c:strRef>
          </c:cat>
          <c:val>
            <c:numRef>
              <c:f>Sammanställning!$C$33:$C$38</c:f>
              <c:numCache>
                <c:formatCode>#,##0</c:formatCode>
                <c:ptCount val="6"/>
                <c:pt idx="0">
                  <c:v>257</c:v>
                </c:pt>
                <c:pt idx="1">
                  <c:v>221</c:v>
                </c:pt>
                <c:pt idx="2">
                  <c:v>209</c:v>
                </c:pt>
                <c:pt idx="3">
                  <c:v>121</c:v>
                </c:pt>
                <c:pt idx="4">
                  <c:v>70</c:v>
                </c:pt>
                <c:pt idx="5" formatCode="General">
                  <c:v>4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37CA-407D-8300-854A7A16B5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5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prstDash val="solid"/>
      <a:round/>
    </a:ln>
    <a:effectLst/>
  </c:spPr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948353909465021E-2"/>
          <c:y val="3.0506901490371684E-2"/>
          <c:w val="0.95004917695473245"/>
          <c:h val="0.84134840174366599"/>
        </c:manualLayout>
      </c:layout>
      <c:barChart>
        <c:barDir val="col"/>
        <c:grouping val="clustered"/>
        <c:varyColors val="0"/>
        <c:ser>
          <c:idx val="0"/>
          <c:order val="0"/>
          <c:tx>
            <c:v>  2020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vensk BNP'!$K$32:$K$38</c:f>
              <c:strCache>
                <c:ptCount val="7"/>
                <c:pt idx="0">
                  <c:v>Riksbanken</c:v>
                </c:pt>
                <c:pt idx="1">
                  <c:v>Nordea</c:v>
                </c:pt>
                <c:pt idx="2">
                  <c:v>Handelsbanken</c:v>
                </c:pt>
                <c:pt idx="3">
                  <c:v>SEB</c:v>
                </c:pt>
                <c:pt idx="4">
                  <c:v>Swedbank</c:v>
                </c:pt>
                <c:pt idx="6">
                  <c:v>Sverigesnitt</c:v>
                </c:pt>
              </c:strCache>
            </c:strRef>
          </c:cat>
          <c:val>
            <c:numRef>
              <c:f>'Svensk BNP'!$M$32:$M$38</c:f>
              <c:numCache>
                <c:formatCode>0.0%</c:formatCode>
                <c:ptCount val="7"/>
                <c:pt idx="0">
                  <c:v>-2.7999999999999997E-2</c:v>
                </c:pt>
                <c:pt idx="1">
                  <c:v>-2.7999999999999997E-2</c:v>
                </c:pt>
                <c:pt idx="2">
                  <c:v>-2.7999999999999997E-2</c:v>
                </c:pt>
                <c:pt idx="3">
                  <c:v>-2.7999999999999997E-2</c:v>
                </c:pt>
                <c:pt idx="4">
                  <c:v>-2.7999999999999997E-2</c:v>
                </c:pt>
                <c:pt idx="6">
                  <c:v>-2.79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AD-4CC7-AD51-4BCDC2ADA2A9}"/>
            </c:ext>
          </c:extLst>
        </c:ser>
        <c:ser>
          <c:idx val="1"/>
          <c:order val="1"/>
          <c:tx>
            <c:v>  2021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vensk BNP'!$K$32:$K$38</c:f>
              <c:strCache>
                <c:ptCount val="7"/>
                <c:pt idx="0">
                  <c:v>Riksbanken</c:v>
                </c:pt>
                <c:pt idx="1">
                  <c:v>Nordea</c:v>
                </c:pt>
                <c:pt idx="2">
                  <c:v>Handelsbanken</c:v>
                </c:pt>
                <c:pt idx="3">
                  <c:v>SEB</c:v>
                </c:pt>
                <c:pt idx="4">
                  <c:v>Swedbank</c:v>
                </c:pt>
                <c:pt idx="6">
                  <c:v>Sverigesnitt</c:v>
                </c:pt>
              </c:strCache>
            </c:strRef>
          </c:cat>
          <c:val>
            <c:numRef>
              <c:f>'Svensk BNP'!$N$32:$N$38</c:f>
              <c:numCache>
                <c:formatCode>0.0%</c:formatCode>
                <c:ptCount val="7"/>
                <c:pt idx="0">
                  <c:v>5.2000000000000005E-2</c:v>
                </c:pt>
                <c:pt idx="1">
                  <c:v>0.05</c:v>
                </c:pt>
                <c:pt idx="2">
                  <c:v>4.9000000000000002E-2</c:v>
                </c:pt>
                <c:pt idx="3">
                  <c:v>4.9000000000000002E-2</c:v>
                </c:pt>
                <c:pt idx="4">
                  <c:v>4.9000000000000002E-2</c:v>
                </c:pt>
                <c:pt idx="6">
                  <c:v>4.97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AD-4CC7-AD51-4BCDC2ADA2A9}"/>
            </c:ext>
          </c:extLst>
        </c:ser>
        <c:ser>
          <c:idx val="2"/>
          <c:order val="2"/>
          <c:tx>
            <c:v>  2022</c:v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vensk BNP'!$K$32:$K$38</c:f>
              <c:strCache>
                <c:ptCount val="7"/>
                <c:pt idx="0">
                  <c:v>Riksbanken</c:v>
                </c:pt>
                <c:pt idx="1">
                  <c:v>Nordea</c:v>
                </c:pt>
                <c:pt idx="2">
                  <c:v>Handelsbanken</c:v>
                </c:pt>
                <c:pt idx="3">
                  <c:v>SEB</c:v>
                </c:pt>
                <c:pt idx="4">
                  <c:v>Swedbank</c:v>
                </c:pt>
                <c:pt idx="6">
                  <c:v>Sverigesnitt</c:v>
                </c:pt>
              </c:strCache>
            </c:strRef>
          </c:cat>
          <c:val>
            <c:numRef>
              <c:f>'Svensk BNP'!$O$32:$O$38</c:f>
              <c:numCache>
                <c:formatCode>0.0%</c:formatCode>
                <c:ptCount val="7"/>
                <c:pt idx="0">
                  <c:v>3.6000000000000004E-2</c:v>
                </c:pt>
                <c:pt idx="1">
                  <c:v>3.7000000000000005E-2</c:v>
                </c:pt>
                <c:pt idx="2">
                  <c:v>3.5000000000000003E-2</c:v>
                </c:pt>
                <c:pt idx="3">
                  <c:v>0.03</c:v>
                </c:pt>
                <c:pt idx="4">
                  <c:v>3.3000000000000002E-2</c:v>
                </c:pt>
                <c:pt idx="6">
                  <c:v>3.42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AD-4CC7-AD51-4BCDC2ADA2A9}"/>
            </c:ext>
          </c:extLst>
        </c:ser>
        <c:ser>
          <c:idx val="3"/>
          <c:order val="3"/>
          <c:tx>
            <c:v>  2023</c:v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vensk BNP'!$K$32:$K$38</c:f>
              <c:strCache>
                <c:ptCount val="7"/>
                <c:pt idx="0">
                  <c:v>Riksbanken</c:v>
                </c:pt>
                <c:pt idx="1">
                  <c:v>Nordea</c:v>
                </c:pt>
                <c:pt idx="2">
                  <c:v>Handelsbanken</c:v>
                </c:pt>
                <c:pt idx="3">
                  <c:v>SEB</c:v>
                </c:pt>
                <c:pt idx="4">
                  <c:v>Swedbank</c:v>
                </c:pt>
                <c:pt idx="6">
                  <c:v>Sverigesnitt</c:v>
                </c:pt>
              </c:strCache>
            </c:strRef>
          </c:cat>
          <c:val>
            <c:numRef>
              <c:f>'Svensk BNP'!$P$32:$P$38</c:f>
              <c:numCache>
                <c:formatCode>0.0%</c:formatCode>
                <c:ptCount val="7"/>
                <c:pt idx="0">
                  <c:v>0.02</c:v>
                </c:pt>
                <c:pt idx="1">
                  <c:v>1.7000000000000001E-2</c:v>
                </c:pt>
                <c:pt idx="2">
                  <c:v>2.1000000000000001E-2</c:v>
                </c:pt>
                <c:pt idx="3">
                  <c:v>2.7000000000000003E-2</c:v>
                </c:pt>
                <c:pt idx="4">
                  <c:v>0.02</c:v>
                </c:pt>
                <c:pt idx="6">
                  <c:v>2.10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3AD-4CC7-AD51-4BCDC2ADA2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19"/>
        <c:axId val="855177311"/>
        <c:axId val="1395990591"/>
      </c:barChart>
      <c:catAx>
        <c:axId val="855177311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low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1395990591"/>
        <c:crosses val="autoZero"/>
        <c:auto val="1"/>
        <c:lblAlgn val="ctr"/>
        <c:lblOffset val="100"/>
        <c:tickLblSkip val="1"/>
        <c:noMultiLvlLbl val="0"/>
      </c:catAx>
      <c:valAx>
        <c:axId val="1395990591"/>
        <c:scaling>
          <c:orientation val="minMax"/>
          <c:max val="8.0000000000000016E-2"/>
          <c:min val="-6.0000000000000012E-2"/>
        </c:scaling>
        <c:delete val="0"/>
        <c:axPos val="l"/>
        <c:numFmt formatCode="0%" sourceLinked="0"/>
        <c:majorTickMark val="in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8551773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69625853909465019"/>
          <c:y val="3.5127777777777779E-2"/>
          <c:w val="0.30374146090534981"/>
          <c:h val="5.960608470014660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777777777777777"/>
          <c:y val="0"/>
          <c:w val="0.62597025371828519"/>
          <c:h val="1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tx2"/>
              </a:solidFill>
              <a:ln>
                <a:solidFill>
                  <a:schemeClr val="tx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083-490C-B9FB-84C690F81C0A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083-490C-B9FB-84C690F81C0A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>
                <a:solidFill>
                  <a:schemeClr val="accent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083-490C-B9FB-84C690F81C0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083-490C-B9FB-84C690F81C0A}"/>
              </c:ext>
            </c:extLst>
          </c:dPt>
          <c:dPt>
            <c:idx val="4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083-490C-B9FB-84C690F81C0A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5083-490C-B9FB-84C690F81C0A}"/>
              </c:ext>
            </c:extLst>
          </c:dPt>
          <c:dLbls>
            <c:dLbl>
              <c:idx val="0"/>
              <c:layout>
                <c:manualLayout>
                  <c:x val="0.20177734033245839"/>
                  <c:y val="9.7784562643955131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Galaxie Polaris Medium" panose="02000000000000000000" pitchFamily="50" charset="0"/>
                        <a:cs typeface="Arial" panose="020B0604020202020204" pitchFamily="34" charset="0"/>
                      </a:defRPr>
                    </a:pPr>
                    <a:fld id="{D689AF4D-102C-4BAB-A972-9F79955D2A29}" type="CELLRANGE">
                      <a:rPr lang="en-US"/>
                      <a:pPr>
                        <a:defRPr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CELLRANGE]</a:t>
                    </a:fld>
                    <a:endParaRPr lang="sv-S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Galaxie Polaris Medium" panose="02000000000000000000" pitchFamily="50" charset="0"/>
                      <a:cs typeface="Arial" panose="020B0604020202020204" pitchFamily="34" charset="0"/>
                    </a:defRPr>
                  </a:pPr>
                  <a:endParaRPr lang="sv-SE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5083-490C-B9FB-84C690F81C0A}"/>
                </c:ext>
              </c:extLst>
            </c:dLbl>
            <c:dLbl>
              <c:idx val="1"/>
              <c:layout>
                <c:manualLayout>
                  <c:x val="0.11726421697287834"/>
                  <c:y val="0.1468084346599532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Galaxie Polaris Medium" panose="02000000000000000000" pitchFamily="50" charset="0"/>
                        <a:cs typeface="Arial" panose="020B0604020202020204" pitchFamily="34" charset="0"/>
                      </a:defRPr>
                    </a:pPr>
                    <a:fld id="{35A1446F-4816-49B8-9405-75928E9B4818}" type="CELLRANGE">
                      <a:rPr lang="en-US"/>
                      <a:pP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CELLRANGE]</a:t>
                    </a:fld>
                    <a:endParaRPr lang="sv-S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Galaxie Polaris Medium" panose="02000000000000000000" pitchFamily="50" charset="0"/>
                      <a:cs typeface="Arial" panose="020B0604020202020204" pitchFamily="34" charset="0"/>
                    </a:defRPr>
                  </a:pPr>
                  <a:endParaRPr lang="sv-SE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5083-490C-B9FB-84C690F81C0A}"/>
                </c:ext>
              </c:extLst>
            </c:dLbl>
            <c:dLbl>
              <c:idx val="2"/>
              <c:layout>
                <c:manualLayout>
                  <c:x val="-1.0185067526415994E-16"/>
                  <c:y val="6.8405377899191169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Galaxie Polaris Medium" panose="02000000000000000000" pitchFamily="50" charset="0"/>
                        <a:cs typeface="Arial" panose="020B0604020202020204" pitchFamily="34" charset="0"/>
                      </a:defRPr>
                    </a:pPr>
                    <a:fld id="{7B490583-D402-43ED-8921-ADD5044EA20B}" type="CELLRANGE">
                      <a:rPr lang="en-US"/>
                      <a:pPr>
                        <a:defRPr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CELLRANGE]</a:t>
                    </a:fld>
                    <a:endParaRPr lang="sv-S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Galaxie Polaris Medium" panose="02000000000000000000" pitchFamily="50" charset="0"/>
                      <a:cs typeface="Arial" panose="020B0604020202020204" pitchFamily="34" charset="0"/>
                    </a:defRPr>
                  </a:pPr>
                  <a:endParaRPr lang="sv-SE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5083-490C-B9FB-84C690F81C0A}"/>
                </c:ext>
              </c:extLst>
            </c:dLbl>
            <c:dLbl>
              <c:idx val="3"/>
              <c:layout>
                <c:manualLayout>
                  <c:x val="-0.11735520559930009"/>
                  <c:y val="0.1468084346599532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Galaxie Polaris Medium" panose="02000000000000000000" pitchFamily="50" charset="0"/>
                        <a:cs typeface="Arial" panose="020B0604020202020204" pitchFamily="34" charset="0"/>
                      </a:defRPr>
                    </a:pPr>
                    <a:fld id="{950102FF-7DFD-420D-888F-BB069B8C270B}" type="CELLRANGE">
                      <a:rPr lang="en-US"/>
                      <a:pPr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CELLRANGE]</a:t>
                    </a:fld>
                    <a:endParaRPr lang="sv-S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Galaxie Polaris Medium" panose="02000000000000000000" pitchFamily="50" charset="0"/>
                      <a:cs typeface="Arial" panose="020B0604020202020204" pitchFamily="34" charset="0"/>
                    </a:defRPr>
                  </a:pPr>
                  <a:endParaRPr lang="sv-SE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5083-490C-B9FB-84C690F81C0A}"/>
                </c:ext>
              </c:extLst>
            </c:dLbl>
            <c:dLbl>
              <c:idx val="4"/>
              <c:layout>
                <c:manualLayout>
                  <c:x val="-0.16598647799920738"/>
                  <c:y val="9.7784489267608674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Galaxie Polaris Medium" panose="02000000000000000000" pitchFamily="50" charset="0"/>
                        <a:cs typeface="Arial" panose="020B0604020202020204" pitchFamily="34" charset="0"/>
                      </a:defRPr>
                    </a:pPr>
                    <a:fld id="{BBCD6D88-9331-4387-A2E1-E9301C61AE90}" type="CELLRANGE">
                      <a:rPr lang="en-US"/>
                      <a:pPr>
                        <a:defRPr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CELLRANGE]</a:t>
                    </a:fld>
                    <a:endParaRPr lang="sv-S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Galaxie Polaris Medium" panose="02000000000000000000" pitchFamily="50" charset="0"/>
                      <a:cs typeface="Arial" panose="020B0604020202020204" pitchFamily="34" charset="0"/>
                    </a:defRPr>
                  </a:pPr>
                  <a:endParaRPr lang="sv-SE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5083-490C-B9FB-84C690F81C0A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sv-SE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5083-490C-B9FB-84C690F81C0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Galaxie Polaris Medium" panose="02000000000000000000" pitchFamily="50" charset="0"/>
                    <a:cs typeface="Arial" panose="020B0604020202020204" pitchFamily="34" charset="0"/>
                  </a:defRPr>
                </a:pPr>
                <a:endParaRPr lang="sv-SE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</c:ext>
            </c:extLst>
          </c:dLbls>
          <c:cat>
            <c:strRef>
              <c:f>'KI mätare'!$A$1:$A$6</c:f>
              <c:strCache>
                <c:ptCount val="5"/>
                <c:pt idx="0">
                  <c:v>≤90</c:v>
                </c:pt>
                <c:pt idx="1">
                  <c:v>&gt;90-99</c:v>
                </c:pt>
                <c:pt idx="2">
                  <c:v>&gt;99-101</c:v>
                </c:pt>
                <c:pt idx="3">
                  <c:v>&gt;101-110</c:v>
                </c:pt>
                <c:pt idx="4">
                  <c:v>&gt;110</c:v>
                </c:pt>
              </c:strCache>
            </c:strRef>
          </c:cat>
          <c:val>
            <c:numRef>
              <c:f>'KI mätare'!$B$1:$B$6</c:f>
              <c:numCache>
                <c:formatCode>General</c:formatCode>
                <c:ptCount val="6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  <c:pt idx="5">
                  <c:v>10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KI mätare'!$C$1:$C$5</c15:f>
                <c15:dlblRangeCache>
                  <c:ptCount val="5"/>
                  <c:pt idx="0">
                    <c:v>Lågkonjunktur</c:v>
                  </c:pt>
                  <c:pt idx="1">
                    <c:v>Normalsvag</c:v>
                  </c:pt>
                  <c:pt idx="2">
                    <c:v>Normal</c:v>
                  </c:pt>
                  <c:pt idx="3">
                    <c:v>Normalstark</c:v>
                  </c:pt>
                  <c:pt idx="4">
                    <c:v>Högkonjunktur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C-5083-490C-B9FB-84C690F81C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27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Galaxie Polaris Medium" panose="02000000000000000000" pitchFamily="50" charset="0"/>
          <a:ea typeface="Galaxie Polaris Medium" panose="02000000000000000000" pitchFamily="50" charset="0"/>
          <a:cs typeface="Galaxie Polaris Medium" panose="02000000000000000000" pitchFamily="50" charset="0"/>
        </a:defRPr>
      </a:pPr>
      <a:endParaRPr lang="sv-SE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891245359657736E-2"/>
          <c:y val="3.8999836038694863E-2"/>
          <c:w val="0.91304537249968487"/>
          <c:h val="0.68393441547794731"/>
        </c:manualLayout>
      </c:layout>
      <c:lineChart>
        <c:grouping val="standard"/>
        <c:varyColors val="0"/>
        <c:ser>
          <c:idx val="0"/>
          <c:order val="0"/>
          <c:tx>
            <c:v>  Konjunkturindikator Göteborgsregionen</c:v>
          </c:tx>
          <c:spPr>
            <a:ln w="762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60"/>
              <c:layout>
                <c:manualLayout>
                  <c:x val="-3.6242826940501359E-3"/>
                  <c:y val="2.22398729150119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749-4C65-9BBF-29A2D4920F8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sv-SE" sz="1200" b="0" i="0" u="none" strike="noStrike" kern="1200" baseline="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Masterfil BI'!$A$35:$A$95</c:f>
              <c:strCache>
                <c:ptCount val="61"/>
                <c:pt idx="0">
                  <c:v>2006 kvartal 4</c:v>
                </c:pt>
                <c:pt idx="1">
                  <c:v>2007 kvartal 1</c:v>
                </c:pt>
                <c:pt idx="2">
                  <c:v>2007 kvartal 2</c:v>
                </c:pt>
                <c:pt idx="3">
                  <c:v>2007 kvartal 3</c:v>
                </c:pt>
                <c:pt idx="4">
                  <c:v>2007 kvartal 4</c:v>
                </c:pt>
                <c:pt idx="5">
                  <c:v>2008 kvartal 1</c:v>
                </c:pt>
                <c:pt idx="6">
                  <c:v>2008 kvartal 2</c:v>
                </c:pt>
                <c:pt idx="7">
                  <c:v>2008 kvartal 3</c:v>
                </c:pt>
                <c:pt idx="8">
                  <c:v>2008 kvartal 4</c:v>
                </c:pt>
                <c:pt idx="9">
                  <c:v>2009 kvartal 1</c:v>
                </c:pt>
                <c:pt idx="10">
                  <c:v>2009 kvartal 2</c:v>
                </c:pt>
                <c:pt idx="11">
                  <c:v>2009 kvartal 3</c:v>
                </c:pt>
                <c:pt idx="12">
                  <c:v>2009 kvartal 4</c:v>
                </c:pt>
                <c:pt idx="13">
                  <c:v>2010 kvartal 1</c:v>
                </c:pt>
                <c:pt idx="14">
                  <c:v>2010 kvartal 2</c:v>
                </c:pt>
                <c:pt idx="15">
                  <c:v>2010 kvartal 3</c:v>
                </c:pt>
                <c:pt idx="16">
                  <c:v>2010 kvartal 4</c:v>
                </c:pt>
                <c:pt idx="17">
                  <c:v>2011 kvartal 1</c:v>
                </c:pt>
                <c:pt idx="18">
                  <c:v>2011 kvartal 2</c:v>
                </c:pt>
                <c:pt idx="19">
                  <c:v>2011 kvartal 3</c:v>
                </c:pt>
                <c:pt idx="20">
                  <c:v>2011 kvartal 4</c:v>
                </c:pt>
                <c:pt idx="21">
                  <c:v>2012 kvartal 1</c:v>
                </c:pt>
                <c:pt idx="22">
                  <c:v>2012 kvartal 2</c:v>
                </c:pt>
                <c:pt idx="23">
                  <c:v>2012 kvartal 3</c:v>
                </c:pt>
                <c:pt idx="24">
                  <c:v>2012 kvartal 4</c:v>
                </c:pt>
                <c:pt idx="25">
                  <c:v>2013 kvartal 1</c:v>
                </c:pt>
                <c:pt idx="26">
                  <c:v>2013 kvartal 2</c:v>
                </c:pt>
                <c:pt idx="27">
                  <c:v>2013 kvartal 3</c:v>
                </c:pt>
                <c:pt idx="28">
                  <c:v>2013 kvartal 4</c:v>
                </c:pt>
                <c:pt idx="29">
                  <c:v>2014 kvartal 1</c:v>
                </c:pt>
                <c:pt idx="30">
                  <c:v>2014 kvartal 2</c:v>
                </c:pt>
                <c:pt idx="31">
                  <c:v>2014 kvartal 3</c:v>
                </c:pt>
                <c:pt idx="32">
                  <c:v>2014 kvartal 4</c:v>
                </c:pt>
                <c:pt idx="33">
                  <c:v>2015 kvartal 1</c:v>
                </c:pt>
                <c:pt idx="34">
                  <c:v>2015 kvartal 2</c:v>
                </c:pt>
                <c:pt idx="35">
                  <c:v>2015 kvartal 3</c:v>
                </c:pt>
                <c:pt idx="36">
                  <c:v>2015 kvartal 4</c:v>
                </c:pt>
                <c:pt idx="37">
                  <c:v>2016 kvartal 1</c:v>
                </c:pt>
                <c:pt idx="38">
                  <c:v>2016 kvartal 2</c:v>
                </c:pt>
                <c:pt idx="39">
                  <c:v>2016 kvartal 3</c:v>
                </c:pt>
                <c:pt idx="40">
                  <c:v>2016 kvartal 4</c:v>
                </c:pt>
                <c:pt idx="41">
                  <c:v>2017 kvartal 1</c:v>
                </c:pt>
                <c:pt idx="42">
                  <c:v>2017 kvartal 2</c:v>
                </c:pt>
                <c:pt idx="43">
                  <c:v>2017 kvartal 3</c:v>
                </c:pt>
                <c:pt idx="44">
                  <c:v>2017 kvartal 4</c:v>
                </c:pt>
                <c:pt idx="45">
                  <c:v>2018 kvartal 1</c:v>
                </c:pt>
                <c:pt idx="46">
                  <c:v>2018 kvartal 2</c:v>
                </c:pt>
                <c:pt idx="47">
                  <c:v>2018 kvartal 3</c:v>
                </c:pt>
                <c:pt idx="48">
                  <c:v>2018 kvartal 4</c:v>
                </c:pt>
                <c:pt idx="49">
                  <c:v>2019 kvartal 1</c:v>
                </c:pt>
                <c:pt idx="50">
                  <c:v>2019 kvartal 2</c:v>
                </c:pt>
                <c:pt idx="51">
                  <c:v>2019 kvartal 3</c:v>
                </c:pt>
                <c:pt idx="52">
                  <c:v>2019 kvartal 4</c:v>
                </c:pt>
                <c:pt idx="53">
                  <c:v>2020 kvartal 1</c:v>
                </c:pt>
                <c:pt idx="54">
                  <c:v>2020 kvartal 2</c:v>
                </c:pt>
                <c:pt idx="55">
                  <c:v>2020 kvartal 3</c:v>
                </c:pt>
                <c:pt idx="56">
                  <c:v>2020 kvartal 4</c:v>
                </c:pt>
                <c:pt idx="57">
                  <c:v>2021 kvartal 1</c:v>
                </c:pt>
                <c:pt idx="58">
                  <c:v>2021 kvartal 2</c:v>
                </c:pt>
                <c:pt idx="59">
                  <c:v>2021 kvartal 3</c:v>
                </c:pt>
                <c:pt idx="60">
                  <c:v>2021 kvartal 4</c:v>
                </c:pt>
              </c:strCache>
            </c:strRef>
          </c:cat>
          <c:val>
            <c:numRef>
              <c:f>'Masterfil BI'!$C$35:$C$95</c:f>
              <c:numCache>
                <c:formatCode>0.0</c:formatCode>
                <c:ptCount val="61"/>
                <c:pt idx="0">
                  <c:v>107.93365750399926</c:v>
                </c:pt>
                <c:pt idx="1">
                  <c:v>104.71880842987304</c:v>
                </c:pt>
                <c:pt idx="2">
                  <c:v>101.98544775123999</c:v>
                </c:pt>
                <c:pt idx="3">
                  <c:v>99.502710530579634</c:v>
                </c:pt>
                <c:pt idx="4">
                  <c:v>97.309738000876493</c:v>
                </c:pt>
                <c:pt idx="5">
                  <c:v>102.29837469660811</c:v>
                </c:pt>
                <c:pt idx="6">
                  <c:v>88.854722000481701</c:v>
                </c:pt>
                <c:pt idx="7">
                  <c:v>83.651111564080281</c:v>
                </c:pt>
                <c:pt idx="8">
                  <c:v>73.286141383581111</c:v>
                </c:pt>
                <c:pt idx="9">
                  <c:v>73.313848385539771</c:v>
                </c:pt>
                <c:pt idx="10">
                  <c:v>82.984857534513964</c:v>
                </c:pt>
                <c:pt idx="11">
                  <c:v>92.793430480008126</c:v>
                </c:pt>
                <c:pt idx="12">
                  <c:v>102.66656405308201</c:v>
                </c:pt>
                <c:pt idx="13">
                  <c:v>101.23422341295127</c:v>
                </c:pt>
                <c:pt idx="14">
                  <c:v>110.60533267678842</c:v>
                </c:pt>
                <c:pt idx="15">
                  <c:v>109.69221772431868</c:v>
                </c:pt>
                <c:pt idx="16">
                  <c:v>113.17040496452069</c:v>
                </c:pt>
                <c:pt idx="17">
                  <c:v>109.46777285942883</c:v>
                </c:pt>
                <c:pt idx="18">
                  <c:v>103.95108828581915</c:v>
                </c:pt>
                <c:pt idx="19">
                  <c:v>98.227228499011531</c:v>
                </c:pt>
                <c:pt idx="20">
                  <c:v>92.94529759556751</c:v>
                </c:pt>
                <c:pt idx="21">
                  <c:v>100.31446626396342</c:v>
                </c:pt>
                <c:pt idx="22">
                  <c:v>96.216869420355323</c:v>
                </c:pt>
                <c:pt idx="23">
                  <c:v>92.535490630124258</c:v>
                </c:pt>
                <c:pt idx="24">
                  <c:v>87.208611721399834</c:v>
                </c:pt>
                <c:pt idx="25">
                  <c:v>92.369732803189365</c:v>
                </c:pt>
                <c:pt idx="26">
                  <c:v>97.935923040841914</c:v>
                </c:pt>
                <c:pt idx="27">
                  <c:v>99.768707015327251</c:v>
                </c:pt>
                <c:pt idx="28">
                  <c:v>104.14756787767084</c:v>
                </c:pt>
                <c:pt idx="29">
                  <c:v>102.36351586759187</c:v>
                </c:pt>
                <c:pt idx="30">
                  <c:v>101.32452261828837</c:v>
                </c:pt>
                <c:pt idx="31">
                  <c:v>101.91037365094564</c:v>
                </c:pt>
                <c:pt idx="32">
                  <c:v>102.99229584789305</c:v>
                </c:pt>
                <c:pt idx="33">
                  <c:v>103.65634275452632</c:v>
                </c:pt>
                <c:pt idx="34">
                  <c:v>107.1154875233769</c:v>
                </c:pt>
                <c:pt idx="35">
                  <c:v>108.76400058325767</c:v>
                </c:pt>
                <c:pt idx="36">
                  <c:v>107.14770538151653</c:v>
                </c:pt>
                <c:pt idx="37">
                  <c:v>105.43163931942064</c:v>
                </c:pt>
                <c:pt idx="38">
                  <c:v>106.4985306494558</c:v>
                </c:pt>
                <c:pt idx="39">
                  <c:v>104.42892060210401</c:v>
                </c:pt>
                <c:pt idx="40">
                  <c:v>107.04936861592259</c:v>
                </c:pt>
                <c:pt idx="41">
                  <c:v>109.66452111932165</c:v>
                </c:pt>
                <c:pt idx="42">
                  <c:v>106.92153409360969</c:v>
                </c:pt>
                <c:pt idx="43">
                  <c:v>105.27100340024654</c:v>
                </c:pt>
                <c:pt idx="44">
                  <c:v>108.02651164197297</c:v>
                </c:pt>
                <c:pt idx="45">
                  <c:v>106.44433666800708</c:v>
                </c:pt>
                <c:pt idx="46">
                  <c:v>104.99207046048983</c:v>
                </c:pt>
                <c:pt idx="47">
                  <c:v>101.25127204187029</c:v>
                </c:pt>
                <c:pt idx="48">
                  <c:v>98.542648862255817</c:v>
                </c:pt>
                <c:pt idx="49">
                  <c:v>101.85711884303534</c:v>
                </c:pt>
                <c:pt idx="50">
                  <c:v>98.427785663495342</c:v>
                </c:pt>
                <c:pt idx="51">
                  <c:v>93.21260359624327</c:v>
                </c:pt>
                <c:pt idx="52">
                  <c:v>96.787950469638972</c:v>
                </c:pt>
                <c:pt idx="53">
                  <c:v>62.734935969504804</c:v>
                </c:pt>
                <c:pt idx="54">
                  <c:v>80.040817218031137</c:v>
                </c:pt>
                <c:pt idx="55">
                  <c:v>91.338480411656434</c:v>
                </c:pt>
                <c:pt idx="56">
                  <c:v>96.32451684752121</c:v>
                </c:pt>
                <c:pt idx="57">
                  <c:v>106.68071861136993</c:v>
                </c:pt>
                <c:pt idx="58">
                  <c:v>115.11312690763376</c:v>
                </c:pt>
                <c:pt idx="59">
                  <c:v>115.51420217115198</c:v>
                </c:pt>
                <c:pt idx="60">
                  <c:v>112.129000995654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749-4C65-9BBF-29A2D4920F8A}"/>
            </c:ext>
          </c:extLst>
        </c:ser>
        <c:ser>
          <c:idx val="1"/>
          <c:order val="1"/>
          <c:tx>
            <c:v>  Normal konjunktur - nedre gräns</c:v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Lbls>
            <c:dLbl>
              <c:idx val="36"/>
              <c:layout>
                <c:manualLayout>
                  <c:x val="1.8348314824662947E-2"/>
                  <c:y val="0.11551567588894543"/>
                </c:manualLayout>
              </c:layout>
              <c:tx>
                <c:rich>
                  <a:bodyPr/>
                  <a:lstStyle/>
                  <a:p>
                    <a:r>
                      <a:rPr lang="en-US" noProof="0" dirty="0"/>
                      <a:t>Intervall för normal konjunktur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4764547666214026"/>
                      <c:h val="0.11623848448650033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2-D749-4C65-9BBF-29A2D4920F8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sv-SE" sz="1200" b="0" i="0" u="none" strike="noStrike" kern="1200" baseline="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accent5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Masterfil BI'!$A$35:$A$95</c:f>
              <c:strCache>
                <c:ptCount val="61"/>
                <c:pt idx="0">
                  <c:v>2006 kvartal 4</c:v>
                </c:pt>
                <c:pt idx="1">
                  <c:v>2007 kvartal 1</c:v>
                </c:pt>
                <c:pt idx="2">
                  <c:v>2007 kvartal 2</c:v>
                </c:pt>
                <c:pt idx="3">
                  <c:v>2007 kvartal 3</c:v>
                </c:pt>
                <c:pt idx="4">
                  <c:v>2007 kvartal 4</c:v>
                </c:pt>
                <c:pt idx="5">
                  <c:v>2008 kvartal 1</c:v>
                </c:pt>
                <c:pt idx="6">
                  <c:v>2008 kvartal 2</c:v>
                </c:pt>
                <c:pt idx="7">
                  <c:v>2008 kvartal 3</c:v>
                </c:pt>
                <c:pt idx="8">
                  <c:v>2008 kvartal 4</c:v>
                </c:pt>
                <c:pt idx="9">
                  <c:v>2009 kvartal 1</c:v>
                </c:pt>
                <c:pt idx="10">
                  <c:v>2009 kvartal 2</c:v>
                </c:pt>
                <c:pt idx="11">
                  <c:v>2009 kvartal 3</c:v>
                </c:pt>
                <c:pt idx="12">
                  <c:v>2009 kvartal 4</c:v>
                </c:pt>
                <c:pt idx="13">
                  <c:v>2010 kvartal 1</c:v>
                </c:pt>
                <c:pt idx="14">
                  <c:v>2010 kvartal 2</c:v>
                </c:pt>
                <c:pt idx="15">
                  <c:v>2010 kvartal 3</c:v>
                </c:pt>
                <c:pt idx="16">
                  <c:v>2010 kvartal 4</c:v>
                </c:pt>
                <c:pt idx="17">
                  <c:v>2011 kvartal 1</c:v>
                </c:pt>
                <c:pt idx="18">
                  <c:v>2011 kvartal 2</c:v>
                </c:pt>
                <c:pt idx="19">
                  <c:v>2011 kvartal 3</c:v>
                </c:pt>
                <c:pt idx="20">
                  <c:v>2011 kvartal 4</c:v>
                </c:pt>
                <c:pt idx="21">
                  <c:v>2012 kvartal 1</c:v>
                </c:pt>
                <c:pt idx="22">
                  <c:v>2012 kvartal 2</c:v>
                </c:pt>
                <c:pt idx="23">
                  <c:v>2012 kvartal 3</c:v>
                </c:pt>
                <c:pt idx="24">
                  <c:v>2012 kvartal 4</c:v>
                </c:pt>
                <c:pt idx="25">
                  <c:v>2013 kvartal 1</c:v>
                </c:pt>
                <c:pt idx="26">
                  <c:v>2013 kvartal 2</c:v>
                </c:pt>
                <c:pt idx="27">
                  <c:v>2013 kvartal 3</c:v>
                </c:pt>
                <c:pt idx="28">
                  <c:v>2013 kvartal 4</c:v>
                </c:pt>
                <c:pt idx="29">
                  <c:v>2014 kvartal 1</c:v>
                </c:pt>
                <c:pt idx="30">
                  <c:v>2014 kvartal 2</c:v>
                </c:pt>
                <c:pt idx="31">
                  <c:v>2014 kvartal 3</c:v>
                </c:pt>
                <c:pt idx="32">
                  <c:v>2014 kvartal 4</c:v>
                </c:pt>
                <c:pt idx="33">
                  <c:v>2015 kvartal 1</c:v>
                </c:pt>
                <c:pt idx="34">
                  <c:v>2015 kvartal 2</c:v>
                </c:pt>
                <c:pt idx="35">
                  <c:v>2015 kvartal 3</c:v>
                </c:pt>
                <c:pt idx="36">
                  <c:v>2015 kvartal 4</c:v>
                </c:pt>
                <c:pt idx="37">
                  <c:v>2016 kvartal 1</c:v>
                </c:pt>
                <c:pt idx="38">
                  <c:v>2016 kvartal 2</c:v>
                </c:pt>
                <c:pt idx="39">
                  <c:v>2016 kvartal 3</c:v>
                </c:pt>
                <c:pt idx="40">
                  <c:v>2016 kvartal 4</c:v>
                </c:pt>
                <c:pt idx="41">
                  <c:v>2017 kvartal 1</c:v>
                </c:pt>
                <c:pt idx="42">
                  <c:v>2017 kvartal 2</c:v>
                </c:pt>
                <c:pt idx="43">
                  <c:v>2017 kvartal 3</c:v>
                </c:pt>
                <c:pt idx="44">
                  <c:v>2017 kvartal 4</c:v>
                </c:pt>
                <c:pt idx="45">
                  <c:v>2018 kvartal 1</c:v>
                </c:pt>
                <c:pt idx="46">
                  <c:v>2018 kvartal 2</c:v>
                </c:pt>
                <c:pt idx="47">
                  <c:v>2018 kvartal 3</c:v>
                </c:pt>
                <c:pt idx="48">
                  <c:v>2018 kvartal 4</c:v>
                </c:pt>
                <c:pt idx="49">
                  <c:v>2019 kvartal 1</c:v>
                </c:pt>
                <c:pt idx="50">
                  <c:v>2019 kvartal 2</c:v>
                </c:pt>
                <c:pt idx="51">
                  <c:v>2019 kvartal 3</c:v>
                </c:pt>
                <c:pt idx="52">
                  <c:v>2019 kvartal 4</c:v>
                </c:pt>
                <c:pt idx="53">
                  <c:v>2020 kvartal 1</c:v>
                </c:pt>
                <c:pt idx="54">
                  <c:v>2020 kvartal 2</c:v>
                </c:pt>
                <c:pt idx="55">
                  <c:v>2020 kvartal 3</c:v>
                </c:pt>
                <c:pt idx="56">
                  <c:v>2020 kvartal 4</c:v>
                </c:pt>
                <c:pt idx="57">
                  <c:v>2021 kvartal 1</c:v>
                </c:pt>
                <c:pt idx="58">
                  <c:v>2021 kvartal 2</c:v>
                </c:pt>
                <c:pt idx="59">
                  <c:v>2021 kvartal 3</c:v>
                </c:pt>
                <c:pt idx="60">
                  <c:v>2021 kvartal 4</c:v>
                </c:pt>
              </c:strCache>
            </c:strRef>
          </c:cat>
          <c:val>
            <c:numRef>
              <c:f>'Masterfil BI'!$G$35:$G$95</c:f>
              <c:numCache>
                <c:formatCode>0.0</c:formatCode>
                <c:ptCount val="61"/>
                <c:pt idx="0">
                  <c:v>99</c:v>
                </c:pt>
                <c:pt idx="1">
                  <c:v>99</c:v>
                </c:pt>
                <c:pt idx="2">
                  <c:v>99</c:v>
                </c:pt>
                <c:pt idx="3">
                  <c:v>99</c:v>
                </c:pt>
                <c:pt idx="4">
                  <c:v>99</c:v>
                </c:pt>
                <c:pt idx="5">
                  <c:v>99</c:v>
                </c:pt>
                <c:pt idx="6">
                  <c:v>99</c:v>
                </c:pt>
                <c:pt idx="7">
                  <c:v>99</c:v>
                </c:pt>
                <c:pt idx="8">
                  <c:v>99</c:v>
                </c:pt>
                <c:pt idx="9">
                  <c:v>99</c:v>
                </c:pt>
                <c:pt idx="10">
                  <c:v>99</c:v>
                </c:pt>
                <c:pt idx="11">
                  <c:v>99</c:v>
                </c:pt>
                <c:pt idx="12">
                  <c:v>99</c:v>
                </c:pt>
                <c:pt idx="13">
                  <c:v>99</c:v>
                </c:pt>
                <c:pt idx="14">
                  <c:v>99</c:v>
                </c:pt>
                <c:pt idx="15">
                  <c:v>99</c:v>
                </c:pt>
                <c:pt idx="16">
                  <c:v>99</c:v>
                </c:pt>
                <c:pt idx="17">
                  <c:v>99</c:v>
                </c:pt>
                <c:pt idx="18">
                  <c:v>99</c:v>
                </c:pt>
                <c:pt idx="19">
                  <c:v>99</c:v>
                </c:pt>
                <c:pt idx="20">
                  <c:v>99</c:v>
                </c:pt>
                <c:pt idx="21">
                  <c:v>99</c:v>
                </c:pt>
                <c:pt idx="22">
                  <c:v>99</c:v>
                </c:pt>
                <c:pt idx="23">
                  <c:v>99</c:v>
                </c:pt>
                <c:pt idx="24">
                  <c:v>99</c:v>
                </c:pt>
                <c:pt idx="25">
                  <c:v>99</c:v>
                </c:pt>
                <c:pt idx="26">
                  <c:v>99</c:v>
                </c:pt>
                <c:pt idx="27">
                  <c:v>99</c:v>
                </c:pt>
                <c:pt idx="28">
                  <c:v>99</c:v>
                </c:pt>
                <c:pt idx="29">
                  <c:v>99</c:v>
                </c:pt>
                <c:pt idx="30">
                  <c:v>99</c:v>
                </c:pt>
                <c:pt idx="31">
                  <c:v>99</c:v>
                </c:pt>
                <c:pt idx="32">
                  <c:v>99</c:v>
                </c:pt>
                <c:pt idx="33">
                  <c:v>99</c:v>
                </c:pt>
                <c:pt idx="34">
                  <c:v>99</c:v>
                </c:pt>
                <c:pt idx="35">
                  <c:v>99</c:v>
                </c:pt>
                <c:pt idx="36">
                  <c:v>99</c:v>
                </c:pt>
                <c:pt idx="37">
                  <c:v>99</c:v>
                </c:pt>
                <c:pt idx="38">
                  <c:v>99</c:v>
                </c:pt>
                <c:pt idx="39">
                  <c:v>99</c:v>
                </c:pt>
                <c:pt idx="40">
                  <c:v>99</c:v>
                </c:pt>
                <c:pt idx="41">
                  <c:v>99</c:v>
                </c:pt>
                <c:pt idx="42">
                  <c:v>99</c:v>
                </c:pt>
                <c:pt idx="43">
                  <c:v>99</c:v>
                </c:pt>
                <c:pt idx="44">
                  <c:v>99</c:v>
                </c:pt>
                <c:pt idx="45">
                  <c:v>99</c:v>
                </c:pt>
                <c:pt idx="46">
                  <c:v>99</c:v>
                </c:pt>
                <c:pt idx="47">
                  <c:v>99</c:v>
                </c:pt>
                <c:pt idx="48">
                  <c:v>99</c:v>
                </c:pt>
                <c:pt idx="49">
                  <c:v>99</c:v>
                </c:pt>
                <c:pt idx="50">
                  <c:v>99</c:v>
                </c:pt>
                <c:pt idx="51">
                  <c:v>99</c:v>
                </c:pt>
                <c:pt idx="52">
                  <c:v>99</c:v>
                </c:pt>
                <c:pt idx="53">
                  <c:v>99</c:v>
                </c:pt>
                <c:pt idx="54">
                  <c:v>99</c:v>
                </c:pt>
                <c:pt idx="55">
                  <c:v>99</c:v>
                </c:pt>
                <c:pt idx="56">
                  <c:v>99</c:v>
                </c:pt>
                <c:pt idx="57">
                  <c:v>99</c:v>
                </c:pt>
                <c:pt idx="58">
                  <c:v>99</c:v>
                </c:pt>
                <c:pt idx="59">
                  <c:v>99</c:v>
                </c:pt>
                <c:pt idx="60">
                  <c:v>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749-4C65-9BBF-29A2D4920F8A}"/>
            </c:ext>
          </c:extLst>
        </c:ser>
        <c:ser>
          <c:idx val="2"/>
          <c:order val="2"/>
          <c:tx>
            <c:v>  Normal konjunktur - övre gräns</c:v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'Masterfil BI'!$A$35:$A$95</c:f>
              <c:strCache>
                <c:ptCount val="61"/>
                <c:pt idx="0">
                  <c:v>2006 kvartal 4</c:v>
                </c:pt>
                <c:pt idx="1">
                  <c:v>2007 kvartal 1</c:v>
                </c:pt>
                <c:pt idx="2">
                  <c:v>2007 kvartal 2</c:v>
                </c:pt>
                <c:pt idx="3">
                  <c:v>2007 kvartal 3</c:v>
                </c:pt>
                <c:pt idx="4">
                  <c:v>2007 kvartal 4</c:v>
                </c:pt>
                <c:pt idx="5">
                  <c:v>2008 kvartal 1</c:v>
                </c:pt>
                <c:pt idx="6">
                  <c:v>2008 kvartal 2</c:v>
                </c:pt>
                <c:pt idx="7">
                  <c:v>2008 kvartal 3</c:v>
                </c:pt>
                <c:pt idx="8">
                  <c:v>2008 kvartal 4</c:v>
                </c:pt>
                <c:pt idx="9">
                  <c:v>2009 kvartal 1</c:v>
                </c:pt>
                <c:pt idx="10">
                  <c:v>2009 kvartal 2</c:v>
                </c:pt>
                <c:pt idx="11">
                  <c:v>2009 kvartal 3</c:v>
                </c:pt>
                <c:pt idx="12">
                  <c:v>2009 kvartal 4</c:v>
                </c:pt>
                <c:pt idx="13">
                  <c:v>2010 kvartal 1</c:v>
                </c:pt>
                <c:pt idx="14">
                  <c:v>2010 kvartal 2</c:v>
                </c:pt>
                <c:pt idx="15">
                  <c:v>2010 kvartal 3</c:v>
                </c:pt>
                <c:pt idx="16">
                  <c:v>2010 kvartal 4</c:v>
                </c:pt>
                <c:pt idx="17">
                  <c:v>2011 kvartal 1</c:v>
                </c:pt>
                <c:pt idx="18">
                  <c:v>2011 kvartal 2</c:v>
                </c:pt>
                <c:pt idx="19">
                  <c:v>2011 kvartal 3</c:v>
                </c:pt>
                <c:pt idx="20">
                  <c:v>2011 kvartal 4</c:v>
                </c:pt>
                <c:pt idx="21">
                  <c:v>2012 kvartal 1</c:v>
                </c:pt>
                <c:pt idx="22">
                  <c:v>2012 kvartal 2</c:v>
                </c:pt>
                <c:pt idx="23">
                  <c:v>2012 kvartal 3</c:v>
                </c:pt>
                <c:pt idx="24">
                  <c:v>2012 kvartal 4</c:v>
                </c:pt>
                <c:pt idx="25">
                  <c:v>2013 kvartal 1</c:v>
                </c:pt>
                <c:pt idx="26">
                  <c:v>2013 kvartal 2</c:v>
                </c:pt>
                <c:pt idx="27">
                  <c:v>2013 kvartal 3</c:v>
                </c:pt>
                <c:pt idx="28">
                  <c:v>2013 kvartal 4</c:v>
                </c:pt>
                <c:pt idx="29">
                  <c:v>2014 kvartal 1</c:v>
                </c:pt>
                <c:pt idx="30">
                  <c:v>2014 kvartal 2</c:v>
                </c:pt>
                <c:pt idx="31">
                  <c:v>2014 kvartal 3</c:v>
                </c:pt>
                <c:pt idx="32">
                  <c:v>2014 kvartal 4</c:v>
                </c:pt>
                <c:pt idx="33">
                  <c:v>2015 kvartal 1</c:v>
                </c:pt>
                <c:pt idx="34">
                  <c:v>2015 kvartal 2</c:v>
                </c:pt>
                <c:pt idx="35">
                  <c:v>2015 kvartal 3</c:v>
                </c:pt>
                <c:pt idx="36">
                  <c:v>2015 kvartal 4</c:v>
                </c:pt>
                <c:pt idx="37">
                  <c:v>2016 kvartal 1</c:v>
                </c:pt>
                <c:pt idx="38">
                  <c:v>2016 kvartal 2</c:v>
                </c:pt>
                <c:pt idx="39">
                  <c:v>2016 kvartal 3</c:v>
                </c:pt>
                <c:pt idx="40">
                  <c:v>2016 kvartal 4</c:v>
                </c:pt>
                <c:pt idx="41">
                  <c:v>2017 kvartal 1</c:v>
                </c:pt>
                <c:pt idx="42">
                  <c:v>2017 kvartal 2</c:v>
                </c:pt>
                <c:pt idx="43">
                  <c:v>2017 kvartal 3</c:v>
                </c:pt>
                <c:pt idx="44">
                  <c:v>2017 kvartal 4</c:v>
                </c:pt>
                <c:pt idx="45">
                  <c:v>2018 kvartal 1</c:v>
                </c:pt>
                <c:pt idx="46">
                  <c:v>2018 kvartal 2</c:v>
                </c:pt>
                <c:pt idx="47">
                  <c:v>2018 kvartal 3</c:v>
                </c:pt>
                <c:pt idx="48">
                  <c:v>2018 kvartal 4</c:v>
                </c:pt>
                <c:pt idx="49">
                  <c:v>2019 kvartal 1</c:v>
                </c:pt>
                <c:pt idx="50">
                  <c:v>2019 kvartal 2</c:v>
                </c:pt>
                <c:pt idx="51">
                  <c:v>2019 kvartal 3</c:v>
                </c:pt>
                <c:pt idx="52">
                  <c:v>2019 kvartal 4</c:v>
                </c:pt>
                <c:pt idx="53">
                  <c:v>2020 kvartal 1</c:v>
                </c:pt>
                <c:pt idx="54">
                  <c:v>2020 kvartal 2</c:v>
                </c:pt>
                <c:pt idx="55">
                  <c:v>2020 kvartal 3</c:v>
                </c:pt>
                <c:pt idx="56">
                  <c:v>2020 kvartal 4</c:v>
                </c:pt>
                <c:pt idx="57">
                  <c:v>2021 kvartal 1</c:v>
                </c:pt>
                <c:pt idx="58">
                  <c:v>2021 kvartal 2</c:v>
                </c:pt>
                <c:pt idx="59">
                  <c:v>2021 kvartal 3</c:v>
                </c:pt>
                <c:pt idx="60">
                  <c:v>2021 kvartal 4</c:v>
                </c:pt>
              </c:strCache>
            </c:strRef>
          </c:cat>
          <c:val>
            <c:numRef>
              <c:f>'Masterfil BI'!$H$35:$H$95</c:f>
              <c:numCache>
                <c:formatCode>0.0</c:formatCode>
                <c:ptCount val="61"/>
                <c:pt idx="0">
                  <c:v>101</c:v>
                </c:pt>
                <c:pt idx="1">
                  <c:v>101</c:v>
                </c:pt>
                <c:pt idx="2">
                  <c:v>101</c:v>
                </c:pt>
                <c:pt idx="3">
                  <c:v>101</c:v>
                </c:pt>
                <c:pt idx="4">
                  <c:v>101</c:v>
                </c:pt>
                <c:pt idx="5">
                  <c:v>101</c:v>
                </c:pt>
                <c:pt idx="6">
                  <c:v>101</c:v>
                </c:pt>
                <c:pt idx="7">
                  <c:v>101</c:v>
                </c:pt>
                <c:pt idx="8">
                  <c:v>101</c:v>
                </c:pt>
                <c:pt idx="9">
                  <c:v>101</c:v>
                </c:pt>
                <c:pt idx="10">
                  <c:v>101</c:v>
                </c:pt>
                <c:pt idx="11">
                  <c:v>101</c:v>
                </c:pt>
                <c:pt idx="12">
                  <c:v>101</c:v>
                </c:pt>
                <c:pt idx="13">
                  <c:v>101</c:v>
                </c:pt>
                <c:pt idx="14">
                  <c:v>101</c:v>
                </c:pt>
                <c:pt idx="15">
                  <c:v>101</c:v>
                </c:pt>
                <c:pt idx="16">
                  <c:v>101</c:v>
                </c:pt>
                <c:pt idx="17">
                  <c:v>101</c:v>
                </c:pt>
                <c:pt idx="18">
                  <c:v>101</c:v>
                </c:pt>
                <c:pt idx="19">
                  <c:v>101</c:v>
                </c:pt>
                <c:pt idx="20">
                  <c:v>101</c:v>
                </c:pt>
                <c:pt idx="21">
                  <c:v>101</c:v>
                </c:pt>
                <c:pt idx="22">
                  <c:v>101</c:v>
                </c:pt>
                <c:pt idx="23">
                  <c:v>101</c:v>
                </c:pt>
                <c:pt idx="24">
                  <c:v>101</c:v>
                </c:pt>
                <c:pt idx="25">
                  <c:v>101</c:v>
                </c:pt>
                <c:pt idx="26">
                  <c:v>101</c:v>
                </c:pt>
                <c:pt idx="27">
                  <c:v>101</c:v>
                </c:pt>
                <c:pt idx="28">
                  <c:v>101</c:v>
                </c:pt>
                <c:pt idx="29">
                  <c:v>101</c:v>
                </c:pt>
                <c:pt idx="30">
                  <c:v>101</c:v>
                </c:pt>
                <c:pt idx="31">
                  <c:v>101</c:v>
                </c:pt>
                <c:pt idx="32">
                  <c:v>101</c:v>
                </c:pt>
                <c:pt idx="33">
                  <c:v>101</c:v>
                </c:pt>
                <c:pt idx="34">
                  <c:v>101</c:v>
                </c:pt>
                <c:pt idx="35">
                  <c:v>101</c:v>
                </c:pt>
                <c:pt idx="36">
                  <c:v>101</c:v>
                </c:pt>
                <c:pt idx="37">
                  <c:v>101</c:v>
                </c:pt>
                <c:pt idx="38">
                  <c:v>101</c:v>
                </c:pt>
                <c:pt idx="39">
                  <c:v>101</c:v>
                </c:pt>
                <c:pt idx="40">
                  <c:v>101</c:v>
                </c:pt>
                <c:pt idx="41">
                  <c:v>101</c:v>
                </c:pt>
                <c:pt idx="42">
                  <c:v>101</c:v>
                </c:pt>
                <c:pt idx="43">
                  <c:v>101</c:v>
                </c:pt>
                <c:pt idx="44">
                  <c:v>101</c:v>
                </c:pt>
                <c:pt idx="45">
                  <c:v>101</c:v>
                </c:pt>
                <c:pt idx="46">
                  <c:v>101</c:v>
                </c:pt>
                <c:pt idx="47">
                  <c:v>101</c:v>
                </c:pt>
                <c:pt idx="48">
                  <c:v>101</c:v>
                </c:pt>
                <c:pt idx="49">
                  <c:v>101</c:v>
                </c:pt>
                <c:pt idx="50">
                  <c:v>101</c:v>
                </c:pt>
                <c:pt idx="51">
                  <c:v>101</c:v>
                </c:pt>
                <c:pt idx="52">
                  <c:v>101</c:v>
                </c:pt>
                <c:pt idx="53">
                  <c:v>101</c:v>
                </c:pt>
                <c:pt idx="54">
                  <c:v>101</c:v>
                </c:pt>
                <c:pt idx="55">
                  <c:v>101</c:v>
                </c:pt>
                <c:pt idx="56">
                  <c:v>101</c:v>
                </c:pt>
                <c:pt idx="57">
                  <c:v>101</c:v>
                </c:pt>
                <c:pt idx="58">
                  <c:v>101</c:v>
                </c:pt>
                <c:pt idx="59">
                  <c:v>101</c:v>
                </c:pt>
                <c:pt idx="60">
                  <c:v>1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749-4C65-9BBF-29A2D4920F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07982752"/>
        <c:axId val="2107036784"/>
      </c:lineChart>
      <c:catAx>
        <c:axId val="2107982752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5400000" spcFirstLastPara="1" vertOverflow="ellipsis" wrap="square" anchor="ctr" anchorCtr="1"/>
          <a:lstStyle/>
          <a:p>
            <a:pPr>
              <a:defRPr lang="sv-SE" sz="1200" b="0" i="0" u="none" strike="noStrike" kern="1200" baseline="0" noProof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2107036784"/>
        <c:crosses val="autoZero"/>
        <c:auto val="1"/>
        <c:lblAlgn val="ctr"/>
        <c:lblOffset val="100"/>
        <c:tickLblSkip val="4"/>
        <c:noMultiLvlLbl val="0"/>
      </c:catAx>
      <c:valAx>
        <c:axId val="2107036784"/>
        <c:scaling>
          <c:orientation val="minMax"/>
          <c:min val="50"/>
        </c:scaling>
        <c:delete val="0"/>
        <c:axPos val="l"/>
        <c:numFmt formatCode="0" sourceLinked="0"/>
        <c:majorTickMark val="in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sv-SE" sz="1200" b="0" i="0" u="none" strike="noStrike" kern="1200" baseline="0" noProof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21079827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ayout>
        <c:manualLayout>
          <c:xMode val="edge"/>
          <c:yMode val="edge"/>
          <c:x val="0.32381030008026873"/>
          <c:y val="0.55037901234567899"/>
          <c:w val="0.35899226508539506"/>
          <c:h val="0.1092763525486502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sv-SE" sz="1200" b="0" i="0" u="none" strike="noStrike" kern="1200" baseline="0" noProof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lang="sv-SE" sz="1200" noProof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777777777777777"/>
          <c:y val="0"/>
          <c:w val="0.62597025371828519"/>
          <c:h val="1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tx2"/>
              </a:solidFill>
              <a:ln>
                <a:solidFill>
                  <a:schemeClr val="tx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105-4B1F-8806-102E41E8FDC3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105-4B1F-8806-102E41E8FDC3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>
                <a:solidFill>
                  <a:schemeClr val="accent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105-4B1F-8806-102E41E8FDC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105-4B1F-8806-102E41E8FDC3}"/>
              </c:ext>
            </c:extLst>
          </c:dPt>
          <c:dPt>
            <c:idx val="4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105-4B1F-8806-102E41E8FDC3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4105-4B1F-8806-102E41E8FDC3}"/>
              </c:ext>
            </c:extLst>
          </c:dPt>
          <c:dLbls>
            <c:dLbl>
              <c:idx val="0"/>
              <c:layout>
                <c:manualLayout>
                  <c:x val="0.20177734033245839"/>
                  <c:y val="9.7784562643955131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800" b="0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Galaxie Polaris Medium" panose="02000000000000000000" pitchFamily="50" charset="0"/>
                        <a:cs typeface="Arial" panose="020B0604020202020204" pitchFamily="34" charset="0"/>
                      </a:defRPr>
                    </a:pPr>
                    <a:fld id="{259C299D-183F-4184-AEB7-FF224AEB802D}" type="CELLRANGE">
                      <a:rPr lang="en-US"/>
                      <a:pPr>
                        <a:defRPr sz="8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CELLRANGE]</a:t>
                    </a:fld>
                    <a:endParaRPr lang="sv-S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Galaxie Polaris Medium" panose="02000000000000000000" pitchFamily="50" charset="0"/>
                      <a:cs typeface="Arial" panose="020B0604020202020204" pitchFamily="34" charset="0"/>
                    </a:defRPr>
                  </a:pPr>
                  <a:endParaRPr lang="sv-SE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4105-4B1F-8806-102E41E8FDC3}"/>
                </c:ext>
              </c:extLst>
            </c:dLbl>
            <c:dLbl>
              <c:idx val="1"/>
              <c:layout>
                <c:manualLayout>
                  <c:x val="0.11726421697287834"/>
                  <c:y val="0.1468084346599532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8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Galaxie Polaris Medium" panose="02000000000000000000" pitchFamily="50" charset="0"/>
                        <a:cs typeface="Arial" panose="020B0604020202020204" pitchFamily="34" charset="0"/>
                      </a:defRPr>
                    </a:pPr>
                    <a:fld id="{ABF0C681-7FC9-4C58-948D-5DBC6853E272}" type="CELLRANGE">
                      <a:rPr lang="en-US"/>
                      <a:pPr>
                        <a:defRPr sz="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CELLRANGE]</a:t>
                    </a:fld>
                    <a:endParaRPr lang="sv-S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Galaxie Polaris Medium" panose="02000000000000000000" pitchFamily="50" charset="0"/>
                      <a:cs typeface="Arial" panose="020B0604020202020204" pitchFamily="34" charset="0"/>
                    </a:defRPr>
                  </a:pPr>
                  <a:endParaRPr lang="sv-SE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4105-4B1F-8806-102E41E8FDC3}"/>
                </c:ext>
              </c:extLst>
            </c:dLbl>
            <c:dLbl>
              <c:idx val="2"/>
              <c:layout>
                <c:manualLayout>
                  <c:x val="-1.0185067526415994E-16"/>
                  <c:y val="6.8405377899191169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800" b="0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Galaxie Polaris Medium" panose="02000000000000000000" pitchFamily="50" charset="0"/>
                        <a:cs typeface="Arial" panose="020B0604020202020204" pitchFamily="34" charset="0"/>
                      </a:defRPr>
                    </a:pPr>
                    <a:fld id="{983B1D11-8292-4AA0-B114-887DCEF17F4D}" type="CELLRANGE">
                      <a:rPr lang="en-US"/>
                      <a:pPr>
                        <a:defRPr sz="8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CELLRANGE]</a:t>
                    </a:fld>
                    <a:endParaRPr lang="sv-S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Galaxie Polaris Medium" panose="02000000000000000000" pitchFamily="50" charset="0"/>
                      <a:cs typeface="Arial" panose="020B0604020202020204" pitchFamily="34" charset="0"/>
                    </a:defRPr>
                  </a:pPr>
                  <a:endParaRPr lang="sv-SE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4105-4B1F-8806-102E41E8FDC3}"/>
                </c:ext>
              </c:extLst>
            </c:dLbl>
            <c:dLbl>
              <c:idx val="3"/>
              <c:layout>
                <c:manualLayout>
                  <c:x val="-0.11735520559930009"/>
                  <c:y val="0.1468084346599532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8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Galaxie Polaris Medium" panose="02000000000000000000" pitchFamily="50" charset="0"/>
                        <a:cs typeface="Arial" panose="020B0604020202020204" pitchFamily="34" charset="0"/>
                      </a:defRPr>
                    </a:pPr>
                    <a:fld id="{31984A72-5DBC-47FA-920D-7ACBB0D045EF}" type="CELLRANGE">
                      <a:rPr lang="en-US"/>
                      <a:pPr>
                        <a:defRPr sz="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CELLRANGE]</a:t>
                    </a:fld>
                    <a:endParaRPr lang="sv-S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Galaxie Polaris Medium" panose="02000000000000000000" pitchFamily="50" charset="0"/>
                      <a:cs typeface="Arial" panose="020B0604020202020204" pitchFamily="34" charset="0"/>
                    </a:defRPr>
                  </a:pPr>
                  <a:endParaRPr lang="sv-SE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4105-4B1F-8806-102E41E8FDC3}"/>
                </c:ext>
              </c:extLst>
            </c:dLbl>
            <c:dLbl>
              <c:idx val="4"/>
              <c:layout>
                <c:manualLayout>
                  <c:x val="-0.16598647799920738"/>
                  <c:y val="9.7784489267608674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800" b="0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Galaxie Polaris Medium" panose="02000000000000000000" pitchFamily="50" charset="0"/>
                        <a:cs typeface="Arial" panose="020B0604020202020204" pitchFamily="34" charset="0"/>
                      </a:defRPr>
                    </a:pPr>
                    <a:fld id="{5EF609EB-91C2-4926-B0C0-45959A500624}" type="CELLRANGE">
                      <a:rPr lang="en-US"/>
                      <a:pPr>
                        <a:defRPr sz="8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CELLRANGE]</a:t>
                    </a:fld>
                    <a:endParaRPr lang="sv-S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Galaxie Polaris Medium" panose="02000000000000000000" pitchFamily="50" charset="0"/>
                      <a:cs typeface="Arial" panose="020B0604020202020204" pitchFamily="34" charset="0"/>
                    </a:defRPr>
                  </a:pPr>
                  <a:endParaRPr lang="sv-SE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4105-4B1F-8806-102E41E8FDC3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sv-SE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4105-4B1F-8806-102E41E8FDC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Galaxie Polaris Medium" panose="02000000000000000000" pitchFamily="50" charset="0"/>
                    <a:cs typeface="Arial" panose="020B0604020202020204" pitchFamily="34" charset="0"/>
                  </a:defRPr>
                </a:pPr>
                <a:endParaRPr lang="sv-SE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</c:ext>
            </c:extLst>
          </c:dLbls>
          <c:cat>
            <c:strRef>
              <c:f>'KI mätare'!$A$1:$A$6</c:f>
              <c:strCache>
                <c:ptCount val="5"/>
                <c:pt idx="0">
                  <c:v>≤90</c:v>
                </c:pt>
                <c:pt idx="1">
                  <c:v>&gt;90-99</c:v>
                </c:pt>
                <c:pt idx="2">
                  <c:v>&gt;99-101</c:v>
                </c:pt>
                <c:pt idx="3">
                  <c:v>&gt;101-110</c:v>
                </c:pt>
                <c:pt idx="4">
                  <c:v>&gt;110</c:v>
                </c:pt>
              </c:strCache>
            </c:strRef>
          </c:cat>
          <c:val>
            <c:numRef>
              <c:f>'KI mätare'!$B$1:$B$6</c:f>
              <c:numCache>
                <c:formatCode>General</c:formatCode>
                <c:ptCount val="6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  <c:pt idx="5">
                  <c:v>10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KI mätare'!$C$1:$C$5</c15:f>
                <c15:dlblRangeCache>
                  <c:ptCount val="5"/>
                  <c:pt idx="0">
                    <c:v>Lågkonjunktur</c:v>
                  </c:pt>
                  <c:pt idx="1">
                    <c:v>Normalsvag</c:v>
                  </c:pt>
                  <c:pt idx="2">
                    <c:v>Normal</c:v>
                  </c:pt>
                  <c:pt idx="3">
                    <c:v>Normalstark</c:v>
                  </c:pt>
                  <c:pt idx="4">
                    <c:v>Högkonjunktur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C-4105-4B1F-8806-102E41E8FD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27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Galaxie Polaris Medium" panose="02000000000000000000" pitchFamily="50" charset="0"/>
          <a:ea typeface="Galaxie Polaris Medium" panose="02000000000000000000" pitchFamily="50" charset="0"/>
          <a:cs typeface="Galaxie Polaris Medium" panose="02000000000000000000" pitchFamily="50" charset="0"/>
        </a:defRPr>
      </a:pPr>
      <a:endParaRPr lang="sv-SE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777777777777777"/>
          <c:y val="0"/>
          <c:w val="0.62597025371828519"/>
          <c:h val="1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tx2"/>
              </a:solidFill>
              <a:ln>
                <a:solidFill>
                  <a:schemeClr val="tx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237-41F0-B3CD-0B54CB44F112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237-41F0-B3CD-0B54CB44F112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>
                <a:solidFill>
                  <a:schemeClr val="accent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237-41F0-B3CD-0B54CB44F11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237-41F0-B3CD-0B54CB44F112}"/>
              </c:ext>
            </c:extLst>
          </c:dPt>
          <c:dPt>
            <c:idx val="4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237-41F0-B3CD-0B54CB44F112}"/>
              </c:ext>
            </c:extLst>
          </c:dPt>
          <c:dPt>
            <c:idx val="5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237-41F0-B3CD-0B54CB44F112}"/>
              </c:ext>
            </c:extLst>
          </c:dPt>
          <c:dLbls>
            <c:dLbl>
              <c:idx val="0"/>
              <c:layout>
                <c:manualLayout>
                  <c:x val="0.20177734033245839"/>
                  <c:y val="9.7784562643955131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800" b="0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Galaxie Polaris Medium" panose="02000000000000000000" pitchFamily="50" charset="0"/>
                        <a:cs typeface="Arial" panose="020B0604020202020204" pitchFamily="34" charset="0"/>
                      </a:defRPr>
                    </a:pPr>
                    <a:fld id="{00A2D2AB-47BC-4B8B-B4F3-FC45FEE2E9F0}" type="CELLRANGE">
                      <a:rPr lang="en-US"/>
                      <a:pPr>
                        <a:defRPr sz="8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CELLRANGE]</a:t>
                    </a:fld>
                    <a:endParaRPr lang="sv-S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Galaxie Polaris Medium" panose="02000000000000000000" pitchFamily="50" charset="0"/>
                      <a:cs typeface="Arial" panose="020B0604020202020204" pitchFamily="34" charset="0"/>
                    </a:defRPr>
                  </a:pPr>
                  <a:endParaRPr lang="sv-SE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3237-41F0-B3CD-0B54CB44F112}"/>
                </c:ext>
              </c:extLst>
            </c:dLbl>
            <c:dLbl>
              <c:idx val="1"/>
              <c:layout>
                <c:manualLayout>
                  <c:x val="0.11726421697287834"/>
                  <c:y val="0.1468084346599532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8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Galaxie Polaris Medium" panose="02000000000000000000" pitchFamily="50" charset="0"/>
                        <a:cs typeface="Arial" panose="020B0604020202020204" pitchFamily="34" charset="0"/>
                      </a:defRPr>
                    </a:pPr>
                    <a:fld id="{3EA9E88C-2555-4CF2-A563-94953CF368CC}" type="CELLRANGE">
                      <a:rPr lang="en-US"/>
                      <a:pPr>
                        <a:defRPr sz="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CELLRANGE]</a:t>
                    </a:fld>
                    <a:endParaRPr lang="sv-S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Galaxie Polaris Medium" panose="02000000000000000000" pitchFamily="50" charset="0"/>
                      <a:cs typeface="Arial" panose="020B0604020202020204" pitchFamily="34" charset="0"/>
                    </a:defRPr>
                  </a:pPr>
                  <a:endParaRPr lang="sv-SE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3237-41F0-B3CD-0B54CB44F112}"/>
                </c:ext>
              </c:extLst>
            </c:dLbl>
            <c:dLbl>
              <c:idx val="2"/>
              <c:layout>
                <c:manualLayout>
                  <c:x val="-1.0185067526415994E-16"/>
                  <c:y val="6.8405377899191169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800" b="0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Galaxie Polaris Medium" panose="02000000000000000000" pitchFamily="50" charset="0"/>
                        <a:cs typeface="Arial" panose="020B0604020202020204" pitchFamily="34" charset="0"/>
                      </a:defRPr>
                    </a:pPr>
                    <a:fld id="{DC27EB3C-22AD-4E6C-B193-940BF095E35A}" type="CELLRANGE">
                      <a:rPr lang="en-US"/>
                      <a:pPr>
                        <a:defRPr sz="8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CELLRANGE]</a:t>
                    </a:fld>
                    <a:endParaRPr lang="sv-S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Galaxie Polaris Medium" panose="02000000000000000000" pitchFamily="50" charset="0"/>
                      <a:cs typeface="Arial" panose="020B0604020202020204" pitchFamily="34" charset="0"/>
                    </a:defRPr>
                  </a:pPr>
                  <a:endParaRPr lang="sv-SE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3237-41F0-B3CD-0B54CB44F112}"/>
                </c:ext>
              </c:extLst>
            </c:dLbl>
            <c:dLbl>
              <c:idx val="3"/>
              <c:layout>
                <c:manualLayout>
                  <c:x val="-0.11735520559930009"/>
                  <c:y val="0.1468084346599532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800" b="0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Galaxie Polaris Medium" panose="02000000000000000000" pitchFamily="50" charset="0"/>
                        <a:cs typeface="Arial" panose="020B0604020202020204" pitchFamily="34" charset="0"/>
                      </a:defRPr>
                    </a:pPr>
                    <a:fld id="{1717808F-EF79-4153-AB31-2917818459EB}" type="CELLRANGE">
                      <a:rPr lang="en-US"/>
                      <a:pPr>
                        <a:defRPr sz="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CELLRANGE]</a:t>
                    </a:fld>
                    <a:endParaRPr lang="sv-S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8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Galaxie Polaris Medium" panose="02000000000000000000" pitchFamily="50" charset="0"/>
                      <a:cs typeface="Arial" panose="020B0604020202020204" pitchFamily="34" charset="0"/>
                    </a:defRPr>
                  </a:pPr>
                  <a:endParaRPr lang="sv-SE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3237-41F0-B3CD-0B54CB44F112}"/>
                </c:ext>
              </c:extLst>
            </c:dLbl>
            <c:dLbl>
              <c:idx val="4"/>
              <c:layout>
                <c:manualLayout>
                  <c:x val="-0.16598647799920738"/>
                  <c:y val="9.7784489267608674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800" b="0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Galaxie Polaris Medium" panose="02000000000000000000" pitchFamily="50" charset="0"/>
                        <a:cs typeface="Arial" panose="020B0604020202020204" pitchFamily="34" charset="0"/>
                      </a:defRPr>
                    </a:pPr>
                    <a:fld id="{AD2114A7-666D-474B-89B5-EC5E94230936}" type="CELLRANGE">
                      <a:rPr lang="en-US"/>
                      <a:pPr>
                        <a:defRPr sz="8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pPr>
                      <a:t>[CELLRANGE]</a:t>
                    </a:fld>
                    <a:endParaRPr lang="sv-S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Galaxie Polaris Medium" panose="02000000000000000000" pitchFamily="50" charset="0"/>
                      <a:cs typeface="Arial" panose="020B0604020202020204" pitchFamily="34" charset="0"/>
                    </a:defRPr>
                  </a:pPr>
                  <a:endParaRPr lang="sv-SE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3237-41F0-B3CD-0B54CB44F112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sv-SE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3237-41F0-B3CD-0B54CB44F11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Galaxie Polaris Medium" panose="02000000000000000000" pitchFamily="50" charset="0"/>
                    <a:cs typeface="Arial" panose="020B0604020202020204" pitchFamily="34" charset="0"/>
                  </a:defRPr>
                </a:pPr>
                <a:endParaRPr lang="sv-SE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</c:ext>
            </c:extLst>
          </c:dLbls>
          <c:cat>
            <c:strRef>
              <c:f>'KI mätare'!$A$1:$A$6</c:f>
              <c:strCache>
                <c:ptCount val="5"/>
                <c:pt idx="0">
                  <c:v>≤90</c:v>
                </c:pt>
                <c:pt idx="1">
                  <c:v>&gt;90-99</c:v>
                </c:pt>
                <c:pt idx="2">
                  <c:v>&gt;99-101</c:v>
                </c:pt>
                <c:pt idx="3">
                  <c:v>&gt;101-110</c:v>
                </c:pt>
                <c:pt idx="4">
                  <c:v>&gt;110</c:v>
                </c:pt>
              </c:strCache>
            </c:strRef>
          </c:cat>
          <c:val>
            <c:numRef>
              <c:f>'KI mätare'!$B$1:$B$6</c:f>
              <c:numCache>
                <c:formatCode>General</c:formatCode>
                <c:ptCount val="6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  <c:pt idx="5">
                  <c:v>10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KI mätare'!$C$1:$C$5</c15:f>
                <c15:dlblRangeCache>
                  <c:ptCount val="5"/>
                  <c:pt idx="0">
                    <c:v>Lågkonjunktur</c:v>
                  </c:pt>
                  <c:pt idx="1">
                    <c:v>Normalsvag</c:v>
                  </c:pt>
                  <c:pt idx="2">
                    <c:v>Normal</c:v>
                  </c:pt>
                  <c:pt idx="3">
                    <c:v>Normalstark</c:v>
                  </c:pt>
                  <c:pt idx="4">
                    <c:v>Högkonjunktur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C-3237-41F0-B3CD-0B54CB44F1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27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Galaxie Polaris Medium" panose="02000000000000000000" pitchFamily="50" charset="0"/>
          <a:ea typeface="Galaxie Polaris Medium" panose="02000000000000000000" pitchFamily="50" charset="0"/>
          <a:cs typeface="Galaxie Polaris Medium" panose="02000000000000000000" pitchFamily="50" charset="0"/>
        </a:defRPr>
      </a:pPr>
      <a:endParaRPr lang="sv-SE"/>
    </a:p>
  </c:txPr>
  <c:externalData r:id="rId3">
    <c:autoUpdate val="0"/>
  </c:externalData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234065879185821E-2"/>
          <c:y val="8.5791873315279599E-2"/>
          <c:w val="0.92873737505856169"/>
          <c:h val="0.62147160913861144"/>
        </c:manualLayout>
      </c:layout>
      <c:areaChart>
        <c:grouping val="standard"/>
        <c:varyColors val="0"/>
        <c:ser>
          <c:idx val="2"/>
          <c:order val="2"/>
          <c:tx>
            <c:v>  Växande</c:v>
          </c:tx>
          <c:spPr>
            <a:solidFill>
              <a:schemeClr val="accent4"/>
            </a:solidFill>
            <a:ln w="25400">
              <a:noFill/>
            </a:ln>
            <a:effectLst/>
          </c:spPr>
          <c:cat>
            <c:strRef>
              <c:f>Konj!$A$28:$A$92</c:f>
              <c:strCache>
                <c:ptCount val="65"/>
                <c:pt idx="0">
                  <c:v>2006 kvartal 1</c:v>
                </c:pt>
                <c:pt idx="1">
                  <c:v>2006 kvartal 2</c:v>
                </c:pt>
                <c:pt idx="2">
                  <c:v>2006 kvartal 3</c:v>
                </c:pt>
                <c:pt idx="3">
                  <c:v>2006 kvartal 4</c:v>
                </c:pt>
                <c:pt idx="4">
                  <c:v>2007 kvartal 1</c:v>
                </c:pt>
                <c:pt idx="5">
                  <c:v>2007 kvartal 2</c:v>
                </c:pt>
                <c:pt idx="6">
                  <c:v>2007 kvartal 3</c:v>
                </c:pt>
                <c:pt idx="7">
                  <c:v>2007 kvartal 4</c:v>
                </c:pt>
                <c:pt idx="8">
                  <c:v>2008 kvartal 1</c:v>
                </c:pt>
                <c:pt idx="9">
                  <c:v>2008 kvartal 2</c:v>
                </c:pt>
                <c:pt idx="10">
                  <c:v>2008 kvartal 3</c:v>
                </c:pt>
                <c:pt idx="11">
                  <c:v>2008 kvartal 4</c:v>
                </c:pt>
                <c:pt idx="12">
                  <c:v>2009 kvartal 1</c:v>
                </c:pt>
                <c:pt idx="13">
                  <c:v>2009 kvartal 2</c:v>
                </c:pt>
                <c:pt idx="14">
                  <c:v>2009 kvartal 3</c:v>
                </c:pt>
                <c:pt idx="15">
                  <c:v>2009 kvartal 4</c:v>
                </c:pt>
                <c:pt idx="16">
                  <c:v>2010 kvartal 1</c:v>
                </c:pt>
                <c:pt idx="17">
                  <c:v>2010 kvartal 2</c:v>
                </c:pt>
                <c:pt idx="18">
                  <c:v>2010 kvartal 3</c:v>
                </c:pt>
                <c:pt idx="19">
                  <c:v>2010 kvartal 4</c:v>
                </c:pt>
                <c:pt idx="20">
                  <c:v>2011 kvartal 1</c:v>
                </c:pt>
                <c:pt idx="21">
                  <c:v>2011 kvartal 2</c:v>
                </c:pt>
                <c:pt idx="22">
                  <c:v>2011 kvartal 3</c:v>
                </c:pt>
                <c:pt idx="23">
                  <c:v>2011 kvartal 4</c:v>
                </c:pt>
                <c:pt idx="24">
                  <c:v>2012 kvartal 1</c:v>
                </c:pt>
                <c:pt idx="25">
                  <c:v>2012 kvartal 2</c:v>
                </c:pt>
                <c:pt idx="26">
                  <c:v>2012 kvartal 3</c:v>
                </c:pt>
                <c:pt idx="27">
                  <c:v>2012 kvartal 4</c:v>
                </c:pt>
                <c:pt idx="28">
                  <c:v>2013 kvartal 1</c:v>
                </c:pt>
                <c:pt idx="29">
                  <c:v>2013 kvartal 2</c:v>
                </c:pt>
                <c:pt idx="30">
                  <c:v>2013 kvartal 3</c:v>
                </c:pt>
                <c:pt idx="31">
                  <c:v>2013 kvartal 4</c:v>
                </c:pt>
                <c:pt idx="32">
                  <c:v>2014 kvartal 1</c:v>
                </c:pt>
                <c:pt idx="33">
                  <c:v>2014 kvartal 2</c:v>
                </c:pt>
                <c:pt idx="34">
                  <c:v>2014 kvartal 3</c:v>
                </c:pt>
                <c:pt idx="35">
                  <c:v>2014 kvartal 4</c:v>
                </c:pt>
                <c:pt idx="36">
                  <c:v>2015 kvartal 1</c:v>
                </c:pt>
                <c:pt idx="37">
                  <c:v>2015 kvartal 2</c:v>
                </c:pt>
                <c:pt idx="38">
                  <c:v>2015 kvartal 3</c:v>
                </c:pt>
                <c:pt idx="39">
                  <c:v>2015 kvartal 4</c:v>
                </c:pt>
                <c:pt idx="40">
                  <c:v>2016 kvartal 1</c:v>
                </c:pt>
                <c:pt idx="41">
                  <c:v>2016 kvartal 2</c:v>
                </c:pt>
                <c:pt idx="42">
                  <c:v>2016 kvartal 3</c:v>
                </c:pt>
                <c:pt idx="43">
                  <c:v>2016 kvartal 4</c:v>
                </c:pt>
                <c:pt idx="44">
                  <c:v>2017 kvartal 1</c:v>
                </c:pt>
                <c:pt idx="45">
                  <c:v>2017 kvartal 2</c:v>
                </c:pt>
                <c:pt idx="46">
                  <c:v>2017 kvartal 3</c:v>
                </c:pt>
                <c:pt idx="47">
                  <c:v>2017 kvartal 4</c:v>
                </c:pt>
                <c:pt idx="48">
                  <c:v>2018 kvartal 1</c:v>
                </c:pt>
                <c:pt idx="49">
                  <c:v>2018 kvartal 2</c:v>
                </c:pt>
                <c:pt idx="50">
                  <c:v>2018 kvartal 3</c:v>
                </c:pt>
                <c:pt idx="51">
                  <c:v>2018 kvartal 4</c:v>
                </c:pt>
                <c:pt idx="52">
                  <c:v>2019 kvartal 1</c:v>
                </c:pt>
                <c:pt idx="53">
                  <c:v>2019 kvartal 2</c:v>
                </c:pt>
                <c:pt idx="54">
                  <c:v>2019 kvartal 3</c:v>
                </c:pt>
                <c:pt idx="55">
                  <c:v>2019 kvartal 4</c:v>
                </c:pt>
                <c:pt idx="56">
                  <c:v>2020 kvartal 1</c:v>
                </c:pt>
                <c:pt idx="57">
                  <c:v>2020 kvartal 2</c:v>
                </c:pt>
                <c:pt idx="58">
                  <c:v>2020 kvartal 3</c:v>
                </c:pt>
                <c:pt idx="59">
                  <c:v>2020 kvartal 4</c:v>
                </c:pt>
                <c:pt idx="60">
                  <c:v>2021 kvartal 1</c:v>
                </c:pt>
                <c:pt idx="61">
                  <c:v>2021 kvartal 2</c:v>
                </c:pt>
                <c:pt idx="62">
                  <c:v>2021 kvartal 3</c:v>
                </c:pt>
                <c:pt idx="63">
                  <c:v>2021 kvartal 4</c:v>
                </c:pt>
                <c:pt idx="64">
                  <c:v>2022 kvartal 1P</c:v>
                </c:pt>
              </c:strCache>
            </c:strRef>
          </c:cat>
          <c:val>
            <c:numRef>
              <c:f>Konj!$E$28:$E$92</c:f>
              <c:numCache>
                <c:formatCode>General</c:formatCode>
                <c:ptCount val="65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B22-48D2-AC2E-ED71721F7136}"/>
            </c:ext>
          </c:extLst>
        </c:ser>
        <c:ser>
          <c:idx val="3"/>
          <c:order val="3"/>
          <c:tx>
            <c:v>  Krympande</c:v>
          </c:tx>
          <c:spPr>
            <a:solidFill>
              <a:schemeClr val="accent1"/>
            </a:solidFill>
            <a:ln w="25400">
              <a:noFill/>
            </a:ln>
            <a:effectLst/>
          </c:spPr>
          <c:cat>
            <c:strRef>
              <c:f>Konj!$A$28:$A$92</c:f>
              <c:strCache>
                <c:ptCount val="65"/>
                <c:pt idx="0">
                  <c:v>2006 kvartal 1</c:v>
                </c:pt>
                <c:pt idx="1">
                  <c:v>2006 kvartal 2</c:v>
                </c:pt>
                <c:pt idx="2">
                  <c:v>2006 kvartal 3</c:v>
                </c:pt>
                <c:pt idx="3">
                  <c:v>2006 kvartal 4</c:v>
                </c:pt>
                <c:pt idx="4">
                  <c:v>2007 kvartal 1</c:v>
                </c:pt>
                <c:pt idx="5">
                  <c:v>2007 kvartal 2</c:v>
                </c:pt>
                <c:pt idx="6">
                  <c:v>2007 kvartal 3</c:v>
                </c:pt>
                <c:pt idx="7">
                  <c:v>2007 kvartal 4</c:v>
                </c:pt>
                <c:pt idx="8">
                  <c:v>2008 kvartal 1</c:v>
                </c:pt>
                <c:pt idx="9">
                  <c:v>2008 kvartal 2</c:v>
                </c:pt>
                <c:pt idx="10">
                  <c:v>2008 kvartal 3</c:v>
                </c:pt>
                <c:pt idx="11">
                  <c:v>2008 kvartal 4</c:v>
                </c:pt>
                <c:pt idx="12">
                  <c:v>2009 kvartal 1</c:v>
                </c:pt>
                <c:pt idx="13">
                  <c:v>2009 kvartal 2</c:v>
                </c:pt>
                <c:pt idx="14">
                  <c:v>2009 kvartal 3</c:v>
                </c:pt>
                <c:pt idx="15">
                  <c:v>2009 kvartal 4</c:v>
                </c:pt>
                <c:pt idx="16">
                  <c:v>2010 kvartal 1</c:v>
                </c:pt>
                <c:pt idx="17">
                  <c:v>2010 kvartal 2</c:v>
                </c:pt>
                <c:pt idx="18">
                  <c:v>2010 kvartal 3</c:v>
                </c:pt>
                <c:pt idx="19">
                  <c:v>2010 kvartal 4</c:v>
                </c:pt>
                <c:pt idx="20">
                  <c:v>2011 kvartal 1</c:v>
                </c:pt>
                <c:pt idx="21">
                  <c:v>2011 kvartal 2</c:v>
                </c:pt>
                <c:pt idx="22">
                  <c:v>2011 kvartal 3</c:v>
                </c:pt>
                <c:pt idx="23">
                  <c:v>2011 kvartal 4</c:v>
                </c:pt>
                <c:pt idx="24">
                  <c:v>2012 kvartal 1</c:v>
                </c:pt>
                <c:pt idx="25">
                  <c:v>2012 kvartal 2</c:v>
                </c:pt>
                <c:pt idx="26">
                  <c:v>2012 kvartal 3</c:v>
                </c:pt>
                <c:pt idx="27">
                  <c:v>2012 kvartal 4</c:v>
                </c:pt>
                <c:pt idx="28">
                  <c:v>2013 kvartal 1</c:v>
                </c:pt>
                <c:pt idx="29">
                  <c:v>2013 kvartal 2</c:v>
                </c:pt>
                <c:pt idx="30">
                  <c:v>2013 kvartal 3</c:v>
                </c:pt>
                <c:pt idx="31">
                  <c:v>2013 kvartal 4</c:v>
                </c:pt>
                <c:pt idx="32">
                  <c:v>2014 kvartal 1</c:v>
                </c:pt>
                <c:pt idx="33">
                  <c:v>2014 kvartal 2</c:v>
                </c:pt>
                <c:pt idx="34">
                  <c:v>2014 kvartal 3</c:v>
                </c:pt>
                <c:pt idx="35">
                  <c:v>2014 kvartal 4</c:v>
                </c:pt>
                <c:pt idx="36">
                  <c:v>2015 kvartal 1</c:v>
                </c:pt>
                <c:pt idx="37">
                  <c:v>2015 kvartal 2</c:v>
                </c:pt>
                <c:pt idx="38">
                  <c:v>2015 kvartal 3</c:v>
                </c:pt>
                <c:pt idx="39">
                  <c:v>2015 kvartal 4</c:v>
                </c:pt>
                <c:pt idx="40">
                  <c:v>2016 kvartal 1</c:v>
                </c:pt>
                <c:pt idx="41">
                  <c:v>2016 kvartal 2</c:v>
                </c:pt>
                <c:pt idx="42">
                  <c:v>2016 kvartal 3</c:v>
                </c:pt>
                <c:pt idx="43">
                  <c:v>2016 kvartal 4</c:v>
                </c:pt>
                <c:pt idx="44">
                  <c:v>2017 kvartal 1</c:v>
                </c:pt>
                <c:pt idx="45">
                  <c:v>2017 kvartal 2</c:v>
                </c:pt>
                <c:pt idx="46">
                  <c:v>2017 kvartal 3</c:v>
                </c:pt>
                <c:pt idx="47">
                  <c:v>2017 kvartal 4</c:v>
                </c:pt>
                <c:pt idx="48">
                  <c:v>2018 kvartal 1</c:v>
                </c:pt>
                <c:pt idx="49">
                  <c:v>2018 kvartal 2</c:v>
                </c:pt>
                <c:pt idx="50">
                  <c:v>2018 kvartal 3</c:v>
                </c:pt>
                <c:pt idx="51">
                  <c:v>2018 kvartal 4</c:v>
                </c:pt>
                <c:pt idx="52">
                  <c:v>2019 kvartal 1</c:v>
                </c:pt>
                <c:pt idx="53">
                  <c:v>2019 kvartal 2</c:v>
                </c:pt>
                <c:pt idx="54">
                  <c:v>2019 kvartal 3</c:v>
                </c:pt>
                <c:pt idx="55">
                  <c:v>2019 kvartal 4</c:v>
                </c:pt>
                <c:pt idx="56">
                  <c:v>2020 kvartal 1</c:v>
                </c:pt>
                <c:pt idx="57">
                  <c:v>2020 kvartal 2</c:v>
                </c:pt>
                <c:pt idx="58">
                  <c:v>2020 kvartal 3</c:v>
                </c:pt>
                <c:pt idx="59">
                  <c:v>2020 kvartal 4</c:v>
                </c:pt>
                <c:pt idx="60">
                  <c:v>2021 kvartal 1</c:v>
                </c:pt>
                <c:pt idx="61">
                  <c:v>2021 kvartal 2</c:v>
                </c:pt>
                <c:pt idx="62">
                  <c:v>2021 kvartal 3</c:v>
                </c:pt>
                <c:pt idx="63">
                  <c:v>2021 kvartal 4</c:v>
                </c:pt>
                <c:pt idx="64">
                  <c:v>2022 kvartal 1P</c:v>
                </c:pt>
              </c:strCache>
            </c:strRef>
          </c:cat>
          <c:val>
            <c:numRef>
              <c:f>Konj!$F$28:$F$92</c:f>
              <c:numCache>
                <c:formatCode>General</c:formatCode>
                <c:ptCount val="65"/>
                <c:pt idx="0">
                  <c:v>-100</c:v>
                </c:pt>
                <c:pt idx="1">
                  <c:v>-100</c:v>
                </c:pt>
                <c:pt idx="2">
                  <c:v>-100</c:v>
                </c:pt>
                <c:pt idx="3">
                  <c:v>-100</c:v>
                </c:pt>
                <c:pt idx="4">
                  <c:v>-100</c:v>
                </c:pt>
                <c:pt idx="5">
                  <c:v>-100</c:v>
                </c:pt>
                <c:pt idx="6">
                  <c:v>-100</c:v>
                </c:pt>
                <c:pt idx="7">
                  <c:v>-100</c:v>
                </c:pt>
                <c:pt idx="8">
                  <c:v>-100</c:v>
                </c:pt>
                <c:pt idx="9">
                  <c:v>-100</c:v>
                </c:pt>
                <c:pt idx="10">
                  <c:v>-100</c:v>
                </c:pt>
                <c:pt idx="11">
                  <c:v>-100</c:v>
                </c:pt>
                <c:pt idx="12">
                  <c:v>-100</c:v>
                </c:pt>
                <c:pt idx="13">
                  <c:v>-100</c:v>
                </c:pt>
                <c:pt idx="14">
                  <c:v>-100</c:v>
                </c:pt>
                <c:pt idx="15">
                  <c:v>-100</c:v>
                </c:pt>
                <c:pt idx="16">
                  <c:v>-100</c:v>
                </c:pt>
                <c:pt idx="17">
                  <c:v>-100</c:v>
                </c:pt>
                <c:pt idx="18">
                  <c:v>-100</c:v>
                </c:pt>
                <c:pt idx="19">
                  <c:v>-100</c:v>
                </c:pt>
                <c:pt idx="20">
                  <c:v>-100</c:v>
                </c:pt>
                <c:pt idx="21">
                  <c:v>-100</c:v>
                </c:pt>
                <c:pt idx="22">
                  <c:v>-100</c:v>
                </c:pt>
                <c:pt idx="23">
                  <c:v>-100</c:v>
                </c:pt>
                <c:pt idx="24">
                  <c:v>-100</c:v>
                </c:pt>
                <c:pt idx="25">
                  <c:v>-100</c:v>
                </c:pt>
                <c:pt idx="26">
                  <c:v>-100</c:v>
                </c:pt>
                <c:pt idx="27">
                  <c:v>-100</c:v>
                </c:pt>
                <c:pt idx="28">
                  <c:v>-100</c:v>
                </c:pt>
                <c:pt idx="29">
                  <c:v>-100</c:v>
                </c:pt>
                <c:pt idx="30">
                  <c:v>-100</c:v>
                </c:pt>
                <c:pt idx="31">
                  <c:v>-100</c:v>
                </c:pt>
                <c:pt idx="32">
                  <c:v>-100</c:v>
                </c:pt>
                <c:pt idx="33">
                  <c:v>-100</c:v>
                </c:pt>
                <c:pt idx="34">
                  <c:v>-100</c:v>
                </c:pt>
                <c:pt idx="35">
                  <c:v>-100</c:v>
                </c:pt>
                <c:pt idx="36">
                  <c:v>-100</c:v>
                </c:pt>
                <c:pt idx="37">
                  <c:v>-100</c:v>
                </c:pt>
                <c:pt idx="38">
                  <c:v>-100</c:v>
                </c:pt>
                <c:pt idx="39">
                  <c:v>-100</c:v>
                </c:pt>
                <c:pt idx="40">
                  <c:v>-100</c:v>
                </c:pt>
                <c:pt idx="41">
                  <c:v>-100</c:v>
                </c:pt>
                <c:pt idx="42">
                  <c:v>-100</c:v>
                </c:pt>
                <c:pt idx="43">
                  <c:v>-100</c:v>
                </c:pt>
                <c:pt idx="44">
                  <c:v>-100</c:v>
                </c:pt>
                <c:pt idx="45">
                  <c:v>-100</c:v>
                </c:pt>
                <c:pt idx="46">
                  <c:v>-100</c:v>
                </c:pt>
                <c:pt idx="47">
                  <c:v>-100</c:v>
                </c:pt>
                <c:pt idx="48">
                  <c:v>-100</c:v>
                </c:pt>
                <c:pt idx="49">
                  <c:v>-100</c:v>
                </c:pt>
                <c:pt idx="50">
                  <c:v>-100</c:v>
                </c:pt>
                <c:pt idx="51">
                  <c:v>-100</c:v>
                </c:pt>
                <c:pt idx="52">
                  <c:v>-100</c:v>
                </c:pt>
                <c:pt idx="53">
                  <c:v>-100</c:v>
                </c:pt>
                <c:pt idx="54">
                  <c:v>-100</c:v>
                </c:pt>
                <c:pt idx="55">
                  <c:v>-100</c:v>
                </c:pt>
                <c:pt idx="56">
                  <c:v>-100</c:v>
                </c:pt>
                <c:pt idx="57">
                  <c:v>-100</c:v>
                </c:pt>
                <c:pt idx="58">
                  <c:v>-100</c:v>
                </c:pt>
                <c:pt idx="59">
                  <c:v>-100</c:v>
                </c:pt>
                <c:pt idx="60">
                  <c:v>-100</c:v>
                </c:pt>
                <c:pt idx="61">
                  <c:v>-100</c:v>
                </c:pt>
                <c:pt idx="62">
                  <c:v>-100</c:v>
                </c:pt>
                <c:pt idx="63">
                  <c:v>-100</c:v>
                </c:pt>
                <c:pt idx="64">
                  <c:v>-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B22-48D2-AC2E-ED71721F71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34379568"/>
        <c:axId val="1634377488"/>
      </c:areaChart>
      <c:lineChart>
        <c:grouping val="standard"/>
        <c:varyColors val="0"/>
        <c:ser>
          <c:idx val="0"/>
          <c:order val="0"/>
          <c:tx>
            <c:v>  Tjänster</c:v>
          </c:tx>
          <c:spPr>
            <a:ln w="762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Pt>
            <c:idx val="64"/>
            <c:marker>
              <c:symbol val="none"/>
            </c:marker>
            <c:bubble3D val="0"/>
            <c:spPr>
              <a:ln w="76200" cap="rnd">
                <a:solidFill>
                  <a:schemeClr val="accent2"/>
                </a:solidFill>
                <a:prstDash val="sysDot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9B22-48D2-AC2E-ED71721F7136}"/>
              </c:ext>
            </c:extLst>
          </c:dPt>
          <c:cat>
            <c:strRef>
              <c:f>Konj!$A$28:$A$92</c:f>
              <c:strCache>
                <c:ptCount val="65"/>
                <c:pt idx="0">
                  <c:v>2006 kvartal 1</c:v>
                </c:pt>
                <c:pt idx="1">
                  <c:v>2006 kvartal 2</c:v>
                </c:pt>
                <c:pt idx="2">
                  <c:v>2006 kvartal 3</c:v>
                </c:pt>
                <c:pt idx="3">
                  <c:v>2006 kvartal 4</c:v>
                </c:pt>
                <c:pt idx="4">
                  <c:v>2007 kvartal 1</c:v>
                </c:pt>
                <c:pt idx="5">
                  <c:v>2007 kvartal 2</c:v>
                </c:pt>
                <c:pt idx="6">
                  <c:v>2007 kvartal 3</c:v>
                </c:pt>
                <c:pt idx="7">
                  <c:v>2007 kvartal 4</c:v>
                </c:pt>
                <c:pt idx="8">
                  <c:v>2008 kvartal 1</c:v>
                </c:pt>
                <c:pt idx="9">
                  <c:v>2008 kvartal 2</c:v>
                </c:pt>
                <c:pt idx="10">
                  <c:v>2008 kvartal 3</c:v>
                </c:pt>
                <c:pt idx="11">
                  <c:v>2008 kvartal 4</c:v>
                </c:pt>
                <c:pt idx="12">
                  <c:v>2009 kvartal 1</c:v>
                </c:pt>
                <c:pt idx="13">
                  <c:v>2009 kvartal 2</c:v>
                </c:pt>
                <c:pt idx="14">
                  <c:v>2009 kvartal 3</c:v>
                </c:pt>
                <c:pt idx="15">
                  <c:v>2009 kvartal 4</c:v>
                </c:pt>
                <c:pt idx="16">
                  <c:v>2010 kvartal 1</c:v>
                </c:pt>
                <c:pt idx="17">
                  <c:v>2010 kvartal 2</c:v>
                </c:pt>
                <c:pt idx="18">
                  <c:v>2010 kvartal 3</c:v>
                </c:pt>
                <c:pt idx="19">
                  <c:v>2010 kvartal 4</c:v>
                </c:pt>
                <c:pt idx="20">
                  <c:v>2011 kvartal 1</c:v>
                </c:pt>
                <c:pt idx="21">
                  <c:v>2011 kvartal 2</c:v>
                </c:pt>
                <c:pt idx="22">
                  <c:v>2011 kvartal 3</c:v>
                </c:pt>
                <c:pt idx="23">
                  <c:v>2011 kvartal 4</c:v>
                </c:pt>
                <c:pt idx="24">
                  <c:v>2012 kvartal 1</c:v>
                </c:pt>
                <c:pt idx="25">
                  <c:v>2012 kvartal 2</c:v>
                </c:pt>
                <c:pt idx="26">
                  <c:v>2012 kvartal 3</c:v>
                </c:pt>
                <c:pt idx="27">
                  <c:v>2012 kvartal 4</c:v>
                </c:pt>
                <c:pt idx="28">
                  <c:v>2013 kvartal 1</c:v>
                </c:pt>
                <c:pt idx="29">
                  <c:v>2013 kvartal 2</c:v>
                </c:pt>
                <c:pt idx="30">
                  <c:v>2013 kvartal 3</c:v>
                </c:pt>
                <c:pt idx="31">
                  <c:v>2013 kvartal 4</c:v>
                </c:pt>
                <c:pt idx="32">
                  <c:v>2014 kvartal 1</c:v>
                </c:pt>
                <c:pt idx="33">
                  <c:v>2014 kvartal 2</c:v>
                </c:pt>
                <c:pt idx="34">
                  <c:v>2014 kvartal 3</c:v>
                </c:pt>
                <c:pt idx="35">
                  <c:v>2014 kvartal 4</c:v>
                </c:pt>
                <c:pt idx="36">
                  <c:v>2015 kvartal 1</c:v>
                </c:pt>
                <c:pt idx="37">
                  <c:v>2015 kvartal 2</c:v>
                </c:pt>
                <c:pt idx="38">
                  <c:v>2015 kvartal 3</c:v>
                </c:pt>
                <c:pt idx="39">
                  <c:v>2015 kvartal 4</c:v>
                </c:pt>
                <c:pt idx="40">
                  <c:v>2016 kvartal 1</c:v>
                </c:pt>
                <c:pt idx="41">
                  <c:v>2016 kvartal 2</c:v>
                </c:pt>
                <c:pt idx="42">
                  <c:v>2016 kvartal 3</c:v>
                </c:pt>
                <c:pt idx="43">
                  <c:v>2016 kvartal 4</c:v>
                </c:pt>
                <c:pt idx="44">
                  <c:v>2017 kvartal 1</c:v>
                </c:pt>
                <c:pt idx="45">
                  <c:v>2017 kvartal 2</c:v>
                </c:pt>
                <c:pt idx="46">
                  <c:v>2017 kvartal 3</c:v>
                </c:pt>
                <c:pt idx="47">
                  <c:v>2017 kvartal 4</c:v>
                </c:pt>
                <c:pt idx="48">
                  <c:v>2018 kvartal 1</c:v>
                </c:pt>
                <c:pt idx="49">
                  <c:v>2018 kvartal 2</c:v>
                </c:pt>
                <c:pt idx="50">
                  <c:v>2018 kvartal 3</c:v>
                </c:pt>
                <c:pt idx="51">
                  <c:v>2018 kvartal 4</c:v>
                </c:pt>
                <c:pt idx="52">
                  <c:v>2019 kvartal 1</c:v>
                </c:pt>
                <c:pt idx="53">
                  <c:v>2019 kvartal 2</c:v>
                </c:pt>
                <c:pt idx="54">
                  <c:v>2019 kvartal 3</c:v>
                </c:pt>
                <c:pt idx="55">
                  <c:v>2019 kvartal 4</c:v>
                </c:pt>
                <c:pt idx="56">
                  <c:v>2020 kvartal 1</c:v>
                </c:pt>
                <c:pt idx="57">
                  <c:v>2020 kvartal 2</c:v>
                </c:pt>
                <c:pt idx="58">
                  <c:v>2020 kvartal 3</c:v>
                </c:pt>
                <c:pt idx="59">
                  <c:v>2020 kvartal 4</c:v>
                </c:pt>
                <c:pt idx="60">
                  <c:v>2021 kvartal 1</c:v>
                </c:pt>
                <c:pt idx="61">
                  <c:v>2021 kvartal 2</c:v>
                </c:pt>
                <c:pt idx="62">
                  <c:v>2021 kvartal 3</c:v>
                </c:pt>
                <c:pt idx="63">
                  <c:v>2021 kvartal 4</c:v>
                </c:pt>
                <c:pt idx="64">
                  <c:v>2022 kvartal 1P</c:v>
                </c:pt>
              </c:strCache>
            </c:strRef>
          </c:cat>
          <c:val>
            <c:numRef>
              <c:f>Konj!$C$28:$C$92</c:f>
              <c:numCache>
                <c:formatCode>General</c:formatCode>
                <c:ptCount val="65"/>
                <c:pt idx="0">
                  <c:v>15</c:v>
                </c:pt>
                <c:pt idx="1">
                  <c:v>20</c:v>
                </c:pt>
                <c:pt idx="2">
                  <c:v>20</c:v>
                </c:pt>
                <c:pt idx="3">
                  <c:v>26</c:v>
                </c:pt>
                <c:pt idx="4">
                  <c:v>31</c:v>
                </c:pt>
                <c:pt idx="5">
                  <c:v>28</c:v>
                </c:pt>
                <c:pt idx="6">
                  <c:v>24</c:v>
                </c:pt>
                <c:pt idx="7">
                  <c:v>15</c:v>
                </c:pt>
                <c:pt idx="8">
                  <c:v>16</c:v>
                </c:pt>
                <c:pt idx="9">
                  <c:v>4</c:v>
                </c:pt>
                <c:pt idx="10">
                  <c:v>10</c:v>
                </c:pt>
                <c:pt idx="11">
                  <c:v>-23</c:v>
                </c:pt>
                <c:pt idx="12">
                  <c:v>-46</c:v>
                </c:pt>
                <c:pt idx="13">
                  <c:v>-45</c:v>
                </c:pt>
                <c:pt idx="14">
                  <c:v>-40</c:v>
                </c:pt>
                <c:pt idx="15">
                  <c:v>-28</c:v>
                </c:pt>
                <c:pt idx="16">
                  <c:v>-6</c:v>
                </c:pt>
                <c:pt idx="17">
                  <c:v>5</c:v>
                </c:pt>
                <c:pt idx="18">
                  <c:v>13</c:v>
                </c:pt>
                <c:pt idx="19">
                  <c:v>32</c:v>
                </c:pt>
                <c:pt idx="20">
                  <c:v>17</c:v>
                </c:pt>
                <c:pt idx="21">
                  <c:v>28</c:v>
                </c:pt>
                <c:pt idx="22">
                  <c:v>24</c:v>
                </c:pt>
                <c:pt idx="23">
                  <c:v>13</c:v>
                </c:pt>
                <c:pt idx="24">
                  <c:v>7</c:v>
                </c:pt>
                <c:pt idx="25">
                  <c:v>-1</c:v>
                </c:pt>
                <c:pt idx="26">
                  <c:v>-4</c:v>
                </c:pt>
                <c:pt idx="27">
                  <c:v>-9</c:v>
                </c:pt>
                <c:pt idx="28">
                  <c:v>-17</c:v>
                </c:pt>
                <c:pt idx="29">
                  <c:v>-15</c:v>
                </c:pt>
                <c:pt idx="30">
                  <c:v>-16</c:v>
                </c:pt>
                <c:pt idx="31">
                  <c:v>-5</c:v>
                </c:pt>
                <c:pt idx="32">
                  <c:v>2</c:v>
                </c:pt>
                <c:pt idx="33">
                  <c:v>-5</c:v>
                </c:pt>
                <c:pt idx="34">
                  <c:v>-3</c:v>
                </c:pt>
                <c:pt idx="35">
                  <c:v>-8</c:v>
                </c:pt>
                <c:pt idx="36">
                  <c:v>5</c:v>
                </c:pt>
                <c:pt idx="37">
                  <c:v>7</c:v>
                </c:pt>
                <c:pt idx="38">
                  <c:v>13</c:v>
                </c:pt>
                <c:pt idx="39">
                  <c:v>4</c:v>
                </c:pt>
                <c:pt idx="40">
                  <c:v>4</c:v>
                </c:pt>
                <c:pt idx="41">
                  <c:v>21</c:v>
                </c:pt>
                <c:pt idx="42">
                  <c:v>13</c:v>
                </c:pt>
                <c:pt idx="43">
                  <c:v>19</c:v>
                </c:pt>
                <c:pt idx="44">
                  <c:v>16</c:v>
                </c:pt>
                <c:pt idx="45">
                  <c:v>19</c:v>
                </c:pt>
                <c:pt idx="46">
                  <c:v>17</c:v>
                </c:pt>
                <c:pt idx="47">
                  <c:v>18</c:v>
                </c:pt>
                <c:pt idx="48">
                  <c:v>12</c:v>
                </c:pt>
                <c:pt idx="49">
                  <c:v>18</c:v>
                </c:pt>
                <c:pt idx="50">
                  <c:v>9</c:v>
                </c:pt>
                <c:pt idx="51">
                  <c:v>11</c:v>
                </c:pt>
                <c:pt idx="52">
                  <c:v>7</c:v>
                </c:pt>
                <c:pt idx="53">
                  <c:v>-2</c:v>
                </c:pt>
                <c:pt idx="54">
                  <c:v>-7</c:v>
                </c:pt>
                <c:pt idx="55">
                  <c:v>-20</c:v>
                </c:pt>
                <c:pt idx="56">
                  <c:v>-37</c:v>
                </c:pt>
                <c:pt idx="57">
                  <c:v>-48</c:v>
                </c:pt>
                <c:pt idx="58">
                  <c:v>-40</c:v>
                </c:pt>
                <c:pt idx="59">
                  <c:v>-30</c:v>
                </c:pt>
                <c:pt idx="60">
                  <c:v>1</c:v>
                </c:pt>
                <c:pt idx="61">
                  <c:v>12</c:v>
                </c:pt>
                <c:pt idx="62">
                  <c:v>26</c:v>
                </c:pt>
                <c:pt idx="63">
                  <c:v>29</c:v>
                </c:pt>
                <c:pt idx="64">
                  <c:v>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B22-48D2-AC2E-ED71721F7136}"/>
            </c:ext>
          </c:extLst>
        </c:ser>
        <c:ser>
          <c:idx val="1"/>
          <c:order val="1"/>
          <c:tx>
            <c:v>  Handel</c:v>
          </c:tx>
          <c:spPr>
            <a:ln w="76200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dPt>
            <c:idx val="64"/>
            <c:marker>
              <c:symbol val="none"/>
            </c:marker>
            <c:bubble3D val="0"/>
            <c:spPr>
              <a:ln w="76200" cap="rnd">
                <a:solidFill>
                  <a:schemeClr val="tx2"/>
                </a:solidFill>
                <a:prstDash val="sysDot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6-9B22-48D2-AC2E-ED71721F7136}"/>
              </c:ext>
            </c:extLst>
          </c:dPt>
          <c:cat>
            <c:strRef>
              <c:f>Konj!$A$28:$A$92</c:f>
              <c:strCache>
                <c:ptCount val="65"/>
                <c:pt idx="0">
                  <c:v>2006 kvartal 1</c:v>
                </c:pt>
                <c:pt idx="1">
                  <c:v>2006 kvartal 2</c:v>
                </c:pt>
                <c:pt idx="2">
                  <c:v>2006 kvartal 3</c:v>
                </c:pt>
                <c:pt idx="3">
                  <c:v>2006 kvartal 4</c:v>
                </c:pt>
                <c:pt idx="4">
                  <c:v>2007 kvartal 1</c:v>
                </c:pt>
                <c:pt idx="5">
                  <c:v>2007 kvartal 2</c:v>
                </c:pt>
                <c:pt idx="6">
                  <c:v>2007 kvartal 3</c:v>
                </c:pt>
                <c:pt idx="7">
                  <c:v>2007 kvartal 4</c:v>
                </c:pt>
                <c:pt idx="8">
                  <c:v>2008 kvartal 1</c:v>
                </c:pt>
                <c:pt idx="9">
                  <c:v>2008 kvartal 2</c:v>
                </c:pt>
                <c:pt idx="10">
                  <c:v>2008 kvartal 3</c:v>
                </c:pt>
                <c:pt idx="11">
                  <c:v>2008 kvartal 4</c:v>
                </c:pt>
                <c:pt idx="12">
                  <c:v>2009 kvartal 1</c:v>
                </c:pt>
                <c:pt idx="13">
                  <c:v>2009 kvartal 2</c:v>
                </c:pt>
                <c:pt idx="14">
                  <c:v>2009 kvartal 3</c:v>
                </c:pt>
                <c:pt idx="15">
                  <c:v>2009 kvartal 4</c:v>
                </c:pt>
                <c:pt idx="16">
                  <c:v>2010 kvartal 1</c:v>
                </c:pt>
                <c:pt idx="17">
                  <c:v>2010 kvartal 2</c:v>
                </c:pt>
                <c:pt idx="18">
                  <c:v>2010 kvartal 3</c:v>
                </c:pt>
                <c:pt idx="19">
                  <c:v>2010 kvartal 4</c:v>
                </c:pt>
                <c:pt idx="20">
                  <c:v>2011 kvartal 1</c:v>
                </c:pt>
                <c:pt idx="21">
                  <c:v>2011 kvartal 2</c:v>
                </c:pt>
                <c:pt idx="22">
                  <c:v>2011 kvartal 3</c:v>
                </c:pt>
                <c:pt idx="23">
                  <c:v>2011 kvartal 4</c:v>
                </c:pt>
                <c:pt idx="24">
                  <c:v>2012 kvartal 1</c:v>
                </c:pt>
                <c:pt idx="25">
                  <c:v>2012 kvartal 2</c:v>
                </c:pt>
                <c:pt idx="26">
                  <c:v>2012 kvartal 3</c:v>
                </c:pt>
                <c:pt idx="27">
                  <c:v>2012 kvartal 4</c:v>
                </c:pt>
                <c:pt idx="28">
                  <c:v>2013 kvartal 1</c:v>
                </c:pt>
                <c:pt idx="29">
                  <c:v>2013 kvartal 2</c:v>
                </c:pt>
                <c:pt idx="30">
                  <c:v>2013 kvartal 3</c:v>
                </c:pt>
                <c:pt idx="31">
                  <c:v>2013 kvartal 4</c:v>
                </c:pt>
                <c:pt idx="32">
                  <c:v>2014 kvartal 1</c:v>
                </c:pt>
                <c:pt idx="33">
                  <c:v>2014 kvartal 2</c:v>
                </c:pt>
                <c:pt idx="34">
                  <c:v>2014 kvartal 3</c:v>
                </c:pt>
                <c:pt idx="35">
                  <c:v>2014 kvartal 4</c:v>
                </c:pt>
                <c:pt idx="36">
                  <c:v>2015 kvartal 1</c:v>
                </c:pt>
                <c:pt idx="37">
                  <c:v>2015 kvartal 2</c:v>
                </c:pt>
                <c:pt idx="38">
                  <c:v>2015 kvartal 3</c:v>
                </c:pt>
                <c:pt idx="39">
                  <c:v>2015 kvartal 4</c:v>
                </c:pt>
                <c:pt idx="40">
                  <c:v>2016 kvartal 1</c:v>
                </c:pt>
                <c:pt idx="41">
                  <c:v>2016 kvartal 2</c:v>
                </c:pt>
                <c:pt idx="42">
                  <c:v>2016 kvartal 3</c:v>
                </c:pt>
                <c:pt idx="43">
                  <c:v>2016 kvartal 4</c:v>
                </c:pt>
                <c:pt idx="44">
                  <c:v>2017 kvartal 1</c:v>
                </c:pt>
                <c:pt idx="45">
                  <c:v>2017 kvartal 2</c:v>
                </c:pt>
                <c:pt idx="46">
                  <c:v>2017 kvartal 3</c:v>
                </c:pt>
                <c:pt idx="47">
                  <c:v>2017 kvartal 4</c:v>
                </c:pt>
                <c:pt idx="48">
                  <c:v>2018 kvartal 1</c:v>
                </c:pt>
                <c:pt idx="49">
                  <c:v>2018 kvartal 2</c:v>
                </c:pt>
                <c:pt idx="50">
                  <c:v>2018 kvartal 3</c:v>
                </c:pt>
                <c:pt idx="51">
                  <c:v>2018 kvartal 4</c:v>
                </c:pt>
                <c:pt idx="52">
                  <c:v>2019 kvartal 1</c:v>
                </c:pt>
                <c:pt idx="53">
                  <c:v>2019 kvartal 2</c:v>
                </c:pt>
                <c:pt idx="54">
                  <c:v>2019 kvartal 3</c:v>
                </c:pt>
                <c:pt idx="55">
                  <c:v>2019 kvartal 4</c:v>
                </c:pt>
                <c:pt idx="56">
                  <c:v>2020 kvartal 1</c:v>
                </c:pt>
                <c:pt idx="57">
                  <c:v>2020 kvartal 2</c:v>
                </c:pt>
                <c:pt idx="58">
                  <c:v>2020 kvartal 3</c:v>
                </c:pt>
                <c:pt idx="59">
                  <c:v>2020 kvartal 4</c:v>
                </c:pt>
                <c:pt idx="60">
                  <c:v>2021 kvartal 1</c:v>
                </c:pt>
                <c:pt idx="61">
                  <c:v>2021 kvartal 2</c:v>
                </c:pt>
                <c:pt idx="62">
                  <c:v>2021 kvartal 3</c:v>
                </c:pt>
                <c:pt idx="63">
                  <c:v>2021 kvartal 4</c:v>
                </c:pt>
                <c:pt idx="64">
                  <c:v>2022 kvartal 1P</c:v>
                </c:pt>
              </c:strCache>
            </c:strRef>
          </c:cat>
          <c:val>
            <c:numRef>
              <c:f>Konj!$D$28:$D$92</c:f>
              <c:numCache>
                <c:formatCode>General</c:formatCode>
                <c:ptCount val="65"/>
                <c:pt idx="0">
                  <c:v>6</c:v>
                </c:pt>
                <c:pt idx="1">
                  <c:v>9</c:v>
                </c:pt>
                <c:pt idx="2">
                  <c:v>18</c:v>
                </c:pt>
                <c:pt idx="3">
                  <c:v>23</c:v>
                </c:pt>
                <c:pt idx="4">
                  <c:v>34</c:v>
                </c:pt>
                <c:pt idx="5">
                  <c:v>25</c:v>
                </c:pt>
                <c:pt idx="6">
                  <c:v>15</c:v>
                </c:pt>
                <c:pt idx="7">
                  <c:v>26</c:v>
                </c:pt>
                <c:pt idx="8">
                  <c:v>27</c:v>
                </c:pt>
                <c:pt idx="9">
                  <c:v>14</c:v>
                </c:pt>
                <c:pt idx="10">
                  <c:v>8</c:v>
                </c:pt>
                <c:pt idx="11">
                  <c:v>-26</c:v>
                </c:pt>
                <c:pt idx="12">
                  <c:v>-49</c:v>
                </c:pt>
                <c:pt idx="13">
                  <c:v>-39</c:v>
                </c:pt>
                <c:pt idx="14">
                  <c:v>-34</c:v>
                </c:pt>
                <c:pt idx="15">
                  <c:v>-20</c:v>
                </c:pt>
                <c:pt idx="16">
                  <c:v>1</c:v>
                </c:pt>
                <c:pt idx="17">
                  <c:v>10</c:v>
                </c:pt>
                <c:pt idx="18">
                  <c:v>29</c:v>
                </c:pt>
                <c:pt idx="19">
                  <c:v>16</c:v>
                </c:pt>
                <c:pt idx="20">
                  <c:v>14</c:v>
                </c:pt>
                <c:pt idx="21">
                  <c:v>16</c:v>
                </c:pt>
                <c:pt idx="22">
                  <c:v>2</c:v>
                </c:pt>
                <c:pt idx="23">
                  <c:v>18</c:v>
                </c:pt>
                <c:pt idx="24">
                  <c:v>0</c:v>
                </c:pt>
                <c:pt idx="25">
                  <c:v>1</c:v>
                </c:pt>
                <c:pt idx="26">
                  <c:v>-14</c:v>
                </c:pt>
                <c:pt idx="27">
                  <c:v>-11</c:v>
                </c:pt>
                <c:pt idx="28">
                  <c:v>-7</c:v>
                </c:pt>
                <c:pt idx="29">
                  <c:v>-13</c:v>
                </c:pt>
                <c:pt idx="30">
                  <c:v>-6</c:v>
                </c:pt>
                <c:pt idx="31">
                  <c:v>2</c:v>
                </c:pt>
                <c:pt idx="32">
                  <c:v>21</c:v>
                </c:pt>
                <c:pt idx="33">
                  <c:v>14</c:v>
                </c:pt>
                <c:pt idx="34">
                  <c:v>24</c:v>
                </c:pt>
                <c:pt idx="35">
                  <c:v>19</c:v>
                </c:pt>
                <c:pt idx="36">
                  <c:v>10</c:v>
                </c:pt>
                <c:pt idx="37">
                  <c:v>18</c:v>
                </c:pt>
                <c:pt idx="38">
                  <c:v>25</c:v>
                </c:pt>
                <c:pt idx="39">
                  <c:v>26</c:v>
                </c:pt>
                <c:pt idx="40">
                  <c:v>17</c:v>
                </c:pt>
                <c:pt idx="41">
                  <c:v>33</c:v>
                </c:pt>
                <c:pt idx="42">
                  <c:v>26</c:v>
                </c:pt>
                <c:pt idx="43">
                  <c:v>23</c:v>
                </c:pt>
                <c:pt idx="44">
                  <c:v>16</c:v>
                </c:pt>
                <c:pt idx="45">
                  <c:v>27</c:v>
                </c:pt>
                <c:pt idx="46">
                  <c:v>23</c:v>
                </c:pt>
                <c:pt idx="47">
                  <c:v>19</c:v>
                </c:pt>
                <c:pt idx="48">
                  <c:v>25</c:v>
                </c:pt>
                <c:pt idx="49">
                  <c:v>16</c:v>
                </c:pt>
                <c:pt idx="50">
                  <c:v>8</c:v>
                </c:pt>
                <c:pt idx="51">
                  <c:v>10</c:v>
                </c:pt>
                <c:pt idx="52">
                  <c:v>13</c:v>
                </c:pt>
                <c:pt idx="53">
                  <c:v>1</c:v>
                </c:pt>
                <c:pt idx="54">
                  <c:v>7</c:v>
                </c:pt>
                <c:pt idx="55">
                  <c:v>2</c:v>
                </c:pt>
                <c:pt idx="56">
                  <c:v>-12</c:v>
                </c:pt>
                <c:pt idx="57">
                  <c:v>-28</c:v>
                </c:pt>
                <c:pt idx="58">
                  <c:v>-14</c:v>
                </c:pt>
                <c:pt idx="59">
                  <c:v>-6</c:v>
                </c:pt>
                <c:pt idx="60">
                  <c:v>5</c:v>
                </c:pt>
                <c:pt idx="61">
                  <c:v>16</c:v>
                </c:pt>
                <c:pt idx="62">
                  <c:v>12</c:v>
                </c:pt>
                <c:pt idx="63">
                  <c:v>13</c:v>
                </c:pt>
                <c:pt idx="64">
                  <c:v>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B22-48D2-AC2E-ED71721F71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34379568"/>
        <c:axId val="1634377488"/>
      </c:lineChart>
      <c:catAx>
        <c:axId val="1634379568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low"/>
        <c:spPr>
          <a:noFill/>
          <a:ln w="6350" cap="flat" cmpd="sng" algn="ctr">
            <a:solidFill>
              <a:sysClr val="windowText" lastClr="000000"/>
            </a:solidFill>
            <a:round/>
          </a:ln>
          <a:effectLst/>
        </c:spPr>
        <c:txPr>
          <a:bodyPr rot="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1634377488"/>
        <c:crosses val="autoZero"/>
        <c:auto val="1"/>
        <c:lblAlgn val="ctr"/>
        <c:lblOffset val="100"/>
        <c:tickLblSkip val="4"/>
        <c:noMultiLvlLbl val="0"/>
      </c:catAx>
      <c:valAx>
        <c:axId val="1634377488"/>
        <c:scaling>
          <c:orientation val="minMax"/>
          <c:max val="100"/>
          <c:min val="-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/>
                  <a:t>Nettotal</a:t>
                </a:r>
              </a:p>
            </c:rich>
          </c:tx>
          <c:layout>
            <c:manualLayout>
              <c:xMode val="edge"/>
              <c:yMode val="edge"/>
              <c:x val="1.2674650698602795E-2"/>
              <c:y val="1.7351421188630462E-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sv-SE"/>
            </a:p>
          </c:txPr>
        </c:title>
        <c:numFmt formatCode="General" sourceLinked="1"/>
        <c:majorTickMark val="in"/>
        <c:minorTickMark val="none"/>
        <c:tickLblPos val="nextTo"/>
        <c:spPr>
          <a:noFill/>
          <a:ln w="6350">
            <a:solidFill>
              <a:sysClr val="windowText" lastClr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1634379568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t"/>
      <c:legendEntry>
        <c:idx val="0"/>
        <c:delete val="1"/>
      </c:legendEntry>
      <c:legendEntry>
        <c:idx val="1"/>
        <c:delete val="1"/>
      </c:legendEntry>
      <c:layout>
        <c:manualLayout>
          <c:xMode val="edge"/>
          <c:yMode val="edge"/>
          <c:x val="0.74922370433082763"/>
          <c:y val="8.2041343669250651E-3"/>
          <c:w val="0.21160227064640175"/>
          <c:h val="6.208727086238922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sv-SE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40137483266787E-2"/>
          <c:y val="3.1309444444444445E-2"/>
          <c:w val="0.89180781854393931"/>
          <c:h val="0.81018975992071318"/>
        </c:manualLayout>
      </c:layout>
      <c:lineChart>
        <c:grouping val="standard"/>
        <c:varyColors val="0"/>
        <c:ser>
          <c:idx val="1"/>
          <c:order val="0"/>
          <c:tx>
            <c:v>  Malmöregionen</c:v>
          </c:tx>
          <c:spPr>
            <a:ln w="57150" cap="rnd">
              <a:solidFill>
                <a:srgbClr val="D36248"/>
              </a:solidFill>
              <a:round/>
            </a:ln>
            <a:effectLst/>
          </c:spPr>
          <c:marker>
            <c:symbol val="none"/>
          </c:marker>
          <c:dLbls>
            <c:dLbl>
              <c:idx val="18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1E0-4C66-98D3-40B70A0376A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rbetslöshet!$A$5:$A$185</c:f>
              <c:numCache>
                <c:formatCode>General</c:formatCode>
                <c:ptCount val="181"/>
                <c:pt idx="0">
                  <c:v>200701</c:v>
                </c:pt>
                <c:pt idx="1">
                  <c:v>200702</c:v>
                </c:pt>
                <c:pt idx="2">
                  <c:v>200703</c:v>
                </c:pt>
                <c:pt idx="3">
                  <c:v>200704</c:v>
                </c:pt>
                <c:pt idx="4">
                  <c:v>200705</c:v>
                </c:pt>
                <c:pt idx="5">
                  <c:v>200706</c:v>
                </c:pt>
                <c:pt idx="6">
                  <c:v>200707</c:v>
                </c:pt>
                <c:pt idx="7">
                  <c:v>200708</c:v>
                </c:pt>
                <c:pt idx="8">
                  <c:v>200709</c:v>
                </c:pt>
                <c:pt idx="9">
                  <c:v>200710</c:v>
                </c:pt>
                <c:pt idx="10">
                  <c:v>200711</c:v>
                </c:pt>
                <c:pt idx="11">
                  <c:v>200712</c:v>
                </c:pt>
                <c:pt idx="12">
                  <c:v>200801</c:v>
                </c:pt>
                <c:pt idx="13">
                  <c:v>200802</c:v>
                </c:pt>
                <c:pt idx="14">
                  <c:v>200803</c:v>
                </c:pt>
                <c:pt idx="15">
                  <c:v>200804</c:v>
                </c:pt>
                <c:pt idx="16">
                  <c:v>200805</c:v>
                </c:pt>
                <c:pt idx="17">
                  <c:v>200806</c:v>
                </c:pt>
                <c:pt idx="18">
                  <c:v>200807</c:v>
                </c:pt>
                <c:pt idx="19">
                  <c:v>200808</c:v>
                </c:pt>
                <c:pt idx="20">
                  <c:v>200809</c:v>
                </c:pt>
                <c:pt idx="21">
                  <c:v>200810</c:v>
                </c:pt>
                <c:pt idx="22">
                  <c:v>200811</c:v>
                </c:pt>
                <c:pt idx="23">
                  <c:v>200812</c:v>
                </c:pt>
                <c:pt idx="24">
                  <c:v>200901</c:v>
                </c:pt>
                <c:pt idx="25">
                  <c:v>200902</c:v>
                </c:pt>
                <c:pt idx="26">
                  <c:v>200903</c:v>
                </c:pt>
                <c:pt idx="27">
                  <c:v>200904</c:v>
                </c:pt>
                <c:pt idx="28">
                  <c:v>200905</c:v>
                </c:pt>
                <c:pt idx="29">
                  <c:v>200906</c:v>
                </c:pt>
                <c:pt idx="30">
                  <c:v>200907</c:v>
                </c:pt>
                <c:pt idx="31">
                  <c:v>200908</c:v>
                </c:pt>
                <c:pt idx="32">
                  <c:v>200909</c:v>
                </c:pt>
                <c:pt idx="33">
                  <c:v>200910</c:v>
                </c:pt>
                <c:pt idx="34">
                  <c:v>200911</c:v>
                </c:pt>
                <c:pt idx="35">
                  <c:v>200912</c:v>
                </c:pt>
                <c:pt idx="36">
                  <c:v>201001</c:v>
                </c:pt>
                <c:pt idx="37">
                  <c:v>201002</c:v>
                </c:pt>
                <c:pt idx="38">
                  <c:v>201003</c:v>
                </c:pt>
                <c:pt idx="39">
                  <c:v>201004</c:v>
                </c:pt>
                <c:pt idx="40">
                  <c:v>201005</c:v>
                </c:pt>
                <c:pt idx="41">
                  <c:v>201006</c:v>
                </c:pt>
                <c:pt idx="42">
                  <c:v>201007</c:v>
                </c:pt>
                <c:pt idx="43">
                  <c:v>201008</c:v>
                </c:pt>
                <c:pt idx="44">
                  <c:v>201009</c:v>
                </c:pt>
                <c:pt idx="45">
                  <c:v>201010</c:v>
                </c:pt>
                <c:pt idx="46">
                  <c:v>201011</c:v>
                </c:pt>
                <c:pt idx="47">
                  <c:v>201012</c:v>
                </c:pt>
                <c:pt idx="48">
                  <c:v>201101</c:v>
                </c:pt>
                <c:pt idx="49">
                  <c:v>201102</c:v>
                </c:pt>
                <c:pt idx="50">
                  <c:v>201103</c:v>
                </c:pt>
                <c:pt idx="51">
                  <c:v>201104</c:v>
                </c:pt>
                <c:pt idx="52">
                  <c:v>201105</c:v>
                </c:pt>
                <c:pt idx="53">
                  <c:v>201106</c:v>
                </c:pt>
                <c:pt idx="54">
                  <c:v>201107</c:v>
                </c:pt>
                <c:pt idx="55">
                  <c:v>201108</c:v>
                </c:pt>
                <c:pt idx="56">
                  <c:v>201109</c:v>
                </c:pt>
                <c:pt idx="57">
                  <c:v>201110</c:v>
                </c:pt>
                <c:pt idx="58">
                  <c:v>201111</c:v>
                </c:pt>
                <c:pt idx="59">
                  <c:v>201112</c:v>
                </c:pt>
                <c:pt idx="60">
                  <c:v>201201</c:v>
                </c:pt>
                <c:pt idx="61">
                  <c:v>201202</c:v>
                </c:pt>
                <c:pt idx="62">
                  <c:v>201203</c:v>
                </c:pt>
                <c:pt idx="63">
                  <c:v>201204</c:v>
                </c:pt>
                <c:pt idx="64">
                  <c:v>201205</c:v>
                </c:pt>
                <c:pt idx="65">
                  <c:v>201206</c:v>
                </c:pt>
                <c:pt idx="66">
                  <c:v>201207</c:v>
                </c:pt>
                <c:pt idx="67">
                  <c:v>201208</c:v>
                </c:pt>
                <c:pt idx="68">
                  <c:v>201209</c:v>
                </c:pt>
                <c:pt idx="69">
                  <c:v>201210</c:v>
                </c:pt>
                <c:pt idx="70">
                  <c:v>201211</c:v>
                </c:pt>
                <c:pt idx="71">
                  <c:v>201212</c:v>
                </c:pt>
                <c:pt idx="72">
                  <c:v>201301</c:v>
                </c:pt>
                <c:pt idx="73">
                  <c:v>201302</c:v>
                </c:pt>
                <c:pt idx="74">
                  <c:v>201303</c:v>
                </c:pt>
                <c:pt idx="75">
                  <c:v>201304</c:v>
                </c:pt>
                <c:pt idx="76">
                  <c:v>201305</c:v>
                </c:pt>
                <c:pt idx="77">
                  <c:v>201306</c:v>
                </c:pt>
                <c:pt idx="78">
                  <c:v>201307</c:v>
                </c:pt>
                <c:pt idx="79">
                  <c:v>201308</c:v>
                </c:pt>
                <c:pt idx="80">
                  <c:v>201309</c:v>
                </c:pt>
                <c:pt idx="81">
                  <c:v>201310</c:v>
                </c:pt>
                <c:pt idx="82">
                  <c:v>201311</c:v>
                </c:pt>
                <c:pt idx="83">
                  <c:v>201312</c:v>
                </c:pt>
                <c:pt idx="84">
                  <c:v>201401</c:v>
                </c:pt>
                <c:pt idx="85">
                  <c:v>201402</c:v>
                </c:pt>
                <c:pt idx="86">
                  <c:v>201403</c:v>
                </c:pt>
                <c:pt idx="87">
                  <c:v>201404</c:v>
                </c:pt>
                <c:pt idx="88">
                  <c:v>201405</c:v>
                </c:pt>
                <c:pt idx="89">
                  <c:v>201406</c:v>
                </c:pt>
                <c:pt idx="90">
                  <c:v>201407</c:v>
                </c:pt>
                <c:pt idx="91">
                  <c:v>201408</c:v>
                </c:pt>
                <c:pt idx="92">
                  <c:v>201409</c:v>
                </c:pt>
                <c:pt idx="93">
                  <c:v>201410</c:v>
                </c:pt>
                <c:pt idx="94">
                  <c:v>201411</c:v>
                </c:pt>
                <c:pt idx="95">
                  <c:v>201412</c:v>
                </c:pt>
                <c:pt idx="96">
                  <c:v>201501</c:v>
                </c:pt>
                <c:pt idx="97">
                  <c:v>201502</c:v>
                </c:pt>
                <c:pt idx="98">
                  <c:v>201503</c:v>
                </c:pt>
                <c:pt idx="99">
                  <c:v>201504</c:v>
                </c:pt>
                <c:pt idx="100">
                  <c:v>201505</c:v>
                </c:pt>
                <c:pt idx="101">
                  <c:v>201506</c:v>
                </c:pt>
                <c:pt idx="102">
                  <c:v>201507</c:v>
                </c:pt>
                <c:pt idx="103">
                  <c:v>201508</c:v>
                </c:pt>
                <c:pt idx="104">
                  <c:v>201509</c:v>
                </c:pt>
                <c:pt idx="105">
                  <c:v>201510</c:v>
                </c:pt>
                <c:pt idx="106">
                  <c:v>201511</c:v>
                </c:pt>
                <c:pt idx="107">
                  <c:v>201512</c:v>
                </c:pt>
                <c:pt idx="108">
                  <c:v>201601</c:v>
                </c:pt>
                <c:pt idx="109">
                  <c:v>201602</c:v>
                </c:pt>
                <c:pt idx="110">
                  <c:v>201603</c:v>
                </c:pt>
                <c:pt idx="111">
                  <c:v>201604</c:v>
                </c:pt>
                <c:pt idx="112">
                  <c:v>201605</c:v>
                </c:pt>
                <c:pt idx="113">
                  <c:v>201606</c:v>
                </c:pt>
                <c:pt idx="114">
                  <c:v>201607</c:v>
                </c:pt>
                <c:pt idx="115">
                  <c:v>201608</c:v>
                </c:pt>
                <c:pt idx="116">
                  <c:v>201609</c:v>
                </c:pt>
                <c:pt idx="117">
                  <c:v>201610</c:v>
                </c:pt>
                <c:pt idx="118">
                  <c:v>201611</c:v>
                </c:pt>
                <c:pt idx="119">
                  <c:v>201612</c:v>
                </c:pt>
                <c:pt idx="120">
                  <c:v>201701</c:v>
                </c:pt>
                <c:pt idx="121">
                  <c:v>201702</c:v>
                </c:pt>
                <c:pt idx="122">
                  <c:v>201703</c:v>
                </c:pt>
                <c:pt idx="123">
                  <c:v>201704</c:v>
                </c:pt>
                <c:pt idx="124">
                  <c:v>201705</c:v>
                </c:pt>
                <c:pt idx="125">
                  <c:v>201706</c:v>
                </c:pt>
                <c:pt idx="126">
                  <c:v>201707</c:v>
                </c:pt>
                <c:pt idx="127">
                  <c:v>201708</c:v>
                </c:pt>
                <c:pt idx="128">
                  <c:v>201709</c:v>
                </c:pt>
                <c:pt idx="129">
                  <c:v>201710</c:v>
                </c:pt>
                <c:pt idx="130">
                  <c:v>201711</c:v>
                </c:pt>
                <c:pt idx="131">
                  <c:v>201712</c:v>
                </c:pt>
                <c:pt idx="132">
                  <c:v>201801</c:v>
                </c:pt>
                <c:pt idx="133">
                  <c:v>201802</c:v>
                </c:pt>
                <c:pt idx="134">
                  <c:v>201803</c:v>
                </c:pt>
                <c:pt idx="135">
                  <c:v>201804</c:v>
                </c:pt>
                <c:pt idx="136">
                  <c:v>201805</c:v>
                </c:pt>
                <c:pt idx="137">
                  <c:v>201806</c:v>
                </c:pt>
                <c:pt idx="138">
                  <c:v>201807</c:v>
                </c:pt>
                <c:pt idx="139">
                  <c:v>201808</c:v>
                </c:pt>
                <c:pt idx="140">
                  <c:v>201809</c:v>
                </c:pt>
                <c:pt idx="141">
                  <c:v>201810</c:v>
                </c:pt>
                <c:pt idx="142">
                  <c:v>201811</c:v>
                </c:pt>
                <c:pt idx="143">
                  <c:v>201812</c:v>
                </c:pt>
                <c:pt idx="144">
                  <c:v>201901</c:v>
                </c:pt>
                <c:pt idx="145">
                  <c:v>201902</c:v>
                </c:pt>
                <c:pt idx="146">
                  <c:v>201903</c:v>
                </c:pt>
                <c:pt idx="147">
                  <c:v>201904</c:v>
                </c:pt>
                <c:pt idx="148">
                  <c:v>201905</c:v>
                </c:pt>
                <c:pt idx="149">
                  <c:v>201906</c:v>
                </c:pt>
                <c:pt idx="150">
                  <c:v>201907</c:v>
                </c:pt>
                <c:pt idx="151">
                  <c:v>201908</c:v>
                </c:pt>
                <c:pt idx="152">
                  <c:v>201909</c:v>
                </c:pt>
                <c:pt idx="153">
                  <c:v>201910</c:v>
                </c:pt>
                <c:pt idx="154">
                  <c:v>201911</c:v>
                </c:pt>
                <c:pt idx="155">
                  <c:v>201912</c:v>
                </c:pt>
                <c:pt idx="156">
                  <c:v>202001</c:v>
                </c:pt>
                <c:pt idx="157">
                  <c:v>202002</c:v>
                </c:pt>
                <c:pt idx="158">
                  <c:v>202003</c:v>
                </c:pt>
                <c:pt idx="159">
                  <c:v>202004</c:v>
                </c:pt>
                <c:pt idx="160">
                  <c:v>202005</c:v>
                </c:pt>
                <c:pt idx="161">
                  <c:v>202006</c:v>
                </c:pt>
                <c:pt idx="162">
                  <c:v>202007</c:v>
                </c:pt>
                <c:pt idx="163">
                  <c:v>202008</c:v>
                </c:pt>
                <c:pt idx="164">
                  <c:v>202009</c:v>
                </c:pt>
                <c:pt idx="165">
                  <c:v>202010</c:v>
                </c:pt>
                <c:pt idx="166">
                  <c:v>202011</c:v>
                </c:pt>
                <c:pt idx="167">
                  <c:v>202012</c:v>
                </c:pt>
                <c:pt idx="168">
                  <c:v>202101</c:v>
                </c:pt>
                <c:pt idx="169">
                  <c:v>202102</c:v>
                </c:pt>
                <c:pt idx="170">
                  <c:v>202103</c:v>
                </c:pt>
                <c:pt idx="171">
                  <c:v>202104</c:v>
                </c:pt>
                <c:pt idx="172">
                  <c:v>202105</c:v>
                </c:pt>
                <c:pt idx="173">
                  <c:v>202106</c:v>
                </c:pt>
                <c:pt idx="174">
                  <c:v>202107</c:v>
                </c:pt>
                <c:pt idx="175">
                  <c:v>202108</c:v>
                </c:pt>
                <c:pt idx="176">
                  <c:v>202109</c:v>
                </c:pt>
                <c:pt idx="177">
                  <c:v>202110</c:v>
                </c:pt>
                <c:pt idx="178">
                  <c:v>202111</c:v>
                </c:pt>
                <c:pt idx="179">
                  <c:v>202112</c:v>
                </c:pt>
                <c:pt idx="180">
                  <c:v>202201</c:v>
                </c:pt>
              </c:numCache>
            </c:numRef>
          </c:cat>
          <c:val>
            <c:numRef>
              <c:f>Arbetslöshet!$P$5:$P$185</c:f>
              <c:numCache>
                <c:formatCode>0.0%</c:formatCode>
                <c:ptCount val="181"/>
                <c:pt idx="0">
                  <c:v>6.9084978429025529E-2</c:v>
                </c:pt>
                <c:pt idx="1">
                  <c:v>6.7945733206368056E-2</c:v>
                </c:pt>
                <c:pt idx="2">
                  <c:v>6.2180092024204624E-2</c:v>
                </c:pt>
                <c:pt idx="3">
                  <c:v>5.969653136962684E-2</c:v>
                </c:pt>
                <c:pt idx="4">
                  <c:v>5.6000088010091827E-2</c:v>
                </c:pt>
                <c:pt idx="5">
                  <c:v>5.920855474260487E-2</c:v>
                </c:pt>
                <c:pt idx="6">
                  <c:v>6.0019279783248496E-2</c:v>
                </c:pt>
                <c:pt idx="7">
                  <c:v>5.744832762755616E-2</c:v>
                </c:pt>
                <c:pt idx="8">
                  <c:v>5.4863273218586618E-2</c:v>
                </c:pt>
                <c:pt idx="9">
                  <c:v>5.4210448967594971E-2</c:v>
                </c:pt>
                <c:pt idx="10">
                  <c:v>5.3375744649555051E-2</c:v>
                </c:pt>
                <c:pt idx="11">
                  <c:v>5.580272814967778E-2</c:v>
                </c:pt>
                <c:pt idx="12">
                  <c:v>5.4966139555300671E-2</c:v>
                </c:pt>
                <c:pt idx="13">
                  <c:v>5.424631910099622E-2</c:v>
                </c:pt>
                <c:pt idx="14">
                  <c:v>5.3105757498368378E-2</c:v>
                </c:pt>
                <c:pt idx="15">
                  <c:v>5.1238036343217011E-2</c:v>
                </c:pt>
                <c:pt idx="16">
                  <c:v>4.9589689730672695E-2</c:v>
                </c:pt>
                <c:pt idx="17">
                  <c:v>5.3068811033034548E-2</c:v>
                </c:pt>
                <c:pt idx="18">
                  <c:v>5.4695080063172356E-2</c:v>
                </c:pt>
                <c:pt idx="19">
                  <c:v>5.4721858291137002E-2</c:v>
                </c:pt>
                <c:pt idx="20">
                  <c:v>5.4681690380243488E-2</c:v>
                </c:pt>
                <c:pt idx="21">
                  <c:v>5.6005431515520128E-2</c:v>
                </c:pt>
                <c:pt idx="22">
                  <c:v>5.8641822939073156E-2</c:v>
                </c:pt>
                <c:pt idx="23">
                  <c:v>6.2999947350871346E-2</c:v>
                </c:pt>
                <c:pt idx="24">
                  <c:v>6.6841009875669946E-2</c:v>
                </c:pt>
                <c:pt idx="25">
                  <c:v>6.9480145138865343E-2</c:v>
                </c:pt>
                <c:pt idx="26">
                  <c:v>7.1360161360736682E-2</c:v>
                </c:pt>
                <c:pt idx="27">
                  <c:v>7.2380430814165758E-2</c:v>
                </c:pt>
                <c:pt idx="28">
                  <c:v>7.3260766043101319E-2</c:v>
                </c:pt>
                <c:pt idx="29">
                  <c:v>8.0080325054980417E-2</c:v>
                </c:pt>
                <c:pt idx="30">
                  <c:v>8.3870300011351415E-2</c:v>
                </c:pt>
                <c:pt idx="31">
                  <c:v>8.550680201827647E-2</c:v>
                </c:pt>
                <c:pt idx="32">
                  <c:v>8.5954597691577428E-2</c:v>
                </c:pt>
                <c:pt idx="33">
                  <c:v>8.7556362475559632E-2</c:v>
                </c:pt>
                <c:pt idx="34">
                  <c:v>8.8641270052143881E-2</c:v>
                </c:pt>
                <c:pt idx="35">
                  <c:v>9.2117931598084984E-2</c:v>
                </c:pt>
                <c:pt idx="36">
                  <c:v>9.5876038531400212E-2</c:v>
                </c:pt>
                <c:pt idx="37">
                  <c:v>9.6000524521374239E-2</c:v>
                </c:pt>
                <c:pt idx="38">
                  <c:v>9.5217471191957379E-2</c:v>
                </c:pt>
                <c:pt idx="39">
                  <c:v>9.2672108870397243E-2</c:v>
                </c:pt>
                <c:pt idx="40">
                  <c:v>9.0508512589133172E-2</c:v>
                </c:pt>
                <c:pt idx="41">
                  <c:v>9.4590645674979074E-2</c:v>
                </c:pt>
                <c:pt idx="42">
                  <c:v>9.6264203009219049E-2</c:v>
                </c:pt>
                <c:pt idx="43">
                  <c:v>9.5202627546584151E-2</c:v>
                </c:pt>
                <c:pt idx="44">
                  <c:v>9.4180213975764301E-2</c:v>
                </c:pt>
                <c:pt idx="45">
                  <c:v>9.3823014258626977E-2</c:v>
                </c:pt>
                <c:pt idx="46">
                  <c:v>9.2752707700001311E-2</c:v>
                </c:pt>
                <c:pt idx="47">
                  <c:v>9.3823014258626977E-2</c:v>
                </c:pt>
                <c:pt idx="48">
                  <c:v>9.7483391321253082E-2</c:v>
                </c:pt>
                <c:pt idx="49">
                  <c:v>9.6817367619533204E-2</c:v>
                </c:pt>
                <c:pt idx="50">
                  <c:v>9.4849900830335829E-2</c:v>
                </c:pt>
                <c:pt idx="51">
                  <c:v>9.2724068564188786E-2</c:v>
                </c:pt>
                <c:pt idx="52">
                  <c:v>9.1379996895395055E-2</c:v>
                </c:pt>
                <c:pt idx="53">
                  <c:v>9.5315214213955238E-2</c:v>
                </c:pt>
                <c:pt idx="54">
                  <c:v>9.6865838850986472E-2</c:v>
                </c:pt>
                <c:pt idx="55">
                  <c:v>9.675071118029091E-2</c:v>
                </c:pt>
                <c:pt idx="56">
                  <c:v>9.5959172024778827E-2</c:v>
                </c:pt>
                <c:pt idx="57">
                  <c:v>9.5470212379986166E-2</c:v>
                </c:pt>
                <c:pt idx="58">
                  <c:v>9.5834704527290676E-2</c:v>
                </c:pt>
                <c:pt idx="59">
                  <c:v>9.8725016652775402E-2</c:v>
                </c:pt>
                <c:pt idx="60">
                  <c:v>9.7112467941624467E-2</c:v>
                </c:pt>
                <c:pt idx="61">
                  <c:v>9.7265248743914817E-2</c:v>
                </c:pt>
                <c:pt idx="62">
                  <c:v>9.6338956770438022E-2</c:v>
                </c:pt>
                <c:pt idx="63">
                  <c:v>9.5617192186318228E-2</c:v>
                </c:pt>
                <c:pt idx="64">
                  <c:v>9.3752960508047684E-2</c:v>
                </c:pt>
                <c:pt idx="65">
                  <c:v>9.7652844819734838E-2</c:v>
                </c:pt>
                <c:pt idx="66">
                  <c:v>9.9787451527590734E-2</c:v>
                </c:pt>
                <c:pt idx="67">
                  <c:v>0.10042674068693577</c:v>
                </c:pt>
                <c:pt idx="68">
                  <c:v>9.978453031502707E-2</c:v>
                </c:pt>
                <c:pt idx="69">
                  <c:v>0.10005320253295961</c:v>
                </c:pt>
                <c:pt idx="70">
                  <c:v>0.10021666363943019</c:v>
                </c:pt>
                <c:pt idx="71">
                  <c:v>0.10263825272364982</c:v>
                </c:pt>
                <c:pt idx="72">
                  <c:v>0.10374045801526717</c:v>
                </c:pt>
                <c:pt idx="73">
                  <c:v>0.10378891726592392</c:v>
                </c:pt>
                <c:pt idx="74">
                  <c:v>0.1027416016557873</c:v>
                </c:pt>
                <c:pt idx="75">
                  <c:v>0.10166319702365202</c:v>
                </c:pt>
                <c:pt idx="76">
                  <c:v>9.9461180034898664E-2</c:v>
                </c:pt>
                <c:pt idx="77">
                  <c:v>0.10393996247654784</c:v>
                </c:pt>
                <c:pt idx="78">
                  <c:v>0.10554132424222225</c:v>
                </c:pt>
                <c:pt idx="79">
                  <c:v>0.1061343348919243</c:v>
                </c:pt>
                <c:pt idx="80">
                  <c:v>0.10578259572604548</c:v>
                </c:pt>
                <c:pt idx="81">
                  <c:v>0.10597551921722412</c:v>
                </c:pt>
                <c:pt idx="82">
                  <c:v>0.10580813449815471</c:v>
                </c:pt>
                <c:pt idx="83">
                  <c:v>0.10803855467451688</c:v>
                </c:pt>
                <c:pt idx="84">
                  <c:v>0.10738930734428301</c:v>
                </c:pt>
                <c:pt idx="85">
                  <c:v>0.10579284336081389</c:v>
                </c:pt>
                <c:pt idx="86">
                  <c:v>0.1034789217164104</c:v>
                </c:pt>
                <c:pt idx="87">
                  <c:v>0.10112469222098376</c:v>
                </c:pt>
                <c:pt idx="88">
                  <c:v>9.9630682086977368E-2</c:v>
                </c:pt>
                <c:pt idx="89">
                  <c:v>0.10256579526450137</c:v>
                </c:pt>
                <c:pt idx="90">
                  <c:v>0.10397978720065283</c:v>
                </c:pt>
                <c:pt idx="91">
                  <c:v>0.10435366423733228</c:v>
                </c:pt>
                <c:pt idx="92">
                  <c:v>0.10365625834000534</c:v>
                </c:pt>
                <c:pt idx="93">
                  <c:v>0.10253758275751498</c:v>
                </c:pt>
                <c:pt idx="94">
                  <c:v>0.10197295988021315</c:v>
                </c:pt>
                <c:pt idx="95">
                  <c:v>0.10403602925022754</c:v>
                </c:pt>
                <c:pt idx="96">
                  <c:v>0.1047507776061848</c:v>
                </c:pt>
                <c:pt idx="97">
                  <c:v>0.10411328640015921</c:v>
                </c:pt>
                <c:pt idx="98">
                  <c:v>0.10193508970986123</c:v>
                </c:pt>
                <c:pt idx="99">
                  <c:v>0.100479873116178</c:v>
                </c:pt>
                <c:pt idx="100">
                  <c:v>9.9022750371354856E-2</c:v>
                </c:pt>
                <c:pt idx="101">
                  <c:v>0.10249181492223008</c:v>
                </c:pt>
                <c:pt idx="102">
                  <c:v>0.10394610800791212</c:v>
                </c:pt>
                <c:pt idx="103">
                  <c:v>0.10458105420188961</c:v>
                </c:pt>
                <c:pt idx="104">
                  <c:v>0.10413000080846274</c:v>
                </c:pt>
                <c:pt idx="105">
                  <c:v>0.10352231003796129</c:v>
                </c:pt>
                <c:pt idx="106">
                  <c:v>0.10286071936800739</c:v>
                </c:pt>
                <c:pt idx="107">
                  <c:v>0.1039656153685867</c:v>
                </c:pt>
                <c:pt idx="108">
                  <c:v>0.10465205501315171</c:v>
                </c:pt>
                <c:pt idx="109">
                  <c:v>0.10436066771669016</c:v>
                </c:pt>
                <c:pt idx="110">
                  <c:v>0.10296157122254374</c:v>
                </c:pt>
                <c:pt idx="111">
                  <c:v>0.10102373512317488</c:v>
                </c:pt>
                <c:pt idx="112">
                  <c:v>9.9397367186149319E-2</c:v>
                </c:pt>
                <c:pt idx="113">
                  <c:v>0.1006883965262642</c:v>
                </c:pt>
                <c:pt idx="114">
                  <c:v>0.10121208013162192</c:v>
                </c:pt>
                <c:pt idx="115">
                  <c:v>0.10119269531887885</c:v>
                </c:pt>
                <c:pt idx="116">
                  <c:v>0.1009821778028433</c:v>
                </c:pt>
                <c:pt idx="117">
                  <c:v>0.10104866767126749</c:v>
                </c:pt>
                <c:pt idx="118">
                  <c:v>0.10119823392212866</c:v>
                </c:pt>
                <c:pt idx="119">
                  <c:v>0.1027160038140937</c:v>
                </c:pt>
                <c:pt idx="120">
                  <c:v>0.10238253211894566</c:v>
                </c:pt>
                <c:pt idx="121">
                  <c:v>0.1027586601913065</c:v>
                </c:pt>
                <c:pt idx="122">
                  <c:v>0.10234733854696035</c:v>
                </c:pt>
                <c:pt idx="123">
                  <c:v>0.10118982907531558</c:v>
                </c:pt>
                <c:pt idx="124">
                  <c:v>0.10019529950963497</c:v>
                </c:pt>
                <c:pt idx="125">
                  <c:v>0.10260175299477478</c:v>
                </c:pt>
                <c:pt idx="126">
                  <c:v>0.1039067392456284</c:v>
                </c:pt>
                <c:pt idx="127">
                  <c:v>0.10323715862800395</c:v>
                </c:pt>
                <c:pt idx="128">
                  <c:v>0.10291010473965791</c:v>
                </c:pt>
                <c:pt idx="129">
                  <c:v>0.10237441077034896</c:v>
                </c:pt>
                <c:pt idx="130">
                  <c:v>0.10148558939045854</c:v>
                </c:pt>
                <c:pt idx="131">
                  <c:v>0.10253951597826545</c:v>
                </c:pt>
                <c:pt idx="132">
                  <c:v>0.10111385156289043</c:v>
                </c:pt>
                <c:pt idx="133">
                  <c:v>0.10039452896301548</c:v>
                </c:pt>
                <c:pt idx="134">
                  <c:v>9.8758554830494991E-2</c:v>
                </c:pt>
                <c:pt idx="135">
                  <c:v>9.68392697327808E-2</c:v>
                </c:pt>
                <c:pt idx="136">
                  <c:v>9.6150492310148009E-2</c:v>
                </c:pt>
                <c:pt idx="137">
                  <c:v>9.7257895948842404E-2</c:v>
                </c:pt>
                <c:pt idx="138">
                  <c:v>9.8458290704633966E-2</c:v>
                </c:pt>
                <c:pt idx="139">
                  <c:v>9.8455632606849697E-2</c:v>
                </c:pt>
                <c:pt idx="140">
                  <c:v>9.7542979414151854E-2</c:v>
                </c:pt>
                <c:pt idx="141">
                  <c:v>9.689795412055538E-2</c:v>
                </c:pt>
                <c:pt idx="142">
                  <c:v>9.5976797403012085E-2</c:v>
                </c:pt>
                <c:pt idx="143">
                  <c:v>9.6993966670505791E-2</c:v>
                </c:pt>
                <c:pt idx="144">
                  <c:v>9.6120172720699476E-2</c:v>
                </c:pt>
                <c:pt idx="145">
                  <c:v>9.6217277182876121E-2</c:v>
                </c:pt>
                <c:pt idx="146">
                  <c:v>9.6227773712878759E-2</c:v>
                </c:pt>
                <c:pt idx="147">
                  <c:v>9.4845384807756061E-2</c:v>
                </c:pt>
                <c:pt idx="148">
                  <c:v>9.4605797059294061E-2</c:v>
                </c:pt>
                <c:pt idx="149">
                  <c:v>9.7294522633613573E-2</c:v>
                </c:pt>
                <c:pt idx="150">
                  <c:v>9.8092279876218408E-2</c:v>
                </c:pt>
                <c:pt idx="151">
                  <c:v>9.8593751809936403E-2</c:v>
                </c:pt>
                <c:pt idx="152">
                  <c:v>9.7982508505224844E-2</c:v>
                </c:pt>
                <c:pt idx="153">
                  <c:v>9.8366591450892021E-2</c:v>
                </c:pt>
                <c:pt idx="154">
                  <c:v>9.9271940181031096E-2</c:v>
                </c:pt>
                <c:pt idx="155">
                  <c:v>0.10125109358803709</c:v>
                </c:pt>
                <c:pt idx="156">
                  <c:v>0.10087442146431438</c:v>
                </c:pt>
                <c:pt idx="157">
                  <c:v>9.9510812860262379E-2</c:v>
                </c:pt>
                <c:pt idx="158">
                  <c:v>0.10136042422932053</c:v>
                </c:pt>
                <c:pt idx="159">
                  <c:v>0.1073308860308767</c:v>
                </c:pt>
                <c:pt idx="160">
                  <c:v>0.11217073088468414</c:v>
                </c:pt>
                <c:pt idx="161">
                  <c:v>0.11935375951378628</c:v>
                </c:pt>
                <c:pt idx="162">
                  <c:v>0.12186802403000137</c:v>
                </c:pt>
                <c:pt idx="163">
                  <c:v>0.12053066792883593</c:v>
                </c:pt>
                <c:pt idx="164">
                  <c:v>0.11767860584510445</c:v>
                </c:pt>
                <c:pt idx="165">
                  <c:v>0.11543017482546857</c:v>
                </c:pt>
                <c:pt idx="166">
                  <c:v>0.11542769771883349</c:v>
                </c:pt>
                <c:pt idx="167">
                  <c:v>0.116429792197548</c:v>
                </c:pt>
                <c:pt idx="168">
                  <c:v>0.11445048877254693</c:v>
                </c:pt>
                <c:pt idx="169">
                  <c:v>0.11348840002511348</c:v>
                </c:pt>
                <c:pt idx="170">
                  <c:v>0.11089391898551201</c:v>
                </c:pt>
                <c:pt idx="171">
                  <c:v>0.10736019262166664</c:v>
                </c:pt>
                <c:pt idx="172">
                  <c:v>0.1047814893018794</c:v>
                </c:pt>
                <c:pt idx="173">
                  <c:v>0.10533391368547484</c:v>
                </c:pt>
                <c:pt idx="174">
                  <c:v>0.10512190283043824</c:v>
                </c:pt>
                <c:pt idx="175">
                  <c:v>0.10250295009299357</c:v>
                </c:pt>
                <c:pt idx="176">
                  <c:v>9.9823713329046285E-2</c:v>
                </c:pt>
                <c:pt idx="177">
                  <c:v>9.7017975559911582E-2</c:v>
                </c:pt>
                <c:pt idx="178">
                  <c:v>9.5743259046409832E-2</c:v>
                </c:pt>
                <c:pt idx="179">
                  <c:v>9.6145924944615768E-2</c:v>
                </c:pt>
                <c:pt idx="180">
                  <c:v>9.612525293177270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1E0-4C66-98D3-40B70A0376A5}"/>
            </c:ext>
          </c:extLst>
        </c:ser>
        <c:ser>
          <c:idx val="3"/>
          <c:order val="1"/>
          <c:tx>
            <c:v>  Sverige</c:v>
          </c:tx>
          <c:spPr>
            <a:ln w="57150" cap="rnd">
              <a:solidFill>
                <a:srgbClr val="8FB8CA"/>
              </a:solidFill>
              <a:round/>
            </a:ln>
            <a:effectLst/>
          </c:spPr>
          <c:marker>
            <c:symbol val="none"/>
          </c:marker>
          <c:dLbls>
            <c:dLbl>
              <c:idx val="180"/>
              <c:layout>
                <c:manualLayout>
                  <c:x val="-2.5878900443998413E-3"/>
                  <c:y val="-2.36425609626437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1E0-4C66-98D3-40B70A0376A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accent4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rbetslöshet!$A$5:$A$185</c:f>
              <c:numCache>
                <c:formatCode>General</c:formatCode>
                <c:ptCount val="181"/>
                <c:pt idx="0">
                  <c:v>200701</c:v>
                </c:pt>
                <c:pt idx="1">
                  <c:v>200702</c:v>
                </c:pt>
                <c:pt idx="2">
                  <c:v>200703</c:v>
                </c:pt>
                <c:pt idx="3">
                  <c:v>200704</c:v>
                </c:pt>
                <c:pt idx="4">
                  <c:v>200705</c:v>
                </c:pt>
                <c:pt idx="5">
                  <c:v>200706</c:v>
                </c:pt>
                <c:pt idx="6">
                  <c:v>200707</c:v>
                </c:pt>
                <c:pt idx="7">
                  <c:v>200708</c:v>
                </c:pt>
                <c:pt idx="8">
                  <c:v>200709</c:v>
                </c:pt>
                <c:pt idx="9">
                  <c:v>200710</c:v>
                </c:pt>
                <c:pt idx="10">
                  <c:v>200711</c:v>
                </c:pt>
                <c:pt idx="11">
                  <c:v>200712</c:v>
                </c:pt>
                <c:pt idx="12">
                  <c:v>200801</c:v>
                </c:pt>
                <c:pt idx="13">
                  <c:v>200802</c:v>
                </c:pt>
                <c:pt idx="14">
                  <c:v>200803</c:v>
                </c:pt>
                <c:pt idx="15">
                  <c:v>200804</c:v>
                </c:pt>
                <c:pt idx="16">
                  <c:v>200805</c:v>
                </c:pt>
                <c:pt idx="17">
                  <c:v>200806</c:v>
                </c:pt>
                <c:pt idx="18">
                  <c:v>200807</c:v>
                </c:pt>
                <c:pt idx="19">
                  <c:v>200808</c:v>
                </c:pt>
                <c:pt idx="20">
                  <c:v>200809</c:v>
                </c:pt>
                <c:pt idx="21">
                  <c:v>200810</c:v>
                </c:pt>
                <c:pt idx="22">
                  <c:v>200811</c:v>
                </c:pt>
                <c:pt idx="23">
                  <c:v>200812</c:v>
                </c:pt>
                <c:pt idx="24">
                  <c:v>200901</c:v>
                </c:pt>
                <c:pt idx="25">
                  <c:v>200902</c:v>
                </c:pt>
                <c:pt idx="26">
                  <c:v>200903</c:v>
                </c:pt>
                <c:pt idx="27">
                  <c:v>200904</c:v>
                </c:pt>
                <c:pt idx="28">
                  <c:v>200905</c:v>
                </c:pt>
                <c:pt idx="29">
                  <c:v>200906</c:v>
                </c:pt>
                <c:pt idx="30">
                  <c:v>200907</c:v>
                </c:pt>
                <c:pt idx="31">
                  <c:v>200908</c:v>
                </c:pt>
                <c:pt idx="32">
                  <c:v>200909</c:v>
                </c:pt>
                <c:pt idx="33">
                  <c:v>200910</c:v>
                </c:pt>
                <c:pt idx="34">
                  <c:v>200911</c:v>
                </c:pt>
                <c:pt idx="35">
                  <c:v>200912</c:v>
                </c:pt>
                <c:pt idx="36">
                  <c:v>201001</c:v>
                </c:pt>
                <c:pt idx="37">
                  <c:v>201002</c:v>
                </c:pt>
                <c:pt idx="38">
                  <c:v>201003</c:v>
                </c:pt>
                <c:pt idx="39">
                  <c:v>201004</c:v>
                </c:pt>
                <c:pt idx="40">
                  <c:v>201005</c:v>
                </c:pt>
                <c:pt idx="41">
                  <c:v>201006</c:v>
                </c:pt>
                <c:pt idx="42">
                  <c:v>201007</c:v>
                </c:pt>
                <c:pt idx="43">
                  <c:v>201008</c:v>
                </c:pt>
                <c:pt idx="44">
                  <c:v>201009</c:v>
                </c:pt>
                <c:pt idx="45">
                  <c:v>201010</c:v>
                </c:pt>
                <c:pt idx="46">
                  <c:v>201011</c:v>
                </c:pt>
                <c:pt idx="47">
                  <c:v>201012</c:v>
                </c:pt>
                <c:pt idx="48">
                  <c:v>201101</c:v>
                </c:pt>
                <c:pt idx="49">
                  <c:v>201102</c:v>
                </c:pt>
                <c:pt idx="50">
                  <c:v>201103</c:v>
                </c:pt>
                <c:pt idx="51">
                  <c:v>201104</c:v>
                </c:pt>
                <c:pt idx="52">
                  <c:v>201105</c:v>
                </c:pt>
                <c:pt idx="53">
                  <c:v>201106</c:v>
                </c:pt>
                <c:pt idx="54">
                  <c:v>201107</c:v>
                </c:pt>
                <c:pt idx="55">
                  <c:v>201108</c:v>
                </c:pt>
                <c:pt idx="56">
                  <c:v>201109</c:v>
                </c:pt>
                <c:pt idx="57">
                  <c:v>201110</c:v>
                </c:pt>
                <c:pt idx="58">
                  <c:v>201111</c:v>
                </c:pt>
                <c:pt idx="59">
                  <c:v>201112</c:v>
                </c:pt>
                <c:pt idx="60">
                  <c:v>201201</c:v>
                </c:pt>
                <c:pt idx="61">
                  <c:v>201202</c:v>
                </c:pt>
                <c:pt idx="62">
                  <c:v>201203</c:v>
                </c:pt>
                <c:pt idx="63">
                  <c:v>201204</c:v>
                </c:pt>
                <c:pt idx="64">
                  <c:v>201205</c:v>
                </c:pt>
                <c:pt idx="65">
                  <c:v>201206</c:v>
                </c:pt>
                <c:pt idx="66">
                  <c:v>201207</c:v>
                </c:pt>
                <c:pt idx="67">
                  <c:v>201208</c:v>
                </c:pt>
                <c:pt idx="68">
                  <c:v>201209</c:v>
                </c:pt>
                <c:pt idx="69">
                  <c:v>201210</c:v>
                </c:pt>
                <c:pt idx="70">
                  <c:v>201211</c:v>
                </c:pt>
                <c:pt idx="71">
                  <c:v>201212</c:v>
                </c:pt>
                <c:pt idx="72">
                  <c:v>201301</c:v>
                </c:pt>
                <c:pt idx="73">
                  <c:v>201302</c:v>
                </c:pt>
                <c:pt idx="74">
                  <c:v>201303</c:v>
                </c:pt>
                <c:pt idx="75">
                  <c:v>201304</c:v>
                </c:pt>
                <c:pt idx="76">
                  <c:v>201305</c:v>
                </c:pt>
                <c:pt idx="77">
                  <c:v>201306</c:v>
                </c:pt>
                <c:pt idx="78">
                  <c:v>201307</c:v>
                </c:pt>
                <c:pt idx="79">
                  <c:v>201308</c:v>
                </c:pt>
                <c:pt idx="80">
                  <c:v>201309</c:v>
                </c:pt>
                <c:pt idx="81">
                  <c:v>201310</c:v>
                </c:pt>
                <c:pt idx="82">
                  <c:v>201311</c:v>
                </c:pt>
                <c:pt idx="83">
                  <c:v>201312</c:v>
                </c:pt>
                <c:pt idx="84">
                  <c:v>201401</c:v>
                </c:pt>
                <c:pt idx="85">
                  <c:v>201402</c:v>
                </c:pt>
                <c:pt idx="86">
                  <c:v>201403</c:v>
                </c:pt>
                <c:pt idx="87">
                  <c:v>201404</c:v>
                </c:pt>
                <c:pt idx="88">
                  <c:v>201405</c:v>
                </c:pt>
                <c:pt idx="89">
                  <c:v>201406</c:v>
                </c:pt>
                <c:pt idx="90">
                  <c:v>201407</c:v>
                </c:pt>
                <c:pt idx="91">
                  <c:v>201408</c:v>
                </c:pt>
                <c:pt idx="92">
                  <c:v>201409</c:v>
                </c:pt>
                <c:pt idx="93">
                  <c:v>201410</c:v>
                </c:pt>
                <c:pt idx="94">
                  <c:v>201411</c:v>
                </c:pt>
                <c:pt idx="95">
                  <c:v>201412</c:v>
                </c:pt>
                <c:pt idx="96">
                  <c:v>201501</c:v>
                </c:pt>
                <c:pt idx="97">
                  <c:v>201502</c:v>
                </c:pt>
                <c:pt idx="98">
                  <c:v>201503</c:v>
                </c:pt>
                <c:pt idx="99">
                  <c:v>201504</c:v>
                </c:pt>
                <c:pt idx="100">
                  <c:v>201505</c:v>
                </c:pt>
                <c:pt idx="101">
                  <c:v>201506</c:v>
                </c:pt>
                <c:pt idx="102">
                  <c:v>201507</c:v>
                </c:pt>
                <c:pt idx="103">
                  <c:v>201508</c:v>
                </c:pt>
                <c:pt idx="104">
                  <c:v>201509</c:v>
                </c:pt>
                <c:pt idx="105">
                  <c:v>201510</c:v>
                </c:pt>
                <c:pt idx="106">
                  <c:v>201511</c:v>
                </c:pt>
                <c:pt idx="107">
                  <c:v>201512</c:v>
                </c:pt>
                <c:pt idx="108">
                  <c:v>201601</c:v>
                </c:pt>
                <c:pt idx="109">
                  <c:v>201602</c:v>
                </c:pt>
                <c:pt idx="110">
                  <c:v>201603</c:v>
                </c:pt>
                <c:pt idx="111">
                  <c:v>201604</c:v>
                </c:pt>
                <c:pt idx="112">
                  <c:v>201605</c:v>
                </c:pt>
                <c:pt idx="113">
                  <c:v>201606</c:v>
                </c:pt>
                <c:pt idx="114">
                  <c:v>201607</c:v>
                </c:pt>
                <c:pt idx="115">
                  <c:v>201608</c:v>
                </c:pt>
                <c:pt idx="116">
                  <c:v>201609</c:v>
                </c:pt>
                <c:pt idx="117">
                  <c:v>201610</c:v>
                </c:pt>
                <c:pt idx="118">
                  <c:v>201611</c:v>
                </c:pt>
                <c:pt idx="119">
                  <c:v>201612</c:v>
                </c:pt>
                <c:pt idx="120">
                  <c:v>201701</c:v>
                </c:pt>
                <c:pt idx="121">
                  <c:v>201702</c:v>
                </c:pt>
                <c:pt idx="122">
                  <c:v>201703</c:v>
                </c:pt>
                <c:pt idx="123">
                  <c:v>201704</c:v>
                </c:pt>
                <c:pt idx="124">
                  <c:v>201705</c:v>
                </c:pt>
                <c:pt idx="125">
                  <c:v>201706</c:v>
                </c:pt>
                <c:pt idx="126">
                  <c:v>201707</c:v>
                </c:pt>
                <c:pt idx="127">
                  <c:v>201708</c:v>
                </c:pt>
                <c:pt idx="128">
                  <c:v>201709</c:v>
                </c:pt>
                <c:pt idx="129">
                  <c:v>201710</c:v>
                </c:pt>
                <c:pt idx="130">
                  <c:v>201711</c:v>
                </c:pt>
                <c:pt idx="131">
                  <c:v>201712</c:v>
                </c:pt>
                <c:pt idx="132">
                  <c:v>201801</c:v>
                </c:pt>
                <c:pt idx="133">
                  <c:v>201802</c:v>
                </c:pt>
                <c:pt idx="134">
                  <c:v>201803</c:v>
                </c:pt>
                <c:pt idx="135">
                  <c:v>201804</c:v>
                </c:pt>
                <c:pt idx="136">
                  <c:v>201805</c:v>
                </c:pt>
                <c:pt idx="137">
                  <c:v>201806</c:v>
                </c:pt>
                <c:pt idx="138">
                  <c:v>201807</c:v>
                </c:pt>
                <c:pt idx="139">
                  <c:v>201808</c:v>
                </c:pt>
                <c:pt idx="140">
                  <c:v>201809</c:v>
                </c:pt>
                <c:pt idx="141">
                  <c:v>201810</c:v>
                </c:pt>
                <c:pt idx="142">
                  <c:v>201811</c:v>
                </c:pt>
                <c:pt idx="143">
                  <c:v>201812</c:v>
                </c:pt>
                <c:pt idx="144">
                  <c:v>201901</c:v>
                </c:pt>
                <c:pt idx="145">
                  <c:v>201902</c:v>
                </c:pt>
                <c:pt idx="146">
                  <c:v>201903</c:v>
                </c:pt>
                <c:pt idx="147">
                  <c:v>201904</c:v>
                </c:pt>
                <c:pt idx="148">
                  <c:v>201905</c:v>
                </c:pt>
                <c:pt idx="149">
                  <c:v>201906</c:v>
                </c:pt>
                <c:pt idx="150">
                  <c:v>201907</c:v>
                </c:pt>
                <c:pt idx="151">
                  <c:v>201908</c:v>
                </c:pt>
                <c:pt idx="152">
                  <c:v>201909</c:v>
                </c:pt>
                <c:pt idx="153">
                  <c:v>201910</c:v>
                </c:pt>
                <c:pt idx="154">
                  <c:v>201911</c:v>
                </c:pt>
                <c:pt idx="155">
                  <c:v>201912</c:v>
                </c:pt>
                <c:pt idx="156">
                  <c:v>202001</c:v>
                </c:pt>
                <c:pt idx="157">
                  <c:v>202002</c:v>
                </c:pt>
                <c:pt idx="158">
                  <c:v>202003</c:v>
                </c:pt>
                <c:pt idx="159">
                  <c:v>202004</c:v>
                </c:pt>
                <c:pt idx="160">
                  <c:v>202005</c:v>
                </c:pt>
                <c:pt idx="161">
                  <c:v>202006</c:v>
                </c:pt>
                <c:pt idx="162">
                  <c:v>202007</c:v>
                </c:pt>
                <c:pt idx="163">
                  <c:v>202008</c:v>
                </c:pt>
                <c:pt idx="164">
                  <c:v>202009</c:v>
                </c:pt>
                <c:pt idx="165">
                  <c:v>202010</c:v>
                </c:pt>
                <c:pt idx="166">
                  <c:v>202011</c:v>
                </c:pt>
                <c:pt idx="167">
                  <c:v>202012</c:v>
                </c:pt>
                <c:pt idx="168">
                  <c:v>202101</c:v>
                </c:pt>
                <c:pt idx="169">
                  <c:v>202102</c:v>
                </c:pt>
                <c:pt idx="170">
                  <c:v>202103</c:v>
                </c:pt>
                <c:pt idx="171">
                  <c:v>202104</c:v>
                </c:pt>
                <c:pt idx="172">
                  <c:v>202105</c:v>
                </c:pt>
                <c:pt idx="173">
                  <c:v>202106</c:v>
                </c:pt>
                <c:pt idx="174">
                  <c:v>202107</c:v>
                </c:pt>
                <c:pt idx="175">
                  <c:v>202108</c:v>
                </c:pt>
                <c:pt idx="176">
                  <c:v>202109</c:v>
                </c:pt>
                <c:pt idx="177">
                  <c:v>202110</c:v>
                </c:pt>
                <c:pt idx="178">
                  <c:v>202111</c:v>
                </c:pt>
                <c:pt idx="179">
                  <c:v>202112</c:v>
                </c:pt>
                <c:pt idx="180">
                  <c:v>202201</c:v>
                </c:pt>
              </c:numCache>
            </c:numRef>
          </c:cat>
          <c:val>
            <c:numRef>
              <c:f>Arbetslöshet!$R$5:$R$185</c:f>
              <c:numCache>
                <c:formatCode>0.0%</c:formatCode>
                <c:ptCount val="181"/>
                <c:pt idx="0">
                  <c:v>6.3299723183706608E-2</c:v>
                </c:pt>
                <c:pt idx="1">
                  <c:v>6.0846468915833202E-2</c:v>
                </c:pt>
                <c:pt idx="2">
                  <c:v>5.7187624292857557E-2</c:v>
                </c:pt>
                <c:pt idx="3">
                  <c:v>5.3115311830832034E-2</c:v>
                </c:pt>
                <c:pt idx="4">
                  <c:v>4.8738783591334857E-2</c:v>
                </c:pt>
                <c:pt idx="5">
                  <c:v>4.9946137063019869E-2</c:v>
                </c:pt>
                <c:pt idx="6">
                  <c:v>5.1061002749353317E-2</c:v>
                </c:pt>
                <c:pt idx="7">
                  <c:v>5.0423786895996477E-2</c:v>
                </c:pt>
                <c:pt idx="8">
                  <c:v>4.9039808862273562E-2</c:v>
                </c:pt>
                <c:pt idx="9">
                  <c:v>4.8719618985249735E-2</c:v>
                </c:pt>
                <c:pt idx="10">
                  <c:v>4.872072042030693E-2</c:v>
                </c:pt>
                <c:pt idx="11">
                  <c:v>5.1012994597346747E-2</c:v>
                </c:pt>
                <c:pt idx="12">
                  <c:v>5.1303788330348522E-2</c:v>
                </c:pt>
                <c:pt idx="13">
                  <c:v>5.0373890321743206E-2</c:v>
                </c:pt>
                <c:pt idx="14">
                  <c:v>4.8843373662876555E-2</c:v>
                </c:pt>
                <c:pt idx="15">
                  <c:v>4.6457278344720035E-2</c:v>
                </c:pt>
                <c:pt idx="16">
                  <c:v>4.4290913717346954E-2</c:v>
                </c:pt>
                <c:pt idx="17">
                  <c:v>4.5359077091708735E-2</c:v>
                </c:pt>
                <c:pt idx="18">
                  <c:v>4.7096639740493912E-2</c:v>
                </c:pt>
                <c:pt idx="19">
                  <c:v>4.8512703823248009E-2</c:v>
                </c:pt>
                <c:pt idx="20">
                  <c:v>4.9637375512330495E-2</c:v>
                </c:pt>
                <c:pt idx="21">
                  <c:v>5.1846278749706425E-2</c:v>
                </c:pt>
                <c:pt idx="22">
                  <c:v>5.4639326777477085E-2</c:v>
                </c:pt>
                <c:pt idx="23">
                  <c:v>6.0580784987622559E-2</c:v>
                </c:pt>
                <c:pt idx="24">
                  <c:v>6.4698628575307393E-2</c:v>
                </c:pt>
                <c:pt idx="25">
                  <c:v>6.7606129279997637E-2</c:v>
                </c:pt>
                <c:pt idx="26">
                  <c:v>7.0217381430768194E-2</c:v>
                </c:pt>
                <c:pt idx="27">
                  <c:v>7.159563022320968E-2</c:v>
                </c:pt>
                <c:pt idx="28">
                  <c:v>7.1511815254736599E-2</c:v>
                </c:pt>
                <c:pt idx="29">
                  <c:v>7.5077770560763452E-2</c:v>
                </c:pt>
                <c:pt idx="30">
                  <c:v>7.8400746367525129E-2</c:v>
                </c:pt>
                <c:pt idx="31">
                  <c:v>8.1271522975007809E-2</c:v>
                </c:pt>
                <c:pt idx="32">
                  <c:v>8.2285866033198179E-2</c:v>
                </c:pt>
                <c:pt idx="33">
                  <c:v>8.3822908561689891E-2</c:v>
                </c:pt>
                <c:pt idx="34">
                  <c:v>8.5283777466702501E-2</c:v>
                </c:pt>
                <c:pt idx="35">
                  <c:v>8.8811756786315629E-2</c:v>
                </c:pt>
                <c:pt idx="36">
                  <c:v>9.2304637595808148E-2</c:v>
                </c:pt>
                <c:pt idx="37">
                  <c:v>9.1891760805889386E-2</c:v>
                </c:pt>
                <c:pt idx="38">
                  <c:v>9.0651833844916735E-2</c:v>
                </c:pt>
                <c:pt idx="39">
                  <c:v>8.7237375710298784E-2</c:v>
                </c:pt>
                <c:pt idx="40">
                  <c:v>8.4055192386799329E-2</c:v>
                </c:pt>
                <c:pt idx="41">
                  <c:v>8.5202406246826817E-2</c:v>
                </c:pt>
                <c:pt idx="42">
                  <c:v>8.6184278654599961E-2</c:v>
                </c:pt>
                <c:pt idx="43">
                  <c:v>8.6396759312690516E-2</c:v>
                </c:pt>
                <c:pt idx="44">
                  <c:v>8.5320932943417457E-2</c:v>
                </c:pt>
                <c:pt idx="45">
                  <c:v>8.4808327136535203E-2</c:v>
                </c:pt>
                <c:pt idx="46">
                  <c:v>8.469219667615345E-2</c:v>
                </c:pt>
                <c:pt idx="47">
                  <c:v>8.6274827660616865E-2</c:v>
                </c:pt>
                <c:pt idx="48">
                  <c:v>8.9443437951225405E-2</c:v>
                </c:pt>
                <c:pt idx="49">
                  <c:v>8.7792400097547116E-2</c:v>
                </c:pt>
                <c:pt idx="50">
                  <c:v>8.5231967293331878E-2</c:v>
                </c:pt>
                <c:pt idx="51">
                  <c:v>8.1831759246628111E-2</c:v>
                </c:pt>
                <c:pt idx="52">
                  <c:v>7.8483765405855443E-2</c:v>
                </c:pt>
                <c:pt idx="53">
                  <c:v>7.9574095390842578E-2</c:v>
                </c:pt>
                <c:pt idx="54">
                  <c:v>8.0754697633426131E-2</c:v>
                </c:pt>
                <c:pt idx="55">
                  <c:v>8.1779263384199552E-2</c:v>
                </c:pt>
                <c:pt idx="56">
                  <c:v>8.1545289923474762E-2</c:v>
                </c:pt>
                <c:pt idx="57">
                  <c:v>8.2170304531173008E-2</c:v>
                </c:pt>
                <c:pt idx="58">
                  <c:v>8.3183635792164118E-2</c:v>
                </c:pt>
                <c:pt idx="59">
                  <c:v>8.6239556740747514E-2</c:v>
                </c:pt>
                <c:pt idx="60">
                  <c:v>8.6800060198135784E-2</c:v>
                </c:pt>
                <c:pt idx="61">
                  <c:v>8.6565993810764949E-2</c:v>
                </c:pt>
                <c:pt idx="62">
                  <c:v>8.490198114276104E-2</c:v>
                </c:pt>
                <c:pt idx="63">
                  <c:v>8.2645370998594647E-2</c:v>
                </c:pt>
                <c:pt idx="64">
                  <c:v>7.9679022898549917E-2</c:v>
                </c:pt>
                <c:pt idx="65">
                  <c:v>8.0650914213953151E-2</c:v>
                </c:pt>
                <c:pt idx="66">
                  <c:v>8.1405785335748021E-2</c:v>
                </c:pt>
                <c:pt idx="67">
                  <c:v>8.3633452263850883E-2</c:v>
                </c:pt>
                <c:pt idx="68">
                  <c:v>8.4321524270075304E-2</c:v>
                </c:pt>
                <c:pt idx="69">
                  <c:v>8.5637738856404397E-2</c:v>
                </c:pt>
                <c:pt idx="70">
                  <c:v>8.6323392457682946E-2</c:v>
                </c:pt>
                <c:pt idx="71">
                  <c:v>8.8529832443966019E-2</c:v>
                </c:pt>
                <c:pt idx="72">
                  <c:v>8.9014917441495922E-2</c:v>
                </c:pt>
                <c:pt idx="73">
                  <c:v>8.8523056142244608E-2</c:v>
                </c:pt>
                <c:pt idx="74">
                  <c:v>8.7459413744122305E-2</c:v>
                </c:pt>
                <c:pt idx="75">
                  <c:v>8.4744016662090485E-2</c:v>
                </c:pt>
                <c:pt idx="76">
                  <c:v>8.1408632688160815E-2</c:v>
                </c:pt>
                <c:pt idx="77">
                  <c:v>8.2345727687860693E-2</c:v>
                </c:pt>
                <c:pt idx="78">
                  <c:v>8.3607874333609306E-2</c:v>
                </c:pt>
                <c:pt idx="79">
                  <c:v>8.5078254764907948E-2</c:v>
                </c:pt>
                <c:pt idx="80">
                  <c:v>8.5044977376503322E-2</c:v>
                </c:pt>
                <c:pt idx="81">
                  <c:v>8.4998152765744267E-2</c:v>
                </c:pt>
                <c:pt idx="82">
                  <c:v>8.5014212986283547E-2</c:v>
                </c:pt>
                <c:pt idx="83">
                  <c:v>8.6735188177348224E-2</c:v>
                </c:pt>
                <c:pt idx="84">
                  <c:v>8.6179753181481494E-2</c:v>
                </c:pt>
                <c:pt idx="85">
                  <c:v>8.4763586258926091E-2</c:v>
                </c:pt>
                <c:pt idx="86">
                  <c:v>8.2495698556521696E-2</c:v>
                </c:pt>
                <c:pt idx="87">
                  <c:v>7.9519044344172174E-2</c:v>
                </c:pt>
                <c:pt idx="88">
                  <c:v>7.6715508548210132E-2</c:v>
                </c:pt>
                <c:pt idx="89">
                  <c:v>7.6392359220272488E-2</c:v>
                </c:pt>
                <c:pt idx="90">
                  <c:v>7.6912411315513754E-2</c:v>
                </c:pt>
                <c:pt idx="91">
                  <c:v>7.8310557789776164E-2</c:v>
                </c:pt>
                <c:pt idx="92">
                  <c:v>7.8336232955749319E-2</c:v>
                </c:pt>
                <c:pt idx="93">
                  <c:v>7.8657634982145272E-2</c:v>
                </c:pt>
                <c:pt idx="94">
                  <c:v>7.8986193696524515E-2</c:v>
                </c:pt>
                <c:pt idx="95">
                  <c:v>8.1022834562992474E-2</c:v>
                </c:pt>
                <c:pt idx="96">
                  <c:v>8.1489549917940926E-2</c:v>
                </c:pt>
                <c:pt idx="97">
                  <c:v>8.0775246714142435E-2</c:v>
                </c:pt>
                <c:pt idx="98">
                  <c:v>7.8984618644556734E-2</c:v>
                </c:pt>
                <c:pt idx="99">
                  <c:v>7.6882736090597426E-2</c:v>
                </c:pt>
                <c:pt idx="100">
                  <c:v>7.4858199558503549E-2</c:v>
                </c:pt>
                <c:pt idx="101">
                  <c:v>7.4633352950798384E-2</c:v>
                </c:pt>
                <c:pt idx="102">
                  <c:v>7.5949481658885223E-2</c:v>
                </c:pt>
                <c:pt idx="103">
                  <c:v>7.7174973692165333E-2</c:v>
                </c:pt>
                <c:pt idx="104">
                  <c:v>7.7516071476226522E-2</c:v>
                </c:pt>
                <c:pt idx="105">
                  <c:v>7.8120275110373422E-2</c:v>
                </c:pt>
                <c:pt idx="106">
                  <c:v>7.8492011964054101E-2</c:v>
                </c:pt>
                <c:pt idx="107">
                  <c:v>7.9885528694118316E-2</c:v>
                </c:pt>
                <c:pt idx="108">
                  <c:v>8.0162071764302803E-2</c:v>
                </c:pt>
                <c:pt idx="109">
                  <c:v>7.9267557975108704E-2</c:v>
                </c:pt>
                <c:pt idx="110">
                  <c:v>7.7587930479126127E-2</c:v>
                </c:pt>
                <c:pt idx="111">
                  <c:v>7.533416902584697E-2</c:v>
                </c:pt>
                <c:pt idx="112">
                  <c:v>7.2929719028657011E-2</c:v>
                </c:pt>
                <c:pt idx="113">
                  <c:v>7.2449272238914605E-2</c:v>
                </c:pt>
                <c:pt idx="114">
                  <c:v>7.3221786244843892E-2</c:v>
                </c:pt>
                <c:pt idx="115">
                  <c:v>7.4253227534682623E-2</c:v>
                </c:pt>
                <c:pt idx="116">
                  <c:v>7.478308257374941E-2</c:v>
                </c:pt>
                <c:pt idx="117">
                  <c:v>7.5508059962965085E-2</c:v>
                </c:pt>
                <c:pt idx="118">
                  <c:v>7.6106517342144908E-2</c:v>
                </c:pt>
                <c:pt idx="119">
                  <c:v>7.7602930228204303E-2</c:v>
                </c:pt>
                <c:pt idx="120">
                  <c:v>7.7673690985785526E-2</c:v>
                </c:pt>
                <c:pt idx="121">
                  <c:v>7.7593040750935482E-2</c:v>
                </c:pt>
                <c:pt idx="122">
                  <c:v>7.6528310851258274E-2</c:v>
                </c:pt>
                <c:pt idx="123">
                  <c:v>7.5019806567691125E-2</c:v>
                </c:pt>
                <c:pt idx="124">
                  <c:v>7.2804417255787471E-2</c:v>
                </c:pt>
                <c:pt idx="125">
                  <c:v>7.2388902948482575E-2</c:v>
                </c:pt>
                <c:pt idx="126">
                  <c:v>7.3320086131557258E-2</c:v>
                </c:pt>
                <c:pt idx="127">
                  <c:v>7.3696771461988109E-2</c:v>
                </c:pt>
                <c:pt idx="128">
                  <c:v>7.4028505043028742E-2</c:v>
                </c:pt>
                <c:pt idx="129">
                  <c:v>7.4295170147539336E-2</c:v>
                </c:pt>
                <c:pt idx="130">
                  <c:v>7.4427873198040007E-2</c:v>
                </c:pt>
                <c:pt idx="131">
                  <c:v>7.5291038759485743E-2</c:v>
                </c:pt>
                <c:pt idx="132">
                  <c:v>7.4418919141910872E-2</c:v>
                </c:pt>
                <c:pt idx="133">
                  <c:v>7.3704430281217717E-2</c:v>
                </c:pt>
                <c:pt idx="134">
                  <c:v>7.2453988880658765E-2</c:v>
                </c:pt>
                <c:pt idx="135">
                  <c:v>7.0760884673694152E-2</c:v>
                </c:pt>
                <c:pt idx="136">
                  <c:v>6.8439187130978074E-2</c:v>
                </c:pt>
                <c:pt idx="137">
                  <c:v>6.8163073376698496E-2</c:v>
                </c:pt>
                <c:pt idx="138">
                  <c:v>6.8631596170092471E-2</c:v>
                </c:pt>
                <c:pt idx="139">
                  <c:v>6.9206839776518952E-2</c:v>
                </c:pt>
                <c:pt idx="140">
                  <c:v>6.9351481197907988E-2</c:v>
                </c:pt>
                <c:pt idx="141">
                  <c:v>6.8950593592664741E-2</c:v>
                </c:pt>
                <c:pt idx="142">
                  <c:v>6.8697034852795533E-2</c:v>
                </c:pt>
                <c:pt idx="143">
                  <c:v>6.9664528601933826E-2</c:v>
                </c:pt>
                <c:pt idx="144">
                  <c:v>6.9610813042341707E-2</c:v>
                </c:pt>
                <c:pt idx="145">
                  <c:v>6.9425030898924545E-2</c:v>
                </c:pt>
                <c:pt idx="146">
                  <c:v>6.8766780332029959E-2</c:v>
                </c:pt>
                <c:pt idx="147">
                  <c:v>6.7376333421277745E-2</c:v>
                </c:pt>
                <c:pt idx="148">
                  <c:v>6.6210343793937601E-2</c:v>
                </c:pt>
                <c:pt idx="149">
                  <c:v>6.7232514059125739E-2</c:v>
                </c:pt>
                <c:pt idx="150">
                  <c:v>6.8629891357463266E-2</c:v>
                </c:pt>
                <c:pt idx="151">
                  <c:v>6.9675504176358372E-2</c:v>
                </c:pt>
                <c:pt idx="152">
                  <c:v>7.0374669029085624E-2</c:v>
                </c:pt>
                <c:pt idx="153">
                  <c:v>7.1136902249393397E-2</c:v>
                </c:pt>
                <c:pt idx="154">
                  <c:v>7.2304820195523992E-2</c:v>
                </c:pt>
                <c:pt idx="155">
                  <c:v>7.4079016560133687E-2</c:v>
                </c:pt>
                <c:pt idx="156">
                  <c:v>7.4414428082753656E-2</c:v>
                </c:pt>
                <c:pt idx="157">
                  <c:v>7.3849466473954087E-2</c:v>
                </c:pt>
                <c:pt idx="158">
                  <c:v>7.60196727701513E-2</c:v>
                </c:pt>
                <c:pt idx="159">
                  <c:v>8.1438923822366574E-2</c:v>
                </c:pt>
                <c:pt idx="160">
                  <c:v>8.5108943004368179E-2</c:v>
                </c:pt>
                <c:pt idx="161">
                  <c:v>8.9911379572201175E-2</c:v>
                </c:pt>
                <c:pt idx="162">
                  <c:v>9.1938600804653381E-2</c:v>
                </c:pt>
                <c:pt idx="163">
                  <c:v>9.144256367511204E-2</c:v>
                </c:pt>
                <c:pt idx="164">
                  <c:v>8.9544103177451012E-2</c:v>
                </c:pt>
                <c:pt idx="165">
                  <c:v>8.7893586599965767E-2</c:v>
                </c:pt>
                <c:pt idx="166">
                  <c:v>8.7153003184771247E-2</c:v>
                </c:pt>
                <c:pt idx="167">
                  <c:v>8.8145991744514443E-2</c:v>
                </c:pt>
                <c:pt idx="168">
                  <c:v>8.7910432055252716E-2</c:v>
                </c:pt>
                <c:pt idx="169">
                  <c:v>8.6857978893043447E-2</c:v>
                </c:pt>
                <c:pt idx="170">
                  <c:v>8.4404135114559575E-2</c:v>
                </c:pt>
                <c:pt idx="171">
                  <c:v>8.1764438066321207E-2</c:v>
                </c:pt>
                <c:pt idx="172">
                  <c:v>7.9319846810538497E-2</c:v>
                </c:pt>
                <c:pt idx="173">
                  <c:v>7.8705864083513294E-2</c:v>
                </c:pt>
                <c:pt idx="174">
                  <c:v>7.8780146763387585E-2</c:v>
                </c:pt>
                <c:pt idx="175">
                  <c:v>7.7173113877920516E-2</c:v>
                </c:pt>
                <c:pt idx="176">
                  <c:v>7.5088359410252978E-2</c:v>
                </c:pt>
                <c:pt idx="177">
                  <c:v>7.3165430362224296E-2</c:v>
                </c:pt>
                <c:pt idx="178">
                  <c:v>7.1859729695693875E-2</c:v>
                </c:pt>
                <c:pt idx="179">
                  <c:v>7.1984712903500975E-2</c:v>
                </c:pt>
                <c:pt idx="180">
                  <c:v>7.265496582175416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1E0-4C66-98D3-40B70A0376A5}"/>
            </c:ext>
          </c:extLst>
        </c:ser>
        <c:ser>
          <c:idx val="2"/>
          <c:order val="3"/>
          <c:tx>
            <c:v>  Stockholmsregionen</c:v>
          </c:tx>
          <c:spPr>
            <a:ln w="571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180"/>
              <c:layout>
                <c:manualLayout>
                  <c:x val="-1.8397277507330612E-3"/>
                  <c:y val="-7.055468344455354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1E0-4C66-98D3-40B70A0376A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accent2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Arbetslöshet!$A$5:$A$185</c:f>
              <c:numCache>
                <c:formatCode>General</c:formatCode>
                <c:ptCount val="181"/>
                <c:pt idx="0">
                  <c:v>200701</c:v>
                </c:pt>
                <c:pt idx="1">
                  <c:v>200702</c:v>
                </c:pt>
                <c:pt idx="2">
                  <c:v>200703</c:v>
                </c:pt>
                <c:pt idx="3">
                  <c:v>200704</c:v>
                </c:pt>
                <c:pt idx="4">
                  <c:v>200705</c:v>
                </c:pt>
                <c:pt idx="5">
                  <c:v>200706</c:v>
                </c:pt>
                <c:pt idx="6">
                  <c:v>200707</c:v>
                </c:pt>
                <c:pt idx="7">
                  <c:v>200708</c:v>
                </c:pt>
                <c:pt idx="8">
                  <c:v>200709</c:v>
                </c:pt>
                <c:pt idx="9">
                  <c:v>200710</c:v>
                </c:pt>
                <c:pt idx="10">
                  <c:v>200711</c:v>
                </c:pt>
                <c:pt idx="11">
                  <c:v>200712</c:v>
                </c:pt>
                <c:pt idx="12">
                  <c:v>200801</c:v>
                </c:pt>
                <c:pt idx="13">
                  <c:v>200802</c:v>
                </c:pt>
                <c:pt idx="14">
                  <c:v>200803</c:v>
                </c:pt>
                <c:pt idx="15">
                  <c:v>200804</c:v>
                </c:pt>
                <c:pt idx="16">
                  <c:v>200805</c:v>
                </c:pt>
                <c:pt idx="17">
                  <c:v>200806</c:v>
                </c:pt>
                <c:pt idx="18">
                  <c:v>200807</c:v>
                </c:pt>
                <c:pt idx="19">
                  <c:v>200808</c:v>
                </c:pt>
                <c:pt idx="20">
                  <c:v>200809</c:v>
                </c:pt>
                <c:pt idx="21">
                  <c:v>200810</c:v>
                </c:pt>
                <c:pt idx="22">
                  <c:v>200811</c:v>
                </c:pt>
                <c:pt idx="23">
                  <c:v>200812</c:v>
                </c:pt>
                <c:pt idx="24">
                  <c:v>200901</c:v>
                </c:pt>
                <c:pt idx="25">
                  <c:v>200902</c:v>
                </c:pt>
                <c:pt idx="26">
                  <c:v>200903</c:v>
                </c:pt>
                <c:pt idx="27">
                  <c:v>200904</c:v>
                </c:pt>
                <c:pt idx="28">
                  <c:v>200905</c:v>
                </c:pt>
                <c:pt idx="29">
                  <c:v>200906</c:v>
                </c:pt>
                <c:pt idx="30">
                  <c:v>200907</c:v>
                </c:pt>
                <c:pt idx="31">
                  <c:v>200908</c:v>
                </c:pt>
                <c:pt idx="32">
                  <c:v>200909</c:v>
                </c:pt>
                <c:pt idx="33">
                  <c:v>200910</c:v>
                </c:pt>
                <c:pt idx="34">
                  <c:v>200911</c:v>
                </c:pt>
                <c:pt idx="35">
                  <c:v>200912</c:v>
                </c:pt>
                <c:pt idx="36">
                  <c:v>201001</c:v>
                </c:pt>
                <c:pt idx="37">
                  <c:v>201002</c:v>
                </c:pt>
                <c:pt idx="38">
                  <c:v>201003</c:v>
                </c:pt>
                <c:pt idx="39">
                  <c:v>201004</c:v>
                </c:pt>
                <c:pt idx="40">
                  <c:v>201005</c:v>
                </c:pt>
                <c:pt idx="41">
                  <c:v>201006</c:v>
                </c:pt>
                <c:pt idx="42">
                  <c:v>201007</c:v>
                </c:pt>
                <c:pt idx="43">
                  <c:v>201008</c:v>
                </c:pt>
                <c:pt idx="44">
                  <c:v>201009</c:v>
                </c:pt>
                <c:pt idx="45">
                  <c:v>201010</c:v>
                </c:pt>
                <c:pt idx="46">
                  <c:v>201011</c:v>
                </c:pt>
                <c:pt idx="47">
                  <c:v>201012</c:v>
                </c:pt>
                <c:pt idx="48">
                  <c:v>201101</c:v>
                </c:pt>
                <c:pt idx="49">
                  <c:v>201102</c:v>
                </c:pt>
                <c:pt idx="50">
                  <c:v>201103</c:v>
                </c:pt>
                <c:pt idx="51">
                  <c:v>201104</c:v>
                </c:pt>
                <c:pt idx="52">
                  <c:v>201105</c:v>
                </c:pt>
                <c:pt idx="53">
                  <c:v>201106</c:v>
                </c:pt>
                <c:pt idx="54">
                  <c:v>201107</c:v>
                </c:pt>
                <c:pt idx="55">
                  <c:v>201108</c:v>
                </c:pt>
                <c:pt idx="56">
                  <c:v>201109</c:v>
                </c:pt>
                <c:pt idx="57">
                  <c:v>201110</c:v>
                </c:pt>
                <c:pt idx="58">
                  <c:v>201111</c:v>
                </c:pt>
                <c:pt idx="59">
                  <c:v>201112</c:v>
                </c:pt>
                <c:pt idx="60">
                  <c:v>201201</c:v>
                </c:pt>
                <c:pt idx="61">
                  <c:v>201202</c:v>
                </c:pt>
                <c:pt idx="62">
                  <c:v>201203</c:v>
                </c:pt>
                <c:pt idx="63">
                  <c:v>201204</c:v>
                </c:pt>
                <c:pt idx="64">
                  <c:v>201205</c:v>
                </c:pt>
                <c:pt idx="65">
                  <c:v>201206</c:v>
                </c:pt>
                <c:pt idx="66">
                  <c:v>201207</c:v>
                </c:pt>
                <c:pt idx="67">
                  <c:v>201208</c:v>
                </c:pt>
                <c:pt idx="68">
                  <c:v>201209</c:v>
                </c:pt>
                <c:pt idx="69">
                  <c:v>201210</c:v>
                </c:pt>
                <c:pt idx="70">
                  <c:v>201211</c:v>
                </c:pt>
                <c:pt idx="71">
                  <c:v>201212</c:v>
                </c:pt>
                <c:pt idx="72">
                  <c:v>201301</c:v>
                </c:pt>
                <c:pt idx="73">
                  <c:v>201302</c:v>
                </c:pt>
                <c:pt idx="74">
                  <c:v>201303</c:v>
                </c:pt>
                <c:pt idx="75">
                  <c:v>201304</c:v>
                </c:pt>
                <c:pt idx="76">
                  <c:v>201305</c:v>
                </c:pt>
                <c:pt idx="77">
                  <c:v>201306</c:v>
                </c:pt>
                <c:pt idx="78">
                  <c:v>201307</c:v>
                </c:pt>
                <c:pt idx="79">
                  <c:v>201308</c:v>
                </c:pt>
                <c:pt idx="80">
                  <c:v>201309</c:v>
                </c:pt>
                <c:pt idx="81">
                  <c:v>201310</c:v>
                </c:pt>
                <c:pt idx="82">
                  <c:v>201311</c:v>
                </c:pt>
                <c:pt idx="83">
                  <c:v>201312</c:v>
                </c:pt>
                <c:pt idx="84">
                  <c:v>201401</c:v>
                </c:pt>
                <c:pt idx="85">
                  <c:v>201402</c:v>
                </c:pt>
                <c:pt idx="86">
                  <c:v>201403</c:v>
                </c:pt>
                <c:pt idx="87">
                  <c:v>201404</c:v>
                </c:pt>
                <c:pt idx="88">
                  <c:v>201405</c:v>
                </c:pt>
                <c:pt idx="89">
                  <c:v>201406</c:v>
                </c:pt>
                <c:pt idx="90">
                  <c:v>201407</c:v>
                </c:pt>
                <c:pt idx="91">
                  <c:v>201408</c:v>
                </c:pt>
                <c:pt idx="92">
                  <c:v>201409</c:v>
                </c:pt>
                <c:pt idx="93">
                  <c:v>201410</c:v>
                </c:pt>
                <c:pt idx="94">
                  <c:v>201411</c:v>
                </c:pt>
                <c:pt idx="95">
                  <c:v>201412</c:v>
                </c:pt>
                <c:pt idx="96">
                  <c:v>201501</c:v>
                </c:pt>
                <c:pt idx="97">
                  <c:v>201502</c:v>
                </c:pt>
                <c:pt idx="98">
                  <c:v>201503</c:v>
                </c:pt>
                <c:pt idx="99">
                  <c:v>201504</c:v>
                </c:pt>
                <c:pt idx="100">
                  <c:v>201505</c:v>
                </c:pt>
                <c:pt idx="101">
                  <c:v>201506</c:v>
                </c:pt>
                <c:pt idx="102">
                  <c:v>201507</c:v>
                </c:pt>
                <c:pt idx="103">
                  <c:v>201508</c:v>
                </c:pt>
                <c:pt idx="104">
                  <c:v>201509</c:v>
                </c:pt>
                <c:pt idx="105">
                  <c:v>201510</c:v>
                </c:pt>
                <c:pt idx="106">
                  <c:v>201511</c:v>
                </c:pt>
                <c:pt idx="107">
                  <c:v>201512</c:v>
                </c:pt>
                <c:pt idx="108">
                  <c:v>201601</c:v>
                </c:pt>
                <c:pt idx="109">
                  <c:v>201602</c:v>
                </c:pt>
                <c:pt idx="110">
                  <c:v>201603</c:v>
                </c:pt>
                <c:pt idx="111">
                  <c:v>201604</c:v>
                </c:pt>
                <c:pt idx="112">
                  <c:v>201605</c:v>
                </c:pt>
                <c:pt idx="113">
                  <c:v>201606</c:v>
                </c:pt>
                <c:pt idx="114">
                  <c:v>201607</c:v>
                </c:pt>
                <c:pt idx="115">
                  <c:v>201608</c:v>
                </c:pt>
                <c:pt idx="116">
                  <c:v>201609</c:v>
                </c:pt>
                <c:pt idx="117">
                  <c:v>201610</c:v>
                </c:pt>
                <c:pt idx="118">
                  <c:v>201611</c:v>
                </c:pt>
                <c:pt idx="119">
                  <c:v>201612</c:v>
                </c:pt>
                <c:pt idx="120">
                  <c:v>201701</c:v>
                </c:pt>
                <c:pt idx="121">
                  <c:v>201702</c:v>
                </c:pt>
                <c:pt idx="122">
                  <c:v>201703</c:v>
                </c:pt>
                <c:pt idx="123">
                  <c:v>201704</c:v>
                </c:pt>
                <c:pt idx="124">
                  <c:v>201705</c:v>
                </c:pt>
                <c:pt idx="125">
                  <c:v>201706</c:v>
                </c:pt>
                <c:pt idx="126">
                  <c:v>201707</c:v>
                </c:pt>
                <c:pt idx="127">
                  <c:v>201708</c:v>
                </c:pt>
                <c:pt idx="128">
                  <c:v>201709</c:v>
                </c:pt>
                <c:pt idx="129">
                  <c:v>201710</c:v>
                </c:pt>
                <c:pt idx="130">
                  <c:v>201711</c:v>
                </c:pt>
                <c:pt idx="131">
                  <c:v>201712</c:v>
                </c:pt>
                <c:pt idx="132">
                  <c:v>201801</c:v>
                </c:pt>
                <c:pt idx="133">
                  <c:v>201802</c:v>
                </c:pt>
                <c:pt idx="134">
                  <c:v>201803</c:v>
                </c:pt>
                <c:pt idx="135">
                  <c:v>201804</c:v>
                </c:pt>
                <c:pt idx="136">
                  <c:v>201805</c:v>
                </c:pt>
                <c:pt idx="137">
                  <c:v>201806</c:v>
                </c:pt>
                <c:pt idx="138">
                  <c:v>201807</c:v>
                </c:pt>
                <c:pt idx="139">
                  <c:v>201808</c:v>
                </c:pt>
                <c:pt idx="140">
                  <c:v>201809</c:v>
                </c:pt>
                <c:pt idx="141">
                  <c:v>201810</c:v>
                </c:pt>
                <c:pt idx="142">
                  <c:v>201811</c:v>
                </c:pt>
                <c:pt idx="143">
                  <c:v>201812</c:v>
                </c:pt>
                <c:pt idx="144">
                  <c:v>201901</c:v>
                </c:pt>
                <c:pt idx="145">
                  <c:v>201902</c:v>
                </c:pt>
                <c:pt idx="146">
                  <c:v>201903</c:v>
                </c:pt>
                <c:pt idx="147">
                  <c:v>201904</c:v>
                </c:pt>
                <c:pt idx="148">
                  <c:v>201905</c:v>
                </c:pt>
                <c:pt idx="149">
                  <c:v>201906</c:v>
                </c:pt>
                <c:pt idx="150">
                  <c:v>201907</c:v>
                </c:pt>
                <c:pt idx="151">
                  <c:v>201908</c:v>
                </c:pt>
                <c:pt idx="152">
                  <c:v>201909</c:v>
                </c:pt>
                <c:pt idx="153">
                  <c:v>201910</c:v>
                </c:pt>
                <c:pt idx="154">
                  <c:v>201911</c:v>
                </c:pt>
                <c:pt idx="155">
                  <c:v>201912</c:v>
                </c:pt>
                <c:pt idx="156">
                  <c:v>202001</c:v>
                </c:pt>
                <c:pt idx="157">
                  <c:v>202002</c:v>
                </c:pt>
                <c:pt idx="158">
                  <c:v>202003</c:v>
                </c:pt>
                <c:pt idx="159">
                  <c:v>202004</c:v>
                </c:pt>
                <c:pt idx="160">
                  <c:v>202005</c:v>
                </c:pt>
                <c:pt idx="161">
                  <c:v>202006</c:v>
                </c:pt>
                <c:pt idx="162">
                  <c:v>202007</c:v>
                </c:pt>
                <c:pt idx="163">
                  <c:v>202008</c:v>
                </c:pt>
                <c:pt idx="164">
                  <c:v>202009</c:v>
                </c:pt>
                <c:pt idx="165">
                  <c:v>202010</c:v>
                </c:pt>
                <c:pt idx="166">
                  <c:v>202011</c:v>
                </c:pt>
                <c:pt idx="167">
                  <c:v>202012</c:v>
                </c:pt>
                <c:pt idx="168">
                  <c:v>202101</c:v>
                </c:pt>
                <c:pt idx="169">
                  <c:v>202102</c:v>
                </c:pt>
                <c:pt idx="170">
                  <c:v>202103</c:v>
                </c:pt>
                <c:pt idx="171">
                  <c:v>202104</c:v>
                </c:pt>
                <c:pt idx="172">
                  <c:v>202105</c:v>
                </c:pt>
                <c:pt idx="173">
                  <c:v>202106</c:v>
                </c:pt>
                <c:pt idx="174">
                  <c:v>202107</c:v>
                </c:pt>
                <c:pt idx="175">
                  <c:v>202108</c:v>
                </c:pt>
                <c:pt idx="176">
                  <c:v>202109</c:v>
                </c:pt>
                <c:pt idx="177">
                  <c:v>202110</c:v>
                </c:pt>
                <c:pt idx="178">
                  <c:v>202111</c:v>
                </c:pt>
                <c:pt idx="179">
                  <c:v>202112</c:v>
                </c:pt>
                <c:pt idx="180">
                  <c:v>202201</c:v>
                </c:pt>
              </c:numCache>
            </c:numRef>
          </c:cat>
          <c:val>
            <c:numRef>
              <c:f>Arbetslöshet!$Q$5:$Q$185</c:f>
              <c:numCache>
                <c:formatCode>0.0%</c:formatCode>
                <c:ptCount val="181"/>
                <c:pt idx="0">
                  <c:v>4.7345380741696884E-2</c:v>
                </c:pt>
                <c:pt idx="1">
                  <c:v>4.5683022920731807E-2</c:v>
                </c:pt>
                <c:pt idx="2">
                  <c:v>4.3411619493872192E-2</c:v>
                </c:pt>
                <c:pt idx="3">
                  <c:v>4.1137573627848291E-2</c:v>
                </c:pt>
                <c:pt idx="4">
                  <c:v>3.9163456576527193E-2</c:v>
                </c:pt>
                <c:pt idx="5">
                  <c:v>4.1154989347994712E-2</c:v>
                </c:pt>
                <c:pt idx="6">
                  <c:v>4.2581950117829795E-2</c:v>
                </c:pt>
                <c:pt idx="7">
                  <c:v>4.0536856498651339E-2</c:v>
                </c:pt>
                <c:pt idx="8">
                  <c:v>3.8598370621916796E-2</c:v>
                </c:pt>
                <c:pt idx="9">
                  <c:v>3.7604515072582813E-2</c:v>
                </c:pt>
                <c:pt idx="10">
                  <c:v>3.6932190112354726E-2</c:v>
                </c:pt>
                <c:pt idx="11">
                  <c:v>3.7616899348334051E-2</c:v>
                </c:pt>
                <c:pt idx="12">
                  <c:v>3.7515998321282738E-2</c:v>
                </c:pt>
                <c:pt idx="13">
                  <c:v>3.6946344076049638E-2</c:v>
                </c:pt>
                <c:pt idx="14">
                  <c:v>3.6324772957135557E-2</c:v>
                </c:pt>
                <c:pt idx="15">
                  <c:v>3.5087279712686881E-2</c:v>
                </c:pt>
                <c:pt idx="16">
                  <c:v>3.4395718975211931E-2</c:v>
                </c:pt>
                <c:pt idx="17">
                  <c:v>3.6178049563886192E-2</c:v>
                </c:pt>
                <c:pt idx="18">
                  <c:v>3.736261904960296E-2</c:v>
                </c:pt>
                <c:pt idx="19">
                  <c:v>3.6906202163499366E-2</c:v>
                </c:pt>
                <c:pt idx="20">
                  <c:v>3.6819885718811583E-2</c:v>
                </c:pt>
                <c:pt idx="21">
                  <c:v>3.7790555432359811E-2</c:v>
                </c:pt>
                <c:pt idx="22">
                  <c:v>3.8996148631225198E-2</c:v>
                </c:pt>
                <c:pt idx="23">
                  <c:v>4.1662691878574715E-2</c:v>
                </c:pt>
                <c:pt idx="24">
                  <c:v>4.4059099975518823E-2</c:v>
                </c:pt>
                <c:pt idx="25">
                  <c:v>4.6234222293852489E-2</c:v>
                </c:pt>
                <c:pt idx="26">
                  <c:v>4.8116155742847666E-2</c:v>
                </c:pt>
                <c:pt idx="27">
                  <c:v>4.9366973676202221E-2</c:v>
                </c:pt>
                <c:pt idx="28">
                  <c:v>5.0383625595770851E-2</c:v>
                </c:pt>
                <c:pt idx="29">
                  <c:v>5.4163870501483129E-2</c:v>
                </c:pt>
                <c:pt idx="30">
                  <c:v>5.7305461917563166E-2</c:v>
                </c:pt>
                <c:pt idx="31">
                  <c:v>5.8486674829068823E-2</c:v>
                </c:pt>
                <c:pt idx="32">
                  <c:v>5.9618525920990942E-2</c:v>
                </c:pt>
                <c:pt idx="33">
                  <c:v>6.0682839687160796E-2</c:v>
                </c:pt>
                <c:pt idx="34">
                  <c:v>6.1154889523695029E-2</c:v>
                </c:pt>
                <c:pt idx="35">
                  <c:v>6.2606933259871808E-2</c:v>
                </c:pt>
                <c:pt idx="36">
                  <c:v>6.5273235789951645E-2</c:v>
                </c:pt>
                <c:pt idx="37">
                  <c:v>6.5585581409273924E-2</c:v>
                </c:pt>
                <c:pt idx="38">
                  <c:v>6.5907638361919985E-2</c:v>
                </c:pt>
                <c:pt idx="39">
                  <c:v>6.471753924677133E-2</c:v>
                </c:pt>
                <c:pt idx="40">
                  <c:v>6.4157560832645788E-2</c:v>
                </c:pt>
                <c:pt idx="41">
                  <c:v>6.6098782830281561E-2</c:v>
                </c:pt>
                <c:pt idx="42">
                  <c:v>6.7217930437414974E-2</c:v>
                </c:pt>
                <c:pt idx="43">
                  <c:v>6.726918664622919E-2</c:v>
                </c:pt>
                <c:pt idx="44">
                  <c:v>6.6579903988639166E-2</c:v>
                </c:pt>
                <c:pt idx="45">
                  <c:v>6.587697583619434E-2</c:v>
                </c:pt>
                <c:pt idx="46">
                  <c:v>6.4989596832566499E-2</c:v>
                </c:pt>
                <c:pt idx="47">
                  <c:v>6.5060070985515903E-2</c:v>
                </c:pt>
                <c:pt idx="48">
                  <c:v>6.6507585863993746E-2</c:v>
                </c:pt>
                <c:pt idx="49">
                  <c:v>6.5604012873328996E-2</c:v>
                </c:pt>
                <c:pt idx="50">
                  <c:v>6.4331661969122766E-2</c:v>
                </c:pt>
                <c:pt idx="51">
                  <c:v>6.2878164099883463E-2</c:v>
                </c:pt>
                <c:pt idx="52">
                  <c:v>6.1577137459597475E-2</c:v>
                </c:pt>
                <c:pt idx="53">
                  <c:v>6.3032829885432365E-2</c:v>
                </c:pt>
                <c:pt idx="54">
                  <c:v>6.452897477494797E-2</c:v>
                </c:pt>
                <c:pt idx="55">
                  <c:v>6.4114062545996914E-2</c:v>
                </c:pt>
                <c:pt idx="56">
                  <c:v>6.3690509498551484E-2</c:v>
                </c:pt>
                <c:pt idx="57">
                  <c:v>6.3493762366029563E-2</c:v>
                </c:pt>
                <c:pt idx="58">
                  <c:v>6.3555369657981198E-2</c:v>
                </c:pt>
                <c:pt idx="59">
                  <c:v>6.4456483462371858E-2</c:v>
                </c:pt>
                <c:pt idx="60">
                  <c:v>6.4284303072211793E-2</c:v>
                </c:pt>
                <c:pt idx="61">
                  <c:v>6.4502007051983931E-2</c:v>
                </c:pt>
                <c:pt idx="62">
                  <c:v>6.3755171322480486E-2</c:v>
                </c:pt>
                <c:pt idx="63">
                  <c:v>6.3140806480603551E-2</c:v>
                </c:pt>
                <c:pt idx="64">
                  <c:v>6.26005684645842E-2</c:v>
                </c:pt>
                <c:pt idx="65">
                  <c:v>6.453665262526162E-2</c:v>
                </c:pt>
                <c:pt idx="66">
                  <c:v>6.579990516832622E-2</c:v>
                </c:pt>
                <c:pt idx="67">
                  <c:v>6.6381590606895469E-2</c:v>
                </c:pt>
                <c:pt idx="68">
                  <c:v>6.7004968452316682E-2</c:v>
                </c:pt>
                <c:pt idx="69">
                  <c:v>6.7965372061119259E-2</c:v>
                </c:pt>
                <c:pt idx="70">
                  <c:v>6.7856014140454529E-2</c:v>
                </c:pt>
                <c:pt idx="71">
                  <c:v>6.8360257916129971E-2</c:v>
                </c:pt>
                <c:pt idx="72">
                  <c:v>6.8684000354956073E-2</c:v>
                </c:pt>
                <c:pt idx="73">
                  <c:v>6.9024782391750292E-2</c:v>
                </c:pt>
                <c:pt idx="74">
                  <c:v>6.8983488761490783E-2</c:v>
                </c:pt>
                <c:pt idx="75">
                  <c:v>6.8050826527695688E-2</c:v>
                </c:pt>
                <c:pt idx="76">
                  <c:v>6.7046322661295926E-2</c:v>
                </c:pt>
                <c:pt idx="77">
                  <c:v>6.8894867148028449E-2</c:v>
                </c:pt>
                <c:pt idx="78">
                  <c:v>7.0442027180381409E-2</c:v>
                </c:pt>
                <c:pt idx="79">
                  <c:v>7.0695815954383373E-2</c:v>
                </c:pt>
                <c:pt idx="80">
                  <c:v>7.0418870629786787E-2</c:v>
                </c:pt>
                <c:pt idx="81">
                  <c:v>6.9532910175459983E-2</c:v>
                </c:pt>
                <c:pt idx="82">
                  <c:v>6.8778687054848076E-2</c:v>
                </c:pt>
                <c:pt idx="83">
                  <c:v>6.8856143671489733E-2</c:v>
                </c:pt>
                <c:pt idx="84">
                  <c:v>6.7511759619345982E-2</c:v>
                </c:pt>
                <c:pt idx="85">
                  <c:v>6.6667512524741346E-2</c:v>
                </c:pt>
                <c:pt idx="86">
                  <c:v>6.5643749313876606E-2</c:v>
                </c:pt>
                <c:pt idx="87">
                  <c:v>6.4426543892337471E-2</c:v>
                </c:pt>
                <c:pt idx="88">
                  <c:v>6.3496653571948197E-2</c:v>
                </c:pt>
                <c:pt idx="89">
                  <c:v>6.4803758024076993E-2</c:v>
                </c:pt>
                <c:pt idx="90">
                  <c:v>6.5622555984401851E-2</c:v>
                </c:pt>
                <c:pt idx="91">
                  <c:v>6.5520814618415302E-2</c:v>
                </c:pt>
                <c:pt idx="92">
                  <c:v>6.484197221006445E-2</c:v>
                </c:pt>
                <c:pt idx="93">
                  <c:v>6.4399345531782684E-2</c:v>
                </c:pt>
                <c:pt idx="94">
                  <c:v>6.3781006423554609E-2</c:v>
                </c:pt>
                <c:pt idx="95">
                  <c:v>6.4282034484732464E-2</c:v>
                </c:pt>
                <c:pt idx="96">
                  <c:v>6.4097803396418546E-2</c:v>
                </c:pt>
                <c:pt idx="97">
                  <c:v>6.3685606531930533E-2</c:v>
                </c:pt>
                <c:pt idx="98">
                  <c:v>6.2835772217861741E-2</c:v>
                </c:pt>
                <c:pt idx="99">
                  <c:v>6.2207263102778E-2</c:v>
                </c:pt>
                <c:pt idx="100">
                  <c:v>6.1615796410118849E-2</c:v>
                </c:pt>
                <c:pt idx="101">
                  <c:v>6.2926449929761194E-2</c:v>
                </c:pt>
                <c:pt idx="102">
                  <c:v>6.423093577443216E-2</c:v>
                </c:pt>
                <c:pt idx="103">
                  <c:v>6.4224238194929048E-2</c:v>
                </c:pt>
                <c:pt idx="104">
                  <c:v>6.3858237201546944E-2</c:v>
                </c:pt>
                <c:pt idx="105">
                  <c:v>6.3663813669856253E-2</c:v>
                </c:pt>
                <c:pt idx="106">
                  <c:v>6.2830734052637893E-2</c:v>
                </c:pt>
                <c:pt idx="107">
                  <c:v>6.3319183995128328E-2</c:v>
                </c:pt>
                <c:pt idx="108">
                  <c:v>6.2929932039339803E-2</c:v>
                </c:pt>
                <c:pt idx="109">
                  <c:v>6.227785627223642E-2</c:v>
                </c:pt>
                <c:pt idx="110">
                  <c:v>6.1350662742182961E-2</c:v>
                </c:pt>
                <c:pt idx="111">
                  <c:v>6.043740947688131E-2</c:v>
                </c:pt>
                <c:pt idx="112">
                  <c:v>5.9617204567365099E-2</c:v>
                </c:pt>
                <c:pt idx="113">
                  <c:v>6.0228962157250612E-2</c:v>
                </c:pt>
                <c:pt idx="114">
                  <c:v>6.1239607834827264E-2</c:v>
                </c:pt>
                <c:pt idx="115">
                  <c:v>6.1380493911299364E-2</c:v>
                </c:pt>
                <c:pt idx="116">
                  <c:v>6.1106141433015758E-2</c:v>
                </c:pt>
                <c:pt idx="117">
                  <c:v>6.1002492276768128E-2</c:v>
                </c:pt>
                <c:pt idx="118">
                  <c:v>6.0349391212281632E-2</c:v>
                </c:pt>
                <c:pt idx="119">
                  <c:v>6.0648254085492077E-2</c:v>
                </c:pt>
                <c:pt idx="120">
                  <c:v>6.0300451818947345E-2</c:v>
                </c:pt>
                <c:pt idx="121">
                  <c:v>6.0579031478797341E-2</c:v>
                </c:pt>
                <c:pt idx="122">
                  <c:v>6.0549800555764435E-2</c:v>
                </c:pt>
                <c:pt idx="123">
                  <c:v>6.0315075267404185E-2</c:v>
                </c:pt>
                <c:pt idx="124">
                  <c:v>5.9405932025913023E-2</c:v>
                </c:pt>
                <c:pt idx="125">
                  <c:v>6.0102990708352969E-2</c:v>
                </c:pt>
                <c:pt idx="126">
                  <c:v>6.1492392457821982E-2</c:v>
                </c:pt>
                <c:pt idx="127">
                  <c:v>6.1485099100437091E-2</c:v>
                </c:pt>
                <c:pt idx="128">
                  <c:v>6.1223273550153522E-2</c:v>
                </c:pt>
                <c:pt idx="129">
                  <c:v>6.1055401403608191E-2</c:v>
                </c:pt>
                <c:pt idx="130">
                  <c:v>6.073327566495073E-2</c:v>
                </c:pt>
                <c:pt idx="131">
                  <c:v>6.1209489211230476E-2</c:v>
                </c:pt>
                <c:pt idx="132">
                  <c:v>6.040789200695619E-2</c:v>
                </c:pt>
                <c:pt idx="133">
                  <c:v>6.0226389883565858E-2</c:v>
                </c:pt>
                <c:pt idx="134">
                  <c:v>5.9626696918514993E-2</c:v>
                </c:pt>
                <c:pt idx="135">
                  <c:v>5.8895878614733388E-2</c:v>
                </c:pt>
                <c:pt idx="136">
                  <c:v>5.7776003599476995E-2</c:v>
                </c:pt>
                <c:pt idx="137">
                  <c:v>5.8610392397768545E-2</c:v>
                </c:pt>
                <c:pt idx="138">
                  <c:v>5.9232831598724903E-2</c:v>
                </c:pt>
                <c:pt idx="139">
                  <c:v>5.9631459399507231E-2</c:v>
                </c:pt>
                <c:pt idx="140">
                  <c:v>5.9293997645870733E-2</c:v>
                </c:pt>
                <c:pt idx="141">
                  <c:v>5.8465595050960904E-2</c:v>
                </c:pt>
                <c:pt idx="142">
                  <c:v>5.7634137924034184E-2</c:v>
                </c:pt>
                <c:pt idx="143">
                  <c:v>5.8026953375682436E-2</c:v>
                </c:pt>
                <c:pt idx="144">
                  <c:v>5.7812557105692462E-2</c:v>
                </c:pt>
                <c:pt idx="145">
                  <c:v>5.7813339712553022E-2</c:v>
                </c:pt>
                <c:pt idx="146">
                  <c:v>5.7574584331723723E-2</c:v>
                </c:pt>
                <c:pt idx="147">
                  <c:v>5.7095926576463868E-2</c:v>
                </c:pt>
                <c:pt idx="148">
                  <c:v>5.6869354388112123E-2</c:v>
                </c:pt>
                <c:pt idx="149">
                  <c:v>5.8296742206691919E-2</c:v>
                </c:pt>
                <c:pt idx="150">
                  <c:v>5.9806326105858378E-2</c:v>
                </c:pt>
                <c:pt idx="151">
                  <c:v>6.0051741168203547E-2</c:v>
                </c:pt>
                <c:pt idx="152">
                  <c:v>6.0050183381478224E-2</c:v>
                </c:pt>
                <c:pt idx="153">
                  <c:v>6.0580311481587303E-2</c:v>
                </c:pt>
                <c:pt idx="154">
                  <c:v>6.1220959728671941E-2</c:v>
                </c:pt>
                <c:pt idx="155">
                  <c:v>6.2274880811350845E-2</c:v>
                </c:pt>
                <c:pt idx="156">
                  <c:v>6.2462396539668605E-2</c:v>
                </c:pt>
                <c:pt idx="157">
                  <c:v>6.1909430002074495E-2</c:v>
                </c:pt>
                <c:pt idx="158">
                  <c:v>6.659840212402561E-2</c:v>
                </c:pt>
                <c:pt idx="159">
                  <c:v>7.4424723639387527E-2</c:v>
                </c:pt>
                <c:pt idx="160">
                  <c:v>7.9405161842475022E-2</c:v>
                </c:pt>
                <c:pt idx="161">
                  <c:v>8.5544237243107571E-2</c:v>
                </c:pt>
                <c:pt idx="162">
                  <c:v>8.8530221734607742E-2</c:v>
                </c:pt>
                <c:pt idx="163">
                  <c:v>8.8083315407877921E-2</c:v>
                </c:pt>
                <c:pt idx="164">
                  <c:v>8.6698009944732132E-2</c:v>
                </c:pt>
                <c:pt idx="165">
                  <c:v>8.4705873014613089E-2</c:v>
                </c:pt>
                <c:pt idx="166">
                  <c:v>8.3689067029446174E-2</c:v>
                </c:pt>
                <c:pt idx="167">
                  <c:v>8.4146109001953837E-2</c:v>
                </c:pt>
                <c:pt idx="168">
                  <c:v>8.3570998145315656E-2</c:v>
                </c:pt>
                <c:pt idx="169">
                  <c:v>8.230289701376306E-2</c:v>
                </c:pt>
                <c:pt idx="170">
                  <c:v>8.0102680052940481E-2</c:v>
                </c:pt>
                <c:pt idx="171">
                  <c:v>7.7953522460264782E-2</c:v>
                </c:pt>
                <c:pt idx="172">
                  <c:v>7.6338872499399343E-2</c:v>
                </c:pt>
                <c:pt idx="173">
                  <c:v>7.6530921652126591E-2</c:v>
                </c:pt>
                <c:pt idx="174">
                  <c:v>7.6934401037894479E-2</c:v>
                </c:pt>
                <c:pt idx="175">
                  <c:v>7.453013661003785E-2</c:v>
                </c:pt>
                <c:pt idx="176">
                  <c:v>7.1871672992515845E-2</c:v>
                </c:pt>
                <c:pt idx="177">
                  <c:v>6.9242224349601436E-2</c:v>
                </c:pt>
                <c:pt idx="178">
                  <c:v>6.7486404420571439E-2</c:v>
                </c:pt>
                <c:pt idx="179">
                  <c:v>6.7025628335427315E-2</c:v>
                </c:pt>
                <c:pt idx="180">
                  <c:v>6.777960469229135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1E0-4C66-98D3-40B70A0376A5}"/>
            </c:ext>
          </c:extLst>
        </c:ser>
        <c:ser>
          <c:idx val="0"/>
          <c:order val="4"/>
          <c:tx>
            <c:v>  Göteborgsregionen</c:v>
          </c:tx>
          <c:spPr>
            <a:ln w="571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dLbl>
              <c:idx val="180"/>
              <c:layout>
                <c:manualLayout>
                  <c:x val="-6.3158595661800198E-4"/>
                  <c:y val="1.588687434721970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0295935523915742E-2"/>
                      <c:h val="5.021458100104444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21E0-4C66-98D3-40B70A0376A5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Arbetslöshet!$A$5:$A$185</c:f>
              <c:numCache>
                <c:formatCode>General</c:formatCode>
                <c:ptCount val="181"/>
                <c:pt idx="0">
                  <c:v>200701</c:v>
                </c:pt>
                <c:pt idx="1">
                  <c:v>200702</c:v>
                </c:pt>
                <c:pt idx="2">
                  <c:v>200703</c:v>
                </c:pt>
                <c:pt idx="3">
                  <c:v>200704</c:v>
                </c:pt>
                <c:pt idx="4">
                  <c:v>200705</c:v>
                </c:pt>
                <c:pt idx="5">
                  <c:v>200706</c:v>
                </c:pt>
                <c:pt idx="6">
                  <c:v>200707</c:v>
                </c:pt>
                <c:pt idx="7">
                  <c:v>200708</c:v>
                </c:pt>
                <c:pt idx="8">
                  <c:v>200709</c:v>
                </c:pt>
                <c:pt idx="9">
                  <c:v>200710</c:v>
                </c:pt>
                <c:pt idx="10">
                  <c:v>200711</c:v>
                </c:pt>
                <c:pt idx="11">
                  <c:v>200712</c:v>
                </c:pt>
                <c:pt idx="12">
                  <c:v>200801</c:v>
                </c:pt>
                <c:pt idx="13">
                  <c:v>200802</c:v>
                </c:pt>
                <c:pt idx="14">
                  <c:v>200803</c:v>
                </c:pt>
                <c:pt idx="15">
                  <c:v>200804</c:v>
                </c:pt>
                <c:pt idx="16">
                  <c:v>200805</c:v>
                </c:pt>
                <c:pt idx="17">
                  <c:v>200806</c:v>
                </c:pt>
                <c:pt idx="18">
                  <c:v>200807</c:v>
                </c:pt>
                <c:pt idx="19">
                  <c:v>200808</c:v>
                </c:pt>
                <c:pt idx="20">
                  <c:v>200809</c:v>
                </c:pt>
                <c:pt idx="21">
                  <c:v>200810</c:v>
                </c:pt>
                <c:pt idx="22">
                  <c:v>200811</c:v>
                </c:pt>
                <c:pt idx="23">
                  <c:v>200812</c:v>
                </c:pt>
                <c:pt idx="24">
                  <c:v>200901</c:v>
                </c:pt>
                <c:pt idx="25">
                  <c:v>200902</c:v>
                </c:pt>
                <c:pt idx="26">
                  <c:v>200903</c:v>
                </c:pt>
                <c:pt idx="27">
                  <c:v>200904</c:v>
                </c:pt>
                <c:pt idx="28">
                  <c:v>200905</c:v>
                </c:pt>
                <c:pt idx="29">
                  <c:v>200906</c:v>
                </c:pt>
                <c:pt idx="30">
                  <c:v>200907</c:v>
                </c:pt>
                <c:pt idx="31">
                  <c:v>200908</c:v>
                </c:pt>
                <c:pt idx="32">
                  <c:v>200909</c:v>
                </c:pt>
                <c:pt idx="33">
                  <c:v>200910</c:v>
                </c:pt>
                <c:pt idx="34">
                  <c:v>200911</c:v>
                </c:pt>
                <c:pt idx="35">
                  <c:v>200912</c:v>
                </c:pt>
                <c:pt idx="36">
                  <c:v>201001</c:v>
                </c:pt>
                <c:pt idx="37">
                  <c:v>201002</c:v>
                </c:pt>
                <c:pt idx="38">
                  <c:v>201003</c:v>
                </c:pt>
                <c:pt idx="39">
                  <c:v>201004</c:v>
                </c:pt>
                <c:pt idx="40">
                  <c:v>201005</c:v>
                </c:pt>
                <c:pt idx="41">
                  <c:v>201006</c:v>
                </c:pt>
                <c:pt idx="42">
                  <c:v>201007</c:v>
                </c:pt>
                <c:pt idx="43">
                  <c:v>201008</c:v>
                </c:pt>
                <c:pt idx="44">
                  <c:v>201009</c:v>
                </c:pt>
                <c:pt idx="45">
                  <c:v>201010</c:v>
                </c:pt>
                <c:pt idx="46">
                  <c:v>201011</c:v>
                </c:pt>
                <c:pt idx="47">
                  <c:v>201012</c:v>
                </c:pt>
                <c:pt idx="48">
                  <c:v>201101</c:v>
                </c:pt>
                <c:pt idx="49">
                  <c:v>201102</c:v>
                </c:pt>
                <c:pt idx="50">
                  <c:v>201103</c:v>
                </c:pt>
                <c:pt idx="51">
                  <c:v>201104</c:v>
                </c:pt>
                <c:pt idx="52">
                  <c:v>201105</c:v>
                </c:pt>
                <c:pt idx="53">
                  <c:v>201106</c:v>
                </c:pt>
                <c:pt idx="54">
                  <c:v>201107</c:v>
                </c:pt>
                <c:pt idx="55">
                  <c:v>201108</c:v>
                </c:pt>
                <c:pt idx="56">
                  <c:v>201109</c:v>
                </c:pt>
                <c:pt idx="57">
                  <c:v>201110</c:v>
                </c:pt>
                <c:pt idx="58">
                  <c:v>201111</c:v>
                </c:pt>
                <c:pt idx="59">
                  <c:v>201112</c:v>
                </c:pt>
                <c:pt idx="60">
                  <c:v>201201</c:v>
                </c:pt>
                <c:pt idx="61">
                  <c:v>201202</c:v>
                </c:pt>
                <c:pt idx="62">
                  <c:v>201203</c:v>
                </c:pt>
                <c:pt idx="63">
                  <c:v>201204</c:v>
                </c:pt>
                <c:pt idx="64">
                  <c:v>201205</c:v>
                </c:pt>
                <c:pt idx="65">
                  <c:v>201206</c:v>
                </c:pt>
                <c:pt idx="66">
                  <c:v>201207</c:v>
                </c:pt>
                <c:pt idx="67">
                  <c:v>201208</c:v>
                </c:pt>
                <c:pt idx="68">
                  <c:v>201209</c:v>
                </c:pt>
                <c:pt idx="69">
                  <c:v>201210</c:v>
                </c:pt>
                <c:pt idx="70">
                  <c:v>201211</c:v>
                </c:pt>
                <c:pt idx="71">
                  <c:v>201212</c:v>
                </c:pt>
                <c:pt idx="72">
                  <c:v>201301</c:v>
                </c:pt>
                <c:pt idx="73">
                  <c:v>201302</c:v>
                </c:pt>
                <c:pt idx="74">
                  <c:v>201303</c:v>
                </c:pt>
                <c:pt idx="75">
                  <c:v>201304</c:v>
                </c:pt>
                <c:pt idx="76">
                  <c:v>201305</c:v>
                </c:pt>
                <c:pt idx="77">
                  <c:v>201306</c:v>
                </c:pt>
                <c:pt idx="78">
                  <c:v>201307</c:v>
                </c:pt>
                <c:pt idx="79">
                  <c:v>201308</c:v>
                </c:pt>
                <c:pt idx="80">
                  <c:v>201309</c:v>
                </c:pt>
                <c:pt idx="81">
                  <c:v>201310</c:v>
                </c:pt>
                <c:pt idx="82">
                  <c:v>201311</c:v>
                </c:pt>
                <c:pt idx="83">
                  <c:v>201312</c:v>
                </c:pt>
                <c:pt idx="84">
                  <c:v>201401</c:v>
                </c:pt>
                <c:pt idx="85">
                  <c:v>201402</c:v>
                </c:pt>
                <c:pt idx="86">
                  <c:v>201403</c:v>
                </c:pt>
                <c:pt idx="87">
                  <c:v>201404</c:v>
                </c:pt>
                <c:pt idx="88">
                  <c:v>201405</c:v>
                </c:pt>
                <c:pt idx="89">
                  <c:v>201406</c:v>
                </c:pt>
                <c:pt idx="90">
                  <c:v>201407</c:v>
                </c:pt>
                <c:pt idx="91">
                  <c:v>201408</c:v>
                </c:pt>
                <c:pt idx="92">
                  <c:v>201409</c:v>
                </c:pt>
                <c:pt idx="93">
                  <c:v>201410</c:v>
                </c:pt>
                <c:pt idx="94">
                  <c:v>201411</c:v>
                </c:pt>
                <c:pt idx="95">
                  <c:v>201412</c:v>
                </c:pt>
                <c:pt idx="96">
                  <c:v>201501</c:v>
                </c:pt>
                <c:pt idx="97">
                  <c:v>201502</c:v>
                </c:pt>
                <c:pt idx="98">
                  <c:v>201503</c:v>
                </c:pt>
                <c:pt idx="99">
                  <c:v>201504</c:v>
                </c:pt>
                <c:pt idx="100">
                  <c:v>201505</c:v>
                </c:pt>
                <c:pt idx="101">
                  <c:v>201506</c:v>
                </c:pt>
                <c:pt idx="102">
                  <c:v>201507</c:v>
                </c:pt>
                <c:pt idx="103">
                  <c:v>201508</c:v>
                </c:pt>
                <c:pt idx="104">
                  <c:v>201509</c:v>
                </c:pt>
                <c:pt idx="105">
                  <c:v>201510</c:v>
                </c:pt>
                <c:pt idx="106">
                  <c:v>201511</c:v>
                </c:pt>
                <c:pt idx="107">
                  <c:v>201512</c:v>
                </c:pt>
                <c:pt idx="108">
                  <c:v>201601</c:v>
                </c:pt>
                <c:pt idx="109">
                  <c:v>201602</c:v>
                </c:pt>
                <c:pt idx="110">
                  <c:v>201603</c:v>
                </c:pt>
                <c:pt idx="111">
                  <c:v>201604</c:v>
                </c:pt>
                <c:pt idx="112">
                  <c:v>201605</c:v>
                </c:pt>
                <c:pt idx="113">
                  <c:v>201606</c:v>
                </c:pt>
                <c:pt idx="114">
                  <c:v>201607</c:v>
                </c:pt>
                <c:pt idx="115">
                  <c:v>201608</c:v>
                </c:pt>
                <c:pt idx="116">
                  <c:v>201609</c:v>
                </c:pt>
                <c:pt idx="117">
                  <c:v>201610</c:v>
                </c:pt>
                <c:pt idx="118">
                  <c:v>201611</c:v>
                </c:pt>
                <c:pt idx="119">
                  <c:v>201612</c:v>
                </c:pt>
                <c:pt idx="120">
                  <c:v>201701</c:v>
                </c:pt>
                <c:pt idx="121">
                  <c:v>201702</c:v>
                </c:pt>
                <c:pt idx="122">
                  <c:v>201703</c:v>
                </c:pt>
                <c:pt idx="123">
                  <c:v>201704</c:v>
                </c:pt>
                <c:pt idx="124">
                  <c:v>201705</c:v>
                </c:pt>
                <c:pt idx="125">
                  <c:v>201706</c:v>
                </c:pt>
                <c:pt idx="126">
                  <c:v>201707</c:v>
                </c:pt>
                <c:pt idx="127">
                  <c:v>201708</c:v>
                </c:pt>
                <c:pt idx="128">
                  <c:v>201709</c:v>
                </c:pt>
                <c:pt idx="129">
                  <c:v>201710</c:v>
                </c:pt>
                <c:pt idx="130">
                  <c:v>201711</c:v>
                </c:pt>
                <c:pt idx="131">
                  <c:v>201712</c:v>
                </c:pt>
                <c:pt idx="132">
                  <c:v>201801</c:v>
                </c:pt>
                <c:pt idx="133">
                  <c:v>201802</c:v>
                </c:pt>
                <c:pt idx="134">
                  <c:v>201803</c:v>
                </c:pt>
                <c:pt idx="135">
                  <c:v>201804</c:v>
                </c:pt>
                <c:pt idx="136">
                  <c:v>201805</c:v>
                </c:pt>
                <c:pt idx="137">
                  <c:v>201806</c:v>
                </c:pt>
                <c:pt idx="138">
                  <c:v>201807</c:v>
                </c:pt>
                <c:pt idx="139">
                  <c:v>201808</c:v>
                </c:pt>
                <c:pt idx="140">
                  <c:v>201809</c:v>
                </c:pt>
                <c:pt idx="141">
                  <c:v>201810</c:v>
                </c:pt>
                <c:pt idx="142">
                  <c:v>201811</c:v>
                </c:pt>
                <c:pt idx="143">
                  <c:v>201812</c:v>
                </c:pt>
                <c:pt idx="144">
                  <c:v>201901</c:v>
                </c:pt>
                <c:pt idx="145">
                  <c:v>201902</c:v>
                </c:pt>
                <c:pt idx="146">
                  <c:v>201903</c:v>
                </c:pt>
                <c:pt idx="147">
                  <c:v>201904</c:v>
                </c:pt>
                <c:pt idx="148">
                  <c:v>201905</c:v>
                </c:pt>
                <c:pt idx="149">
                  <c:v>201906</c:v>
                </c:pt>
                <c:pt idx="150">
                  <c:v>201907</c:v>
                </c:pt>
                <c:pt idx="151">
                  <c:v>201908</c:v>
                </c:pt>
                <c:pt idx="152">
                  <c:v>201909</c:v>
                </c:pt>
                <c:pt idx="153">
                  <c:v>201910</c:v>
                </c:pt>
                <c:pt idx="154">
                  <c:v>201911</c:v>
                </c:pt>
                <c:pt idx="155">
                  <c:v>201912</c:v>
                </c:pt>
                <c:pt idx="156">
                  <c:v>202001</c:v>
                </c:pt>
                <c:pt idx="157">
                  <c:v>202002</c:v>
                </c:pt>
                <c:pt idx="158">
                  <c:v>202003</c:v>
                </c:pt>
                <c:pt idx="159">
                  <c:v>202004</c:v>
                </c:pt>
                <c:pt idx="160">
                  <c:v>202005</c:v>
                </c:pt>
                <c:pt idx="161">
                  <c:v>202006</c:v>
                </c:pt>
                <c:pt idx="162">
                  <c:v>202007</c:v>
                </c:pt>
                <c:pt idx="163">
                  <c:v>202008</c:v>
                </c:pt>
                <c:pt idx="164">
                  <c:v>202009</c:v>
                </c:pt>
                <c:pt idx="165">
                  <c:v>202010</c:v>
                </c:pt>
                <c:pt idx="166">
                  <c:v>202011</c:v>
                </c:pt>
                <c:pt idx="167">
                  <c:v>202012</c:v>
                </c:pt>
                <c:pt idx="168">
                  <c:v>202101</c:v>
                </c:pt>
                <c:pt idx="169">
                  <c:v>202102</c:v>
                </c:pt>
                <c:pt idx="170">
                  <c:v>202103</c:v>
                </c:pt>
                <c:pt idx="171">
                  <c:v>202104</c:v>
                </c:pt>
                <c:pt idx="172">
                  <c:v>202105</c:v>
                </c:pt>
                <c:pt idx="173">
                  <c:v>202106</c:v>
                </c:pt>
                <c:pt idx="174">
                  <c:v>202107</c:v>
                </c:pt>
                <c:pt idx="175">
                  <c:v>202108</c:v>
                </c:pt>
                <c:pt idx="176">
                  <c:v>202109</c:v>
                </c:pt>
                <c:pt idx="177">
                  <c:v>202110</c:v>
                </c:pt>
                <c:pt idx="178">
                  <c:v>202111</c:v>
                </c:pt>
                <c:pt idx="179">
                  <c:v>202112</c:v>
                </c:pt>
                <c:pt idx="180">
                  <c:v>202201</c:v>
                </c:pt>
              </c:numCache>
            </c:numRef>
          </c:cat>
          <c:val>
            <c:numRef>
              <c:f>Arbetslöshet!$O$5:$O$185</c:f>
              <c:numCache>
                <c:formatCode>0.0%</c:formatCode>
                <c:ptCount val="181"/>
                <c:pt idx="0">
                  <c:v>5.8921435038271956E-2</c:v>
                </c:pt>
                <c:pt idx="1">
                  <c:v>5.6193996313042838E-2</c:v>
                </c:pt>
                <c:pt idx="2">
                  <c:v>5.3217744921922619E-2</c:v>
                </c:pt>
                <c:pt idx="3">
                  <c:v>5.0284021429659126E-2</c:v>
                </c:pt>
                <c:pt idx="4">
                  <c:v>4.731001122516288E-2</c:v>
                </c:pt>
                <c:pt idx="5">
                  <c:v>5.0084578159219253E-2</c:v>
                </c:pt>
                <c:pt idx="6">
                  <c:v>5.1352136176959988E-2</c:v>
                </c:pt>
                <c:pt idx="7">
                  <c:v>4.924863608856532E-2</c:v>
                </c:pt>
                <c:pt idx="8">
                  <c:v>4.6504517025712303E-2</c:v>
                </c:pt>
                <c:pt idx="9">
                  <c:v>4.5051189788489779E-2</c:v>
                </c:pt>
                <c:pt idx="10">
                  <c:v>4.3871120598544519E-2</c:v>
                </c:pt>
                <c:pt idx="11">
                  <c:v>4.5325825028353285E-2</c:v>
                </c:pt>
                <c:pt idx="12">
                  <c:v>4.5441716697110161E-2</c:v>
                </c:pt>
                <c:pt idx="13">
                  <c:v>4.4503256776853156E-2</c:v>
                </c:pt>
                <c:pt idx="14">
                  <c:v>4.3311888592951972E-2</c:v>
                </c:pt>
                <c:pt idx="15">
                  <c:v>4.186138218936547E-2</c:v>
                </c:pt>
                <c:pt idx="16">
                  <c:v>4.1500784445311009E-2</c:v>
                </c:pt>
                <c:pt idx="17">
                  <c:v>4.4092775486578396E-2</c:v>
                </c:pt>
                <c:pt idx="18">
                  <c:v>4.6311648293146192E-2</c:v>
                </c:pt>
                <c:pt idx="19">
                  <c:v>4.6395542924166554E-2</c:v>
                </c:pt>
                <c:pt idx="20">
                  <c:v>4.6227738899341696E-2</c:v>
                </c:pt>
                <c:pt idx="21">
                  <c:v>4.7815207623406256E-2</c:v>
                </c:pt>
                <c:pt idx="22">
                  <c:v>4.9288379069417056E-2</c:v>
                </c:pt>
                <c:pt idx="23">
                  <c:v>5.4197231748758942E-2</c:v>
                </c:pt>
                <c:pt idx="24">
                  <c:v>5.8653355759318543E-2</c:v>
                </c:pt>
                <c:pt idx="25">
                  <c:v>6.1880352971710358E-2</c:v>
                </c:pt>
                <c:pt idx="26">
                  <c:v>6.5395529833074409E-2</c:v>
                </c:pt>
                <c:pt idx="27">
                  <c:v>6.8250411904081668E-2</c:v>
                </c:pt>
                <c:pt idx="28">
                  <c:v>6.9621434255598913E-2</c:v>
                </c:pt>
                <c:pt idx="29">
                  <c:v>7.5179793991160079E-2</c:v>
                </c:pt>
                <c:pt idx="30">
                  <c:v>7.9312013652746469E-2</c:v>
                </c:pt>
                <c:pt idx="31">
                  <c:v>8.2546665961609644E-2</c:v>
                </c:pt>
                <c:pt idx="32">
                  <c:v>8.1730901546506335E-2</c:v>
                </c:pt>
                <c:pt idx="33">
                  <c:v>8.25311411329471E-2</c:v>
                </c:pt>
                <c:pt idx="34">
                  <c:v>8.293073811824353E-2</c:v>
                </c:pt>
                <c:pt idx="35">
                  <c:v>8.5322958183083442E-2</c:v>
                </c:pt>
                <c:pt idx="36">
                  <c:v>8.7956833871378634E-2</c:v>
                </c:pt>
                <c:pt idx="37">
                  <c:v>8.6913893052532998E-2</c:v>
                </c:pt>
                <c:pt idx="38">
                  <c:v>8.5223357621428256E-2</c:v>
                </c:pt>
                <c:pt idx="39">
                  <c:v>8.2201596584091735E-2</c:v>
                </c:pt>
                <c:pt idx="40">
                  <c:v>8.1093249347277713E-2</c:v>
                </c:pt>
                <c:pt idx="41">
                  <c:v>8.4053156842884488E-2</c:v>
                </c:pt>
                <c:pt idx="42">
                  <c:v>8.4613691854677306E-2</c:v>
                </c:pt>
                <c:pt idx="43">
                  <c:v>8.3405384079443298E-2</c:v>
                </c:pt>
                <c:pt idx="44">
                  <c:v>8.0605811836275035E-2</c:v>
                </c:pt>
                <c:pt idx="45">
                  <c:v>7.8901528092351944E-2</c:v>
                </c:pt>
                <c:pt idx="46">
                  <c:v>7.6976396722718027E-2</c:v>
                </c:pt>
                <c:pt idx="47">
                  <c:v>7.7317627574085501E-2</c:v>
                </c:pt>
                <c:pt idx="48">
                  <c:v>8.0064896266284033E-2</c:v>
                </c:pt>
                <c:pt idx="49">
                  <c:v>7.7929515033354019E-2</c:v>
                </c:pt>
                <c:pt idx="50">
                  <c:v>7.4831573037650451E-2</c:v>
                </c:pt>
                <c:pt idx="51">
                  <c:v>7.1916964395712699E-2</c:v>
                </c:pt>
                <c:pt idx="52">
                  <c:v>7.0508060802488851E-2</c:v>
                </c:pt>
                <c:pt idx="53">
                  <c:v>7.3191307996669425E-2</c:v>
                </c:pt>
                <c:pt idx="54">
                  <c:v>7.4470279022215591E-2</c:v>
                </c:pt>
                <c:pt idx="55">
                  <c:v>7.4348430924242884E-2</c:v>
                </c:pt>
                <c:pt idx="56">
                  <c:v>7.2957091561149906E-2</c:v>
                </c:pt>
                <c:pt idx="57">
                  <c:v>7.2908196678079629E-2</c:v>
                </c:pt>
                <c:pt idx="58">
                  <c:v>7.3168909804335117E-2</c:v>
                </c:pt>
                <c:pt idx="59">
                  <c:v>7.4139183527454605E-2</c:v>
                </c:pt>
                <c:pt idx="60">
                  <c:v>7.4382404006535369E-2</c:v>
                </c:pt>
                <c:pt idx="61">
                  <c:v>7.4131600338804407E-2</c:v>
                </c:pt>
                <c:pt idx="62">
                  <c:v>7.2564461494074778E-2</c:v>
                </c:pt>
                <c:pt idx="63">
                  <c:v>7.0938308185041196E-2</c:v>
                </c:pt>
                <c:pt idx="64">
                  <c:v>6.9454123610756702E-2</c:v>
                </c:pt>
                <c:pt idx="65">
                  <c:v>7.2114315526590381E-2</c:v>
                </c:pt>
                <c:pt idx="66">
                  <c:v>7.3564322616455319E-2</c:v>
                </c:pt>
                <c:pt idx="67">
                  <c:v>7.4901353025067313E-2</c:v>
                </c:pt>
                <c:pt idx="68">
                  <c:v>7.4026894041232971E-2</c:v>
                </c:pt>
                <c:pt idx="69">
                  <c:v>7.4932905291475616E-2</c:v>
                </c:pt>
                <c:pt idx="70">
                  <c:v>7.4812600735099738E-2</c:v>
                </c:pt>
                <c:pt idx="71">
                  <c:v>7.5856825857890636E-2</c:v>
                </c:pt>
                <c:pt idx="72">
                  <c:v>7.6641583234575567E-2</c:v>
                </c:pt>
                <c:pt idx="73">
                  <c:v>7.6039248214948174E-2</c:v>
                </c:pt>
                <c:pt idx="74">
                  <c:v>7.4785878856684918E-2</c:v>
                </c:pt>
                <c:pt idx="75">
                  <c:v>7.2658967638562638E-2</c:v>
                </c:pt>
                <c:pt idx="76">
                  <c:v>7.1168777838768751E-2</c:v>
                </c:pt>
                <c:pt idx="77">
                  <c:v>7.3771056925516512E-2</c:v>
                </c:pt>
                <c:pt idx="78">
                  <c:v>7.5428414122181181E-2</c:v>
                </c:pt>
                <c:pt idx="79">
                  <c:v>7.6445381424872241E-2</c:v>
                </c:pt>
                <c:pt idx="80">
                  <c:v>7.5599991659542523E-2</c:v>
                </c:pt>
                <c:pt idx="81">
                  <c:v>7.4762707761146685E-2</c:v>
                </c:pt>
                <c:pt idx="82">
                  <c:v>7.409797582349649E-2</c:v>
                </c:pt>
                <c:pt idx="83">
                  <c:v>7.4372486710623562E-2</c:v>
                </c:pt>
                <c:pt idx="84">
                  <c:v>7.3343947667077927E-2</c:v>
                </c:pt>
                <c:pt idx="85">
                  <c:v>7.1703438983676843E-2</c:v>
                </c:pt>
                <c:pt idx="86">
                  <c:v>6.9768692067049734E-2</c:v>
                </c:pt>
                <c:pt idx="87">
                  <c:v>6.7304084268486594E-2</c:v>
                </c:pt>
                <c:pt idx="88">
                  <c:v>6.6305279476680357E-2</c:v>
                </c:pt>
                <c:pt idx="89">
                  <c:v>6.7408486848514873E-2</c:v>
                </c:pt>
                <c:pt idx="90">
                  <c:v>6.854380389436962E-2</c:v>
                </c:pt>
                <c:pt idx="91">
                  <c:v>6.9135465289502429E-2</c:v>
                </c:pt>
                <c:pt idx="92">
                  <c:v>6.7466478183095757E-2</c:v>
                </c:pt>
                <c:pt idx="93">
                  <c:v>6.7483874177127035E-2</c:v>
                </c:pt>
                <c:pt idx="94">
                  <c:v>6.7010084796904262E-2</c:v>
                </c:pt>
                <c:pt idx="95">
                  <c:v>6.7835520617937253E-2</c:v>
                </c:pt>
                <c:pt idx="96">
                  <c:v>6.8104606309078289E-2</c:v>
                </c:pt>
                <c:pt idx="97">
                  <c:v>6.7206019922489382E-2</c:v>
                </c:pt>
                <c:pt idx="98">
                  <c:v>6.5066601823307341E-2</c:v>
                </c:pt>
                <c:pt idx="99">
                  <c:v>6.2787651933929919E-2</c:v>
                </c:pt>
                <c:pt idx="100">
                  <c:v>6.1737152311032988E-2</c:v>
                </c:pt>
                <c:pt idx="101">
                  <c:v>6.2758610716890081E-2</c:v>
                </c:pt>
                <c:pt idx="102">
                  <c:v>6.427216103617539E-2</c:v>
                </c:pt>
                <c:pt idx="103">
                  <c:v>6.4559626728576167E-2</c:v>
                </c:pt>
                <c:pt idx="104">
                  <c:v>6.3371965796438431E-2</c:v>
                </c:pt>
                <c:pt idx="105">
                  <c:v>6.3062486318598038E-2</c:v>
                </c:pt>
                <c:pt idx="106">
                  <c:v>6.2657920561954447E-2</c:v>
                </c:pt>
                <c:pt idx="107">
                  <c:v>6.2683095128894833E-2</c:v>
                </c:pt>
                <c:pt idx="108">
                  <c:v>6.2984122318766031E-2</c:v>
                </c:pt>
                <c:pt idx="109">
                  <c:v>6.2143764785676639E-2</c:v>
                </c:pt>
                <c:pt idx="110">
                  <c:v>6.0529660106455913E-2</c:v>
                </c:pt>
                <c:pt idx="111">
                  <c:v>5.8662986688101312E-2</c:v>
                </c:pt>
                <c:pt idx="112">
                  <c:v>5.7071730945793563E-2</c:v>
                </c:pt>
                <c:pt idx="113">
                  <c:v>5.7694952410079992E-2</c:v>
                </c:pt>
                <c:pt idx="114">
                  <c:v>5.8693869181874102E-2</c:v>
                </c:pt>
                <c:pt idx="115">
                  <c:v>5.9077800938308951E-2</c:v>
                </c:pt>
                <c:pt idx="116">
                  <c:v>5.864175379813933E-2</c:v>
                </c:pt>
                <c:pt idx="117">
                  <c:v>5.864175379813933E-2</c:v>
                </c:pt>
                <c:pt idx="118">
                  <c:v>5.8442890251656172E-2</c:v>
                </c:pt>
                <c:pt idx="119">
                  <c:v>5.8579979944262277E-2</c:v>
                </c:pt>
                <c:pt idx="120">
                  <c:v>5.8304837860928757E-2</c:v>
                </c:pt>
                <c:pt idx="121">
                  <c:v>5.7984416062704033E-2</c:v>
                </c:pt>
                <c:pt idx="122">
                  <c:v>5.6842320425160117E-2</c:v>
                </c:pt>
                <c:pt idx="123">
                  <c:v>5.5953159412847862E-2</c:v>
                </c:pt>
                <c:pt idx="124">
                  <c:v>5.4844092963850295E-2</c:v>
                </c:pt>
                <c:pt idx="125">
                  <c:v>5.5831952463298279E-2</c:v>
                </c:pt>
                <c:pt idx="126">
                  <c:v>5.7069071908833736E-2</c:v>
                </c:pt>
                <c:pt idx="127">
                  <c:v>5.7320260783351527E-2</c:v>
                </c:pt>
                <c:pt idx="128">
                  <c:v>5.6696764107549077E-2</c:v>
                </c:pt>
                <c:pt idx="129">
                  <c:v>5.6382814489272591E-2</c:v>
                </c:pt>
                <c:pt idx="130">
                  <c:v>5.6554945275227517E-2</c:v>
                </c:pt>
                <c:pt idx="131">
                  <c:v>5.7038844677389622E-2</c:v>
                </c:pt>
                <c:pt idx="132">
                  <c:v>5.6892213030271206E-2</c:v>
                </c:pt>
                <c:pt idx="133">
                  <c:v>5.6745465225289705E-2</c:v>
                </c:pt>
                <c:pt idx="134">
                  <c:v>5.6022065464511508E-2</c:v>
                </c:pt>
                <c:pt idx="135">
                  <c:v>5.530675653300348E-2</c:v>
                </c:pt>
                <c:pt idx="136">
                  <c:v>5.4485298561733175E-2</c:v>
                </c:pt>
                <c:pt idx="137">
                  <c:v>5.5032482083218044E-2</c:v>
                </c:pt>
                <c:pt idx="138">
                  <c:v>5.5926508491469594E-2</c:v>
                </c:pt>
                <c:pt idx="139">
                  <c:v>5.615801704105345E-2</c:v>
                </c:pt>
                <c:pt idx="140">
                  <c:v>5.6051463718467767E-2</c:v>
                </c:pt>
                <c:pt idx="141">
                  <c:v>5.5371160326457468E-2</c:v>
                </c:pt>
                <c:pt idx="142">
                  <c:v>5.4511105955474801E-2</c:v>
                </c:pt>
                <c:pt idx="143">
                  <c:v>5.4781998557701675E-2</c:v>
                </c:pt>
                <c:pt idx="144">
                  <c:v>5.492834519620541E-2</c:v>
                </c:pt>
                <c:pt idx="145">
                  <c:v>5.4968061371068799E-2</c:v>
                </c:pt>
                <c:pt idx="146">
                  <c:v>5.430689416559302E-2</c:v>
                </c:pt>
                <c:pt idx="147">
                  <c:v>5.3371372371182939E-2</c:v>
                </c:pt>
                <c:pt idx="148">
                  <c:v>5.2969090675900984E-2</c:v>
                </c:pt>
                <c:pt idx="149">
                  <c:v>5.4341239819021822E-2</c:v>
                </c:pt>
                <c:pt idx="150">
                  <c:v>5.6221015301440865E-2</c:v>
                </c:pt>
                <c:pt idx="151">
                  <c:v>5.7686080752132322E-2</c:v>
                </c:pt>
                <c:pt idx="152">
                  <c:v>5.7953435409577599E-2</c:v>
                </c:pt>
                <c:pt idx="153">
                  <c:v>5.7953435409577599E-2</c:v>
                </c:pt>
                <c:pt idx="154">
                  <c:v>5.8263663636225198E-2</c:v>
                </c:pt>
                <c:pt idx="155">
                  <c:v>5.8951533135509396E-2</c:v>
                </c:pt>
                <c:pt idx="156">
                  <c:v>5.9258162961353208E-2</c:v>
                </c:pt>
                <c:pt idx="157">
                  <c:v>5.92704996346878E-2</c:v>
                </c:pt>
                <c:pt idx="158">
                  <c:v>6.2778561669914218E-2</c:v>
                </c:pt>
                <c:pt idx="159">
                  <c:v>7.0434893678464131E-2</c:v>
                </c:pt>
                <c:pt idx="160">
                  <c:v>7.5966766954649587E-2</c:v>
                </c:pt>
                <c:pt idx="161">
                  <c:v>8.2218895815855994E-2</c:v>
                </c:pt>
                <c:pt idx="162">
                  <c:v>8.5643115447225526E-2</c:v>
                </c:pt>
                <c:pt idx="163">
                  <c:v>8.5023341241294861E-2</c:v>
                </c:pt>
                <c:pt idx="164">
                  <c:v>8.2726874177992113E-2</c:v>
                </c:pt>
                <c:pt idx="165">
                  <c:v>8.078413569523489E-2</c:v>
                </c:pt>
                <c:pt idx="166">
                  <c:v>7.943095988853853E-2</c:v>
                </c:pt>
                <c:pt idx="167">
                  <c:v>8.0107202851903619E-2</c:v>
                </c:pt>
                <c:pt idx="168">
                  <c:v>7.9480268657576889E-2</c:v>
                </c:pt>
                <c:pt idx="169">
                  <c:v>7.8263034368048948E-2</c:v>
                </c:pt>
                <c:pt idx="170">
                  <c:v>7.5598172689854803E-2</c:v>
                </c:pt>
                <c:pt idx="171">
                  <c:v>7.3302911367610038E-2</c:v>
                </c:pt>
                <c:pt idx="172">
                  <c:v>7.1365997462768491E-2</c:v>
                </c:pt>
                <c:pt idx="173">
                  <c:v>7.0943857326767959E-2</c:v>
                </c:pt>
                <c:pt idx="174">
                  <c:v>7.1222512865351445E-2</c:v>
                </c:pt>
                <c:pt idx="175">
                  <c:v>6.9183627367393183E-2</c:v>
                </c:pt>
                <c:pt idx="176">
                  <c:v>6.641987534967686E-2</c:v>
                </c:pt>
                <c:pt idx="177">
                  <c:v>6.3926145909096732E-2</c:v>
                </c:pt>
                <c:pt idx="178">
                  <c:v>6.181544422104094E-2</c:v>
                </c:pt>
                <c:pt idx="179">
                  <c:v>6.1443195949954905E-2</c:v>
                </c:pt>
                <c:pt idx="180">
                  <c:v>6.179892757389732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21E0-4C66-98D3-40B70A0376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14732776"/>
        <c:axId val="714734416"/>
        <c:extLst>
          <c:ext xmlns:c15="http://schemas.microsoft.com/office/drawing/2012/chart" uri="{02D57815-91ED-43cb-92C2-25804820EDAC}">
            <c15:filteredLineSeries>
              <c15:ser>
                <c:idx val="4"/>
                <c:order val="2"/>
                <c:tx>
                  <c:v>  Sverige exkl. storstadsregioner</c:v>
                </c:tx>
                <c:spPr>
                  <a:ln w="28575" cap="rnd">
                    <a:solidFill>
                      <a:srgbClr val="3B5776"/>
                    </a:solidFill>
                    <a:round/>
                  </a:ln>
                  <a:effectLst/>
                </c:spPr>
                <c:marker>
                  <c:symbol val="none"/>
                </c:marker>
                <c:dLbls>
                  <c:dLbl>
                    <c:idx val="175"/>
                    <c:layout>
                      <c:manualLayout>
                        <c:x val="3.3360525226007708E-3"/>
                        <c:y val="-7.2951631632172127E-3"/>
                      </c:manualLayout>
                    </c:layout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8-21E0-4C66-98D3-40B70A0376A5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ysClr val="windowText" lastClr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endParaRPr lang="sv-SE"/>
                    </a:p>
                  </c:txPr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accent4"/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Arbetslöshet!$A$5:$A$185</c15:sqref>
                        </c15:formulaRef>
                      </c:ext>
                    </c:extLst>
                    <c:numCache>
                      <c:formatCode>General</c:formatCode>
                      <c:ptCount val="181"/>
                      <c:pt idx="0">
                        <c:v>200701</c:v>
                      </c:pt>
                      <c:pt idx="1">
                        <c:v>200702</c:v>
                      </c:pt>
                      <c:pt idx="2">
                        <c:v>200703</c:v>
                      </c:pt>
                      <c:pt idx="3">
                        <c:v>200704</c:v>
                      </c:pt>
                      <c:pt idx="4">
                        <c:v>200705</c:v>
                      </c:pt>
                      <c:pt idx="5">
                        <c:v>200706</c:v>
                      </c:pt>
                      <c:pt idx="6">
                        <c:v>200707</c:v>
                      </c:pt>
                      <c:pt idx="7">
                        <c:v>200708</c:v>
                      </c:pt>
                      <c:pt idx="8">
                        <c:v>200709</c:v>
                      </c:pt>
                      <c:pt idx="9">
                        <c:v>200710</c:v>
                      </c:pt>
                      <c:pt idx="10">
                        <c:v>200711</c:v>
                      </c:pt>
                      <c:pt idx="11">
                        <c:v>200712</c:v>
                      </c:pt>
                      <c:pt idx="12">
                        <c:v>200801</c:v>
                      </c:pt>
                      <c:pt idx="13">
                        <c:v>200802</c:v>
                      </c:pt>
                      <c:pt idx="14">
                        <c:v>200803</c:v>
                      </c:pt>
                      <c:pt idx="15">
                        <c:v>200804</c:v>
                      </c:pt>
                      <c:pt idx="16">
                        <c:v>200805</c:v>
                      </c:pt>
                      <c:pt idx="17">
                        <c:v>200806</c:v>
                      </c:pt>
                      <c:pt idx="18">
                        <c:v>200807</c:v>
                      </c:pt>
                      <c:pt idx="19">
                        <c:v>200808</c:v>
                      </c:pt>
                      <c:pt idx="20">
                        <c:v>200809</c:v>
                      </c:pt>
                      <c:pt idx="21">
                        <c:v>200810</c:v>
                      </c:pt>
                      <c:pt idx="22">
                        <c:v>200811</c:v>
                      </c:pt>
                      <c:pt idx="23">
                        <c:v>200812</c:v>
                      </c:pt>
                      <c:pt idx="24">
                        <c:v>200901</c:v>
                      </c:pt>
                      <c:pt idx="25">
                        <c:v>200902</c:v>
                      </c:pt>
                      <c:pt idx="26">
                        <c:v>200903</c:v>
                      </c:pt>
                      <c:pt idx="27">
                        <c:v>200904</c:v>
                      </c:pt>
                      <c:pt idx="28">
                        <c:v>200905</c:v>
                      </c:pt>
                      <c:pt idx="29">
                        <c:v>200906</c:v>
                      </c:pt>
                      <c:pt idx="30">
                        <c:v>200907</c:v>
                      </c:pt>
                      <c:pt idx="31">
                        <c:v>200908</c:v>
                      </c:pt>
                      <c:pt idx="32">
                        <c:v>200909</c:v>
                      </c:pt>
                      <c:pt idx="33">
                        <c:v>200910</c:v>
                      </c:pt>
                      <c:pt idx="34">
                        <c:v>200911</c:v>
                      </c:pt>
                      <c:pt idx="35">
                        <c:v>200912</c:v>
                      </c:pt>
                      <c:pt idx="36">
                        <c:v>201001</c:v>
                      </c:pt>
                      <c:pt idx="37">
                        <c:v>201002</c:v>
                      </c:pt>
                      <c:pt idx="38">
                        <c:v>201003</c:v>
                      </c:pt>
                      <c:pt idx="39">
                        <c:v>201004</c:v>
                      </c:pt>
                      <c:pt idx="40">
                        <c:v>201005</c:v>
                      </c:pt>
                      <c:pt idx="41">
                        <c:v>201006</c:v>
                      </c:pt>
                      <c:pt idx="42">
                        <c:v>201007</c:v>
                      </c:pt>
                      <c:pt idx="43">
                        <c:v>201008</c:v>
                      </c:pt>
                      <c:pt idx="44">
                        <c:v>201009</c:v>
                      </c:pt>
                      <c:pt idx="45">
                        <c:v>201010</c:v>
                      </c:pt>
                      <c:pt idx="46">
                        <c:v>201011</c:v>
                      </c:pt>
                      <c:pt idx="47">
                        <c:v>201012</c:v>
                      </c:pt>
                      <c:pt idx="48">
                        <c:v>201101</c:v>
                      </c:pt>
                      <c:pt idx="49">
                        <c:v>201102</c:v>
                      </c:pt>
                      <c:pt idx="50">
                        <c:v>201103</c:v>
                      </c:pt>
                      <c:pt idx="51">
                        <c:v>201104</c:v>
                      </c:pt>
                      <c:pt idx="52">
                        <c:v>201105</c:v>
                      </c:pt>
                      <c:pt idx="53">
                        <c:v>201106</c:v>
                      </c:pt>
                      <c:pt idx="54">
                        <c:v>201107</c:v>
                      </c:pt>
                      <c:pt idx="55">
                        <c:v>201108</c:v>
                      </c:pt>
                      <c:pt idx="56">
                        <c:v>201109</c:v>
                      </c:pt>
                      <c:pt idx="57">
                        <c:v>201110</c:v>
                      </c:pt>
                      <c:pt idx="58">
                        <c:v>201111</c:v>
                      </c:pt>
                      <c:pt idx="59">
                        <c:v>201112</c:v>
                      </c:pt>
                      <c:pt idx="60">
                        <c:v>201201</c:v>
                      </c:pt>
                      <c:pt idx="61">
                        <c:v>201202</c:v>
                      </c:pt>
                      <c:pt idx="62">
                        <c:v>201203</c:v>
                      </c:pt>
                      <c:pt idx="63">
                        <c:v>201204</c:v>
                      </c:pt>
                      <c:pt idx="64">
                        <c:v>201205</c:v>
                      </c:pt>
                      <c:pt idx="65">
                        <c:v>201206</c:v>
                      </c:pt>
                      <c:pt idx="66">
                        <c:v>201207</c:v>
                      </c:pt>
                      <c:pt idx="67">
                        <c:v>201208</c:v>
                      </c:pt>
                      <c:pt idx="68">
                        <c:v>201209</c:v>
                      </c:pt>
                      <c:pt idx="69">
                        <c:v>201210</c:v>
                      </c:pt>
                      <c:pt idx="70">
                        <c:v>201211</c:v>
                      </c:pt>
                      <c:pt idx="71">
                        <c:v>201212</c:v>
                      </c:pt>
                      <c:pt idx="72">
                        <c:v>201301</c:v>
                      </c:pt>
                      <c:pt idx="73">
                        <c:v>201302</c:v>
                      </c:pt>
                      <c:pt idx="74">
                        <c:v>201303</c:v>
                      </c:pt>
                      <c:pt idx="75">
                        <c:v>201304</c:v>
                      </c:pt>
                      <c:pt idx="76">
                        <c:v>201305</c:v>
                      </c:pt>
                      <c:pt idx="77">
                        <c:v>201306</c:v>
                      </c:pt>
                      <c:pt idx="78">
                        <c:v>201307</c:v>
                      </c:pt>
                      <c:pt idx="79">
                        <c:v>201308</c:v>
                      </c:pt>
                      <c:pt idx="80">
                        <c:v>201309</c:v>
                      </c:pt>
                      <c:pt idx="81">
                        <c:v>201310</c:v>
                      </c:pt>
                      <c:pt idx="82">
                        <c:v>201311</c:v>
                      </c:pt>
                      <c:pt idx="83">
                        <c:v>201312</c:v>
                      </c:pt>
                      <c:pt idx="84">
                        <c:v>201401</c:v>
                      </c:pt>
                      <c:pt idx="85">
                        <c:v>201402</c:v>
                      </c:pt>
                      <c:pt idx="86">
                        <c:v>201403</c:v>
                      </c:pt>
                      <c:pt idx="87">
                        <c:v>201404</c:v>
                      </c:pt>
                      <c:pt idx="88">
                        <c:v>201405</c:v>
                      </c:pt>
                      <c:pt idx="89">
                        <c:v>201406</c:v>
                      </c:pt>
                      <c:pt idx="90">
                        <c:v>201407</c:v>
                      </c:pt>
                      <c:pt idx="91">
                        <c:v>201408</c:v>
                      </c:pt>
                      <c:pt idx="92">
                        <c:v>201409</c:v>
                      </c:pt>
                      <c:pt idx="93">
                        <c:v>201410</c:v>
                      </c:pt>
                      <c:pt idx="94">
                        <c:v>201411</c:v>
                      </c:pt>
                      <c:pt idx="95">
                        <c:v>201412</c:v>
                      </c:pt>
                      <c:pt idx="96">
                        <c:v>201501</c:v>
                      </c:pt>
                      <c:pt idx="97">
                        <c:v>201502</c:v>
                      </c:pt>
                      <c:pt idx="98">
                        <c:v>201503</c:v>
                      </c:pt>
                      <c:pt idx="99">
                        <c:v>201504</c:v>
                      </c:pt>
                      <c:pt idx="100">
                        <c:v>201505</c:v>
                      </c:pt>
                      <c:pt idx="101">
                        <c:v>201506</c:v>
                      </c:pt>
                      <c:pt idx="102">
                        <c:v>201507</c:v>
                      </c:pt>
                      <c:pt idx="103">
                        <c:v>201508</c:v>
                      </c:pt>
                      <c:pt idx="104">
                        <c:v>201509</c:v>
                      </c:pt>
                      <c:pt idx="105">
                        <c:v>201510</c:v>
                      </c:pt>
                      <c:pt idx="106">
                        <c:v>201511</c:v>
                      </c:pt>
                      <c:pt idx="107">
                        <c:v>201512</c:v>
                      </c:pt>
                      <c:pt idx="108">
                        <c:v>201601</c:v>
                      </c:pt>
                      <c:pt idx="109">
                        <c:v>201602</c:v>
                      </c:pt>
                      <c:pt idx="110">
                        <c:v>201603</c:v>
                      </c:pt>
                      <c:pt idx="111">
                        <c:v>201604</c:v>
                      </c:pt>
                      <c:pt idx="112">
                        <c:v>201605</c:v>
                      </c:pt>
                      <c:pt idx="113">
                        <c:v>201606</c:v>
                      </c:pt>
                      <c:pt idx="114">
                        <c:v>201607</c:v>
                      </c:pt>
                      <c:pt idx="115">
                        <c:v>201608</c:v>
                      </c:pt>
                      <c:pt idx="116">
                        <c:v>201609</c:v>
                      </c:pt>
                      <c:pt idx="117">
                        <c:v>201610</c:v>
                      </c:pt>
                      <c:pt idx="118">
                        <c:v>201611</c:v>
                      </c:pt>
                      <c:pt idx="119">
                        <c:v>201612</c:v>
                      </c:pt>
                      <c:pt idx="120">
                        <c:v>201701</c:v>
                      </c:pt>
                      <c:pt idx="121">
                        <c:v>201702</c:v>
                      </c:pt>
                      <c:pt idx="122">
                        <c:v>201703</c:v>
                      </c:pt>
                      <c:pt idx="123">
                        <c:v>201704</c:v>
                      </c:pt>
                      <c:pt idx="124">
                        <c:v>201705</c:v>
                      </c:pt>
                      <c:pt idx="125">
                        <c:v>201706</c:v>
                      </c:pt>
                      <c:pt idx="126">
                        <c:v>201707</c:v>
                      </c:pt>
                      <c:pt idx="127">
                        <c:v>201708</c:v>
                      </c:pt>
                      <c:pt idx="128">
                        <c:v>201709</c:v>
                      </c:pt>
                      <c:pt idx="129">
                        <c:v>201710</c:v>
                      </c:pt>
                      <c:pt idx="130">
                        <c:v>201711</c:v>
                      </c:pt>
                      <c:pt idx="131">
                        <c:v>201712</c:v>
                      </c:pt>
                      <c:pt idx="132">
                        <c:v>201801</c:v>
                      </c:pt>
                      <c:pt idx="133">
                        <c:v>201802</c:v>
                      </c:pt>
                      <c:pt idx="134">
                        <c:v>201803</c:v>
                      </c:pt>
                      <c:pt idx="135">
                        <c:v>201804</c:v>
                      </c:pt>
                      <c:pt idx="136">
                        <c:v>201805</c:v>
                      </c:pt>
                      <c:pt idx="137">
                        <c:v>201806</c:v>
                      </c:pt>
                      <c:pt idx="138">
                        <c:v>201807</c:v>
                      </c:pt>
                      <c:pt idx="139">
                        <c:v>201808</c:v>
                      </c:pt>
                      <c:pt idx="140">
                        <c:v>201809</c:v>
                      </c:pt>
                      <c:pt idx="141">
                        <c:v>201810</c:v>
                      </c:pt>
                      <c:pt idx="142">
                        <c:v>201811</c:v>
                      </c:pt>
                      <c:pt idx="143">
                        <c:v>201812</c:v>
                      </c:pt>
                      <c:pt idx="144">
                        <c:v>201901</c:v>
                      </c:pt>
                      <c:pt idx="145">
                        <c:v>201902</c:v>
                      </c:pt>
                      <c:pt idx="146">
                        <c:v>201903</c:v>
                      </c:pt>
                      <c:pt idx="147">
                        <c:v>201904</c:v>
                      </c:pt>
                      <c:pt idx="148">
                        <c:v>201905</c:v>
                      </c:pt>
                      <c:pt idx="149">
                        <c:v>201906</c:v>
                      </c:pt>
                      <c:pt idx="150">
                        <c:v>201907</c:v>
                      </c:pt>
                      <c:pt idx="151">
                        <c:v>201908</c:v>
                      </c:pt>
                      <c:pt idx="152">
                        <c:v>201909</c:v>
                      </c:pt>
                      <c:pt idx="153">
                        <c:v>201910</c:v>
                      </c:pt>
                      <c:pt idx="154">
                        <c:v>201911</c:v>
                      </c:pt>
                      <c:pt idx="155">
                        <c:v>201912</c:v>
                      </c:pt>
                      <c:pt idx="156">
                        <c:v>202001</c:v>
                      </c:pt>
                      <c:pt idx="157">
                        <c:v>202002</c:v>
                      </c:pt>
                      <c:pt idx="158">
                        <c:v>202003</c:v>
                      </c:pt>
                      <c:pt idx="159">
                        <c:v>202004</c:v>
                      </c:pt>
                      <c:pt idx="160">
                        <c:v>202005</c:v>
                      </c:pt>
                      <c:pt idx="161">
                        <c:v>202006</c:v>
                      </c:pt>
                      <c:pt idx="162">
                        <c:v>202007</c:v>
                      </c:pt>
                      <c:pt idx="163">
                        <c:v>202008</c:v>
                      </c:pt>
                      <c:pt idx="164">
                        <c:v>202009</c:v>
                      </c:pt>
                      <c:pt idx="165">
                        <c:v>202010</c:v>
                      </c:pt>
                      <c:pt idx="166">
                        <c:v>202011</c:v>
                      </c:pt>
                      <c:pt idx="167">
                        <c:v>202012</c:v>
                      </c:pt>
                      <c:pt idx="168">
                        <c:v>202101</c:v>
                      </c:pt>
                      <c:pt idx="169">
                        <c:v>202102</c:v>
                      </c:pt>
                      <c:pt idx="170">
                        <c:v>202103</c:v>
                      </c:pt>
                      <c:pt idx="171">
                        <c:v>202104</c:v>
                      </c:pt>
                      <c:pt idx="172">
                        <c:v>202105</c:v>
                      </c:pt>
                      <c:pt idx="173">
                        <c:v>202106</c:v>
                      </c:pt>
                      <c:pt idx="174">
                        <c:v>202107</c:v>
                      </c:pt>
                      <c:pt idx="175">
                        <c:v>202108</c:v>
                      </c:pt>
                      <c:pt idx="176">
                        <c:v>202109</c:v>
                      </c:pt>
                      <c:pt idx="177">
                        <c:v>202110</c:v>
                      </c:pt>
                      <c:pt idx="178">
                        <c:v>202111</c:v>
                      </c:pt>
                      <c:pt idx="179">
                        <c:v>202112</c:v>
                      </c:pt>
                      <c:pt idx="180">
                        <c:v>20220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Arbetslöshet!$S$5:$S$185</c15:sqref>
                        </c15:formulaRef>
                      </c:ext>
                    </c:extLst>
                    <c:numCache>
                      <c:formatCode>0.0%</c:formatCode>
                      <c:ptCount val="181"/>
                      <c:pt idx="0">
                        <c:v>6.8921478942511341E-2</c:v>
                      </c:pt>
                      <c:pt idx="1">
                        <c:v>6.6111532873322637E-2</c:v>
                      </c:pt>
                      <c:pt idx="2">
                        <c:v>6.2088494242748218E-2</c:v>
                      </c:pt>
                      <c:pt idx="3">
                        <c:v>5.7061508191952784E-2</c:v>
                      </c:pt>
                      <c:pt idx="4">
                        <c:v>5.1567832426189189E-2</c:v>
                      </c:pt>
                      <c:pt idx="5">
                        <c:v>5.2047529831097297E-2</c:v>
                      </c:pt>
                      <c:pt idx="6">
                        <c:v>5.3061219927411085E-2</c:v>
                      </c:pt>
                      <c:pt idx="7">
                        <c:v>5.3343395360566113E-2</c:v>
                      </c:pt>
                      <c:pt idx="8">
                        <c:v>5.2490358890847431E-2</c:v>
                      </c:pt>
                      <c:pt idx="9">
                        <c:v>5.2615746030278618E-2</c:v>
                      </c:pt>
                      <c:pt idx="10">
                        <c:v>5.3119785160244959E-2</c:v>
                      </c:pt>
                      <c:pt idx="11">
                        <c:v>5.6078456133053046E-2</c:v>
                      </c:pt>
                      <c:pt idx="12">
                        <c:v>5.6689151822098036E-2</c:v>
                      </c:pt>
                      <c:pt idx="13">
                        <c:v>5.5615737995363804E-2</c:v>
                      </c:pt>
                      <c:pt idx="14">
                        <c:v>5.3679220421806756E-2</c:v>
                      </c:pt>
                      <c:pt idx="15">
                        <c:v>5.0694860176667127E-2</c:v>
                      </c:pt>
                      <c:pt idx="16">
                        <c:v>4.7675176724035019E-2</c:v>
                      </c:pt>
                      <c:pt idx="17">
                        <c:v>4.7999333184499331E-2</c:v>
                      </c:pt>
                      <c:pt idx="18">
                        <c:v>4.9862701847340873E-2</c:v>
                      </c:pt>
                      <c:pt idx="19">
                        <c:v>5.2286224677972198E-2</c:v>
                      </c:pt>
                      <c:pt idx="20">
                        <c:v>5.4155985201663995E-2</c:v>
                      </c:pt>
                      <c:pt idx="21">
                        <c:v>5.6980105684007146E-2</c:v>
                      </c:pt>
                      <c:pt idx="22">
                        <c:v>6.054169379773755E-2</c:v>
                      </c:pt>
                      <c:pt idx="23">
                        <c:v>6.7917964934456579E-2</c:v>
                      </c:pt>
                      <c:pt idx="24">
                        <c:v>7.2687251768356623E-2</c:v>
                      </c:pt>
                      <c:pt idx="25">
                        <c:v>7.58192112562769E-2</c:v>
                      </c:pt>
                      <c:pt idx="26">
                        <c:v>7.8607422868223559E-2</c:v>
                      </c:pt>
                      <c:pt idx="27">
                        <c:v>7.9828682168379517E-2</c:v>
                      </c:pt>
                      <c:pt idx="28">
                        <c:v>7.9039090324504083E-2</c:v>
                      </c:pt>
                      <c:pt idx="29">
                        <c:v>8.1873764938200796E-2</c:v>
                      </c:pt>
                      <c:pt idx="30">
                        <c:v>8.5078003371712785E-2</c:v>
                      </c:pt>
                      <c:pt idx="31">
                        <c:v>8.8590062849972631E-2</c:v>
                      </c:pt>
                      <c:pt idx="32">
                        <c:v>8.9919099304904646E-2</c:v>
                      </c:pt>
                      <c:pt idx="33">
                        <c:v>9.1727660869592165E-2</c:v>
                      </c:pt>
                      <c:pt idx="34">
                        <c:v>9.3730837316308768E-2</c:v>
                      </c:pt>
                      <c:pt idx="35">
                        <c:v>9.814109694971157E-2</c:v>
                      </c:pt>
                      <c:pt idx="36">
                        <c:v>0.10220903441061649</c:v>
                      </c:pt>
                      <c:pt idx="37">
                        <c:v>0.10159540951170302</c:v>
                      </c:pt>
                      <c:pt idx="38">
                        <c:v>9.9847922272754852E-2</c:v>
                      </c:pt>
                      <c:pt idx="39">
                        <c:v>9.5517074049366699E-2</c:v>
                      </c:pt>
                      <c:pt idx="40">
                        <c:v>9.0985489809777442E-2</c:v>
                      </c:pt>
                      <c:pt idx="41">
                        <c:v>9.12509610773201E-2</c:v>
                      </c:pt>
                      <c:pt idx="42">
                        <c:v>9.2180459704557127E-2</c:v>
                      </c:pt>
                      <c:pt idx="43">
                        <c:v>9.2815782956029616E-2</c:v>
                      </c:pt>
                      <c:pt idx="44">
                        <c:v>9.1880049294810348E-2</c:v>
                      </c:pt>
                      <c:pt idx="45">
                        <c:v>9.1610546741239585E-2</c:v>
                      </c:pt>
                      <c:pt idx="46">
                        <c:v>9.2155040817681028E-2</c:v>
                      </c:pt>
                      <c:pt idx="47">
                        <c:v>9.4514172350650821E-2</c:v>
                      </c:pt>
                      <c:pt idx="48">
                        <c:v>9.8526006659982068E-2</c:v>
                      </c:pt>
                      <c:pt idx="49">
                        <c:v>9.6583472816049148E-2</c:v>
                      </c:pt>
                      <c:pt idx="50">
                        <c:v>9.3589238958672161E-2</c:v>
                      </c:pt>
                      <c:pt idx="51">
                        <c:v>8.9279382871422494E-2</c:v>
                      </c:pt>
                      <c:pt idx="52">
                        <c:v>8.4664874574802845E-2</c:v>
                      </c:pt>
                      <c:pt idx="53">
                        <c:v>8.5052866737980362E-2</c:v>
                      </c:pt>
                      <c:pt idx="54">
                        <c:v>8.6062433853203543E-2</c:v>
                      </c:pt>
                      <c:pt idx="55">
                        <c:v>8.7918449214832495E-2</c:v>
                      </c:pt>
                      <c:pt idx="56">
                        <c:v>8.8001807560783032E-2</c:v>
                      </c:pt>
                      <c:pt idx="57">
                        <c:v>8.9152380296943987E-2</c:v>
                      </c:pt>
                      <c:pt idx="58">
                        <c:v>9.0698409392352297E-2</c:v>
                      </c:pt>
                      <c:pt idx="59">
                        <c:v>9.487467623434083E-2</c:v>
                      </c:pt>
                      <c:pt idx="60">
                        <c:v>9.6073232025606858E-2</c:v>
                      </c:pt>
                      <c:pt idx="61">
                        <c:v>9.5638290233425183E-2</c:v>
                      </c:pt>
                      <c:pt idx="62">
                        <c:v>9.3550038437778607E-2</c:v>
                      </c:pt>
                      <c:pt idx="63">
                        <c:v>9.0433165836973195E-2</c:v>
                      </c:pt>
                      <c:pt idx="64">
                        <c:v>8.6225856518331048E-2</c:v>
                      </c:pt>
                      <c:pt idx="65">
                        <c:v>8.6246980134056614E-2</c:v>
                      </c:pt>
                      <c:pt idx="66">
                        <c:v>8.6548453901465663E-2</c:v>
                      </c:pt>
                      <c:pt idx="67">
                        <c:v>8.9699379371406721E-2</c:v>
                      </c:pt>
                      <c:pt idx="68">
                        <c:v>9.0812645948200182E-2</c:v>
                      </c:pt>
                      <c:pt idx="69">
                        <c:v>9.2439943143444114E-2</c:v>
                      </c:pt>
                      <c:pt idx="70">
                        <c:v>9.3602162410825598E-2</c:v>
                      </c:pt>
                      <c:pt idx="71">
                        <c:v>9.6587812440444426E-2</c:v>
                      </c:pt>
                      <c:pt idx="72">
                        <c:v>9.7126325967062346E-2</c:v>
                      </c:pt>
                      <c:pt idx="73">
                        <c:v>9.6288725085986071E-2</c:v>
                      </c:pt>
                      <c:pt idx="74">
                        <c:v>9.4879895884761464E-2</c:v>
                      </c:pt>
                      <c:pt idx="75">
                        <c:v>9.1230937868600523E-2</c:v>
                      </c:pt>
                      <c:pt idx="76">
                        <c:v>8.6601785865186895E-2</c:v>
                      </c:pt>
                      <c:pt idx="77">
                        <c:v>8.6524914599091993E-2</c:v>
                      </c:pt>
                      <c:pt idx="78">
                        <c:v>8.757618849479426E-2</c:v>
                      </c:pt>
                      <c:pt idx="79">
                        <c:v>8.9675007755289388E-2</c:v>
                      </c:pt>
                      <c:pt idx="80">
                        <c:v>8.9903037557772958E-2</c:v>
                      </c:pt>
                      <c:pt idx="81">
                        <c:v>9.0271986556026959E-2</c:v>
                      </c:pt>
                      <c:pt idx="82">
                        <c:v>9.0706617579789831E-2</c:v>
                      </c:pt>
                      <c:pt idx="83">
                        <c:v>9.3214746126247555E-2</c:v>
                      </c:pt>
                      <c:pt idx="84">
                        <c:v>9.3172574317705245E-2</c:v>
                      </c:pt>
                      <c:pt idx="85">
                        <c:v>9.1600151370010305E-2</c:v>
                      </c:pt>
                      <c:pt idx="86">
                        <c:v>8.8815547579444973E-2</c:v>
                      </c:pt>
                      <c:pt idx="87">
                        <c:v>8.5019777397471005E-2</c:v>
                      </c:pt>
                      <c:pt idx="88">
                        <c:v>8.1054670945942126E-2</c:v>
                      </c:pt>
                      <c:pt idx="89">
                        <c:v>7.949461464472786E-2</c:v>
                      </c:pt>
                      <c:pt idx="90">
                        <c:v>7.9692881410122651E-2</c:v>
                      </c:pt>
                      <c:pt idx="91">
                        <c:v>8.1919374067450187E-2</c:v>
                      </c:pt>
                      <c:pt idx="92">
                        <c:v>8.2581308896241074E-2</c:v>
                      </c:pt>
                      <c:pt idx="93">
                        <c:v>8.3409242856227014E-2</c:v>
                      </c:pt>
                      <c:pt idx="94">
                        <c:v>8.4332681509299318E-2</c:v>
                      </c:pt>
                      <c:pt idx="95">
                        <c:v>8.7146951619523391E-2</c:v>
                      </c:pt>
                      <c:pt idx="96">
                        <c:v>8.7962021856008293E-2</c:v>
                      </c:pt>
                      <c:pt idx="97">
                        <c:v>8.7154505426043319E-2</c:v>
                      </c:pt>
                      <c:pt idx="98">
                        <c:v>8.5107250703771772E-2</c:v>
                      </c:pt>
                      <c:pt idx="99">
                        <c:v>8.2395392521133426E-2</c:v>
                      </c:pt>
                      <c:pt idx="100">
                        <c:v>7.958993614681599E-2</c:v>
                      </c:pt>
                      <c:pt idx="101">
                        <c:v>7.8130800994192978E-2</c:v>
                      </c:pt>
                      <c:pt idx="102">
                        <c:v>7.940173114198272E-2</c:v>
                      </c:pt>
                      <c:pt idx="103">
                        <c:v>8.1332218232603004E-2</c:v>
                      </c:pt>
                      <c:pt idx="104">
                        <c:v>8.2295399707011066E-2</c:v>
                      </c:pt>
                      <c:pt idx="105">
                        <c:v>8.3500655612184699E-2</c:v>
                      </c:pt>
                      <c:pt idx="106">
                        <c:v>8.4583938247245305E-2</c:v>
                      </c:pt>
                      <c:pt idx="107">
                        <c:v>8.6583839812700625E-2</c:v>
                      </c:pt>
                      <c:pt idx="108">
                        <c:v>8.7152201622957101E-2</c:v>
                      </c:pt>
                      <c:pt idx="109">
                        <c:v>8.6085070805978173E-2</c:v>
                      </c:pt>
                      <c:pt idx="110">
                        <c:v>8.4070912902744765E-2</c:v>
                      </c:pt>
                      <c:pt idx="111">
                        <c:v>8.1195189815051097E-2</c:v>
                      </c:pt>
                      <c:pt idx="112">
                        <c:v>7.7945179882594418E-2</c:v>
                      </c:pt>
                      <c:pt idx="113">
                        <c:v>7.6642191177646202E-2</c:v>
                      </c:pt>
                      <c:pt idx="114">
                        <c:v>7.7311920619222096E-2</c:v>
                      </c:pt>
                      <c:pt idx="115">
                        <c:v>7.8925779492635115E-2</c:v>
                      </c:pt>
                      <c:pt idx="116">
                        <c:v>8.0019736204481176E-2</c:v>
                      </c:pt>
                      <c:pt idx="117">
                        <c:v>8.1266656248812158E-2</c:v>
                      </c:pt>
                      <c:pt idx="118">
                        <c:v>8.2537610554152027E-2</c:v>
                      </c:pt>
                      <c:pt idx="119">
                        <c:v>8.4721569171960318E-2</c:v>
                      </c:pt>
                      <c:pt idx="120">
                        <c:v>8.515663491079474E-2</c:v>
                      </c:pt>
                      <c:pt idx="121">
                        <c:v>8.4922487032041097E-2</c:v>
                      </c:pt>
                      <c:pt idx="122">
                        <c:v>8.3389002195142198E-2</c:v>
                      </c:pt>
                      <c:pt idx="123">
                        <c:v>8.1234620260811824E-2</c:v>
                      </c:pt>
                      <c:pt idx="124">
                        <c:v>7.8172753760908903E-2</c:v>
                      </c:pt>
                      <c:pt idx="125">
                        <c:v>7.6741905956253256E-2</c:v>
                      </c:pt>
                      <c:pt idx="126">
                        <c:v>7.7393692067933298E-2</c:v>
                      </c:pt>
                      <c:pt idx="127">
                        <c:v>7.8069362921769567E-2</c:v>
                      </c:pt>
                      <c:pt idx="128">
                        <c:v>7.8877833753588283E-2</c:v>
                      </c:pt>
                      <c:pt idx="129">
                        <c:v>7.9510552939124374E-2</c:v>
                      </c:pt>
                      <c:pt idx="130">
                        <c:v>7.9937443990752588E-2</c:v>
                      </c:pt>
                      <c:pt idx="131">
                        <c:v>8.0994939274780312E-2</c:v>
                      </c:pt>
                      <c:pt idx="132">
                        <c:v>8.0067145094239719E-2</c:v>
                      </c:pt>
                      <c:pt idx="133">
                        <c:v>7.9044692502581226E-2</c:v>
                      </c:pt>
                      <c:pt idx="134">
                        <c:v>7.7491270112975005E-2</c:v>
                      </c:pt>
                      <c:pt idx="135">
                        <c:v>7.5273636365196239E-2</c:v>
                      </c:pt>
                      <c:pt idx="136">
                        <c:v>7.2017411847357063E-2</c:v>
                      </c:pt>
                      <c:pt idx="137">
                        <c:v>7.0986265694022541E-2</c:v>
                      </c:pt>
                      <c:pt idx="138">
                        <c:v>7.1230582047419957E-2</c:v>
                      </c:pt>
                      <c:pt idx="139">
                        <c:v>7.2006226463503034E-2</c:v>
                      </c:pt>
                      <c:pt idx="140">
                        <c:v>7.2515367450639842E-2</c:v>
                      </c:pt>
                      <c:pt idx="141">
                        <c:v>7.2364025054606859E-2</c:v>
                      </c:pt>
                      <c:pt idx="142">
                        <c:v>7.2527179019786142E-2</c:v>
                      </c:pt>
                      <c:pt idx="143">
                        <c:v>7.3838942409316294E-2</c:v>
                      </c:pt>
                      <c:pt idx="144">
                        <c:v>7.3940652446462168E-2</c:v>
                      </c:pt>
                      <c:pt idx="145">
                        <c:v>7.3606835761754391E-2</c:v>
                      </c:pt>
                      <c:pt idx="146">
                        <c:v>7.2700357731002183E-2</c:v>
                      </c:pt>
                      <c:pt idx="147">
                        <c:v>7.0862458641863302E-2</c:v>
                      </c:pt>
                      <c:pt idx="148">
                        <c:v>6.9071877661546599E-2</c:v>
                      </c:pt>
                      <c:pt idx="149">
                        <c:v>6.9666861643889785E-2</c:v>
                      </c:pt>
                      <c:pt idx="150">
                        <c:v>7.1006356227871145E-2</c:v>
                      </c:pt>
                      <c:pt idx="151">
                        <c:v>7.2368168379036368E-2</c:v>
                      </c:pt>
                      <c:pt idx="152">
                        <c:v>7.3584195410784703E-2</c:v>
                      </c:pt>
                      <c:pt idx="153">
                        <c:v>7.4618859927950837E-2</c:v>
                      </c:pt>
                      <c:pt idx="154">
                        <c:v>7.618028947047753E-2</c:v>
                      </c:pt>
                      <c:pt idx="155">
                        <c:v>7.8408186116369336E-2</c:v>
                      </c:pt>
                      <c:pt idx="156">
                        <c:v>7.8932935098158047E-2</c:v>
                      </c:pt>
                      <c:pt idx="157">
                        <c:v>7.8358318970947333E-2</c:v>
                      </c:pt>
                      <c:pt idx="158">
                        <c:v>7.9308424327783525E-2</c:v>
                      </c:pt>
                      <c:pt idx="159">
                        <c:v>8.3278789922777194E-2</c:v>
                      </c:pt>
                      <c:pt idx="160">
                        <c:v>8.5934473012102802E-2</c:v>
                      </c:pt>
                      <c:pt idx="161">
                        <c:v>8.9631745745973671E-2</c:v>
                      </c:pt>
                      <c:pt idx="162">
                        <c:v>9.0948266745627213E-2</c:v>
                      </c:pt>
                      <c:pt idx="163">
                        <c:v>9.0557559070633495E-2</c:v>
                      </c:pt>
                      <c:pt idx="164">
                        <c:v>8.8633999271112873E-2</c:v>
                      </c:pt>
                      <c:pt idx="165">
                        <c:v>8.7252009967714428E-2</c:v>
                      </c:pt>
                      <c:pt idx="166">
                        <c:v>8.6646487801703476E-2</c:v>
                      </c:pt>
                      <c:pt idx="167">
                        <c:v>8.7918125447830203E-2</c:v>
                      </c:pt>
                      <c:pt idx="168">
                        <c:v>8.8074585530683827E-2</c:v>
                      </c:pt>
                      <c:pt idx="169">
                        <c:v>8.7131308486893294E-2</c:v>
                      </c:pt>
                      <c:pt idx="170">
                        <c:v>8.4627126071821338E-2</c:v>
                      </c:pt>
                      <c:pt idx="171">
                        <c:v>8.1830535194969523E-2</c:v>
                      </c:pt>
                      <c:pt idx="172">
                        <c:v>7.8961634702518602E-2</c:v>
                      </c:pt>
                      <c:pt idx="173">
                        <c:v>7.7827669231656058E-2</c:v>
                      </c:pt>
                      <c:pt idx="174">
                        <c:v>7.7761294196602021E-2</c:v>
                      </c:pt>
                      <c:pt idx="175">
                        <c:v>7.6695528476711614E-2</c:v>
                      </c:pt>
                      <c:pt idx="176">
                        <c:v>7.5049596145670971E-2</c:v>
                      </c:pt>
                      <c:pt idx="177">
                        <c:v>7.3636289694447354E-2</c:v>
                      </c:pt>
                      <c:pt idx="178">
                        <c:v>7.2661026563925618E-2</c:v>
                      </c:pt>
                      <c:pt idx="179">
                        <c:v>7.3086520971883534E-2</c:v>
                      </c:pt>
                      <c:pt idx="180">
                        <c:v>7.3824842403647686E-2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9-21E0-4C66-98D3-40B70A0376A5}"/>
                  </c:ext>
                </c:extLst>
              </c15:ser>
            </c15:filteredLineSeries>
          </c:ext>
        </c:extLst>
      </c:lineChart>
      <c:catAx>
        <c:axId val="714732776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714734416"/>
        <c:crosses val="autoZero"/>
        <c:auto val="1"/>
        <c:lblAlgn val="ctr"/>
        <c:lblOffset val="100"/>
        <c:tickLblSkip val="12"/>
        <c:tickMarkSkip val="1"/>
        <c:noMultiLvlLbl val="0"/>
      </c:catAx>
      <c:valAx>
        <c:axId val="714734416"/>
        <c:scaling>
          <c:orientation val="minMax"/>
        </c:scaling>
        <c:delete val="0"/>
        <c:axPos val="l"/>
        <c:numFmt formatCode="0%" sourceLinked="0"/>
        <c:majorTickMark val="in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sv-SE"/>
          </a:p>
        </c:txPr>
        <c:crossAx val="7147327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633465260123643"/>
          <c:y val="0.53974999999999995"/>
          <c:w val="0.27003964682015252"/>
          <c:h val="0.260614999999999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sv-SE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0776783433044324E-2"/>
          <c:y val="3.7207211254850991E-2"/>
          <c:w val="0.88931131396186114"/>
          <c:h val="0.86392592592592587"/>
        </c:manualLayout>
      </c:layout>
      <c:lineChart>
        <c:grouping val="standard"/>
        <c:varyColors val="0"/>
        <c:ser>
          <c:idx val="0"/>
          <c:order val="0"/>
          <c:tx>
            <c:v>  Nyanmälda platser</c:v>
          </c:tx>
          <c:spPr>
            <a:ln w="28575" cap="rnd">
              <a:solidFill>
                <a:schemeClr val="bg1"/>
              </a:solidFill>
            </a:ln>
          </c:spPr>
          <c:marker>
            <c:symbol val="none"/>
          </c:marker>
          <c:dLbls>
            <c:dLbl>
              <c:idx val="19"/>
              <c:layout>
                <c:manualLayout>
                  <c:x val="-0.15694444444444444"/>
                  <c:y val="9.4259920634920641E-2"/>
                </c:manualLayout>
              </c:layout>
              <c:tx>
                <c:rich>
                  <a:bodyPr/>
                  <a:lstStyle/>
                  <a:p>
                    <a:pPr>
                      <a:defRPr>
                        <a:solidFill>
                          <a:schemeClr val="bg1"/>
                        </a:solidFill>
                      </a:defRPr>
                    </a:pPr>
                    <a:r>
                      <a:rPr lang="en-US">
                        <a:solidFill>
                          <a:schemeClr val="bg1"/>
                        </a:solidFill>
                      </a:rPr>
                      <a:t>Finanskris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37136752136752"/>
                      <c:h val="0.19898346560846561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5-E480-4301-8783-DD027BB042D6}"/>
                </c:ext>
              </c:extLst>
            </c:dLbl>
            <c:dLbl>
              <c:idx val="151"/>
              <c:layout>
                <c:manualLayout>
                  <c:x val="-0.11471581196581196"/>
                  <c:y val="0.16081150793650786"/>
                </c:manualLayout>
              </c:layout>
              <c:tx>
                <c:rich>
                  <a:bodyPr/>
                  <a:lstStyle/>
                  <a:p>
                    <a:pPr>
                      <a:defRPr lang="sv-SE" noProof="0">
                        <a:solidFill>
                          <a:schemeClr val="bg1"/>
                        </a:solidFill>
                      </a:defRPr>
                    </a:pPr>
                    <a:r>
                      <a:rPr lang="en-US" noProof="0" dirty="0">
                        <a:solidFill>
                          <a:schemeClr val="bg1"/>
                        </a:solidFill>
                      </a:rPr>
                      <a:t>Covid-19</a:t>
                    </a:r>
                  </a:p>
                  <a:p>
                    <a:pPr>
                      <a:defRPr lang="sv-SE" noProof="0">
                        <a:solidFill>
                          <a:schemeClr val="bg1"/>
                        </a:solidFill>
                      </a:defRPr>
                    </a:pPr>
                    <a:r>
                      <a:rPr lang="en-US" noProof="0" dirty="0">
                        <a:solidFill>
                          <a:schemeClr val="bg1"/>
                        </a:solidFill>
                      </a:rPr>
                      <a:t>pandemi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908376068376068"/>
                      <c:h val="0.2605072751322751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6-E480-4301-8783-DD027BB042D6}"/>
                </c:ext>
              </c:extLst>
            </c:dLbl>
            <c:dLbl>
              <c:idx val="168"/>
              <c:layout>
                <c:manualLayout>
                  <c:x val="-9.9500275065756255E-17"/>
                  <c:y val="-7.946891534391534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sv-S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480-4301-8783-DD027BB042D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Nya platser'!$A$183:$A$351</c:f>
              <c:strCache>
                <c:ptCount val="169"/>
                <c:pt idx="0">
                  <c:v>200712</c:v>
                </c:pt>
                <c:pt idx="1">
                  <c:v>200801</c:v>
                </c:pt>
                <c:pt idx="2">
                  <c:v>200802</c:v>
                </c:pt>
                <c:pt idx="3">
                  <c:v>200803</c:v>
                </c:pt>
                <c:pt idx="4">
                  <c:v>200804</c:v>
                </c:pt>
                <c:pt idx="5">
                  <c:v>200805</c:v>
                </c:pt>
                <c:pt idx="6">
                  <c:v>200806</c:v>
                </c:pt>
                <c:pt idx="7">
                  <c:v>200807</c:v>
                </c:pt>
                <c:pt idx="8">
                  <c:v>200808</c:v>
                </c:pt>
                <c:pt idx="9">
                  <c:v>200809</c:v>
                </c:pt>
                <c:pt idx="10">
                  <c:v>200810</c:v>
                </c:pt>
                <c:pt idx="11">
                  <c:v>200811</c:v>
                </c:pt>
                <c:pt idx="12">
                  <c:v>200812</c:v>
                </c:pt>
                <c:pt idx="13">
                  <c:v>200901</c:v>
                </c:pt>
                <c:pt idx="14">
                  <c:v>200902</c:v>
                </c:pt>
                <c:pt idx="15">
                  <c:v>200903</c:v>
                </c:pt>
                <c:pt idx="16">
                  <c:v>200904</c:v>
                </c:pt>
                <c:pt idx="17">
                  <c:v>200905</c:v>
                </c:pt>
                <c:pt idx="18">
                  <c:v>200906</c:v>
                </c:pt>
                <c:pt idx="19">
                  <c:v>200907</c:v>
                </c:pt>
                <c:pt idx="20">
                  <c:v>200908</c:v>
                </c:pt>
                <c:pt idx="21">
                  <c:v>200909</c:v>
                </c:pt>
                <c:pt idx="22">
                  <c:v>200910</c:v>
                </c:pt>
                <c:pt idx="23">
                  <c:v>200911</c:v>
                </c:pt>
                <c:pt idx="24">
                  <c:v>200912</c:v>
                </c:pt>
                <c:pt idx="25">
                  <c:v>201001</c:v>
                </c:pt>
                <c:pt idx="26">
                  <c:v>201002</c:v>
                </c:pt>
                <c:pt idx="27">
                  <c:v>201003</c:v>
                </c:pt>
                <c:pt idx="28">
                  <c:v>201004</c:v>
                </c:pt>
                <c:pt idx="29">
                  <c:v>201005</c:v>
                </c:pt>
                <c:pt idx="30">
                  <c:v>201006</c:v>
                </c:pt>
                <c:pt idx="31">
                  <c:v>201007</c:v>
                </c:pt>
                <c:pt idx="32">
                  <c:v>201008</c:v>
                </c:pt>
                <c:pt idx="33">
                  <c:v>201009</c:v>
                </c:pt>
                <c:pt idx="34">
                  <c:v>201010</c:v>
                </c:pt>
                <c:pt idx="35">
                  <c:v>201011</c:v>
                </c:pt>
                <c:pt idx="36">
                  <c:v>201012</c:v>
                </c:pt>
                <c:pt idx="37">
                  <c:v>201101</c:v>
                </c:pt>
                <c:pt idx="38">
                  <c:v>201102</c:v>
                </c:pt>
                <c:pt idx="39">
                  <c:v>201103</c:v>
                </c:pt>
                <c:pt idx="40">
                  <c:v>201104</c:v>
                </c:pt>
                <c:pt idx="41">
                  <c:v>201105</c:v>
                </c:pt>
                <c:pt idx="42">
                  <c:v>201106</c:v>
                </c:pt>
                <c:pt idx="43">
                  <c:v>201107</c:v>
                </c:pt>
                <c:pt idx="44">
                  <c:v>201108</c:v>
                </c:pt>
                <c:pt idx="45">
                  <c:v>201109</c:v>
                </c:pt>
                <c:pt idx="46">
                  <c:v>201110</c:v>
                </c:pt>
                <c:pt idx="47">
                  <c:v>201111</c:v>
                </c:pt>
                <c:pt idx="48">
                  <c:v>201112</c:v>
                </c:pt>
                <c:pt idx="49">
                  <c:v>201201</c:v>
                </c:pt>
                <c:pt idx="50">
                  <c:v>201202</c:v>
                </c:pt>
                <c:pt idx="51">
                  <c:v>201203</c:v>
                </c:pt>
                <c:pt idx="52">
                  <c:v>201204</c:v>
                </c:pt>
                <c:pt idx="53">
                  <c:v>201205</c:v>
                </c:pt>
                <c:pt idx="54">
                  <c:v>201206</c:v>
                </c:pt>
                <c:pt idx="55">
                  <c:v>201207</c:v>
                </c:pt>
                <c:pt idx="56">
                  <c:v>201208</c:v>
                </c:pt>
                <c:pt idx="57">
                  <c:v>201209</c:v>
                </c:pt>
                <c:pt idx="58">
                  <c:v>201210</c:v>
                </c:pt>
                <c:pt idx="59">
                  <c:v>201211</c:v>
                </c:pt>
                <c:pt idx="60">
                  <c:v>201212</c:v>
                </c:pt>
                <c:pt idx="61">
                  <c:v>201301</c:v>
                </c:pt>
                <c:pt idx="62">
                  <c:v>201302</c:v>
                </c:pt>
                <c:pt idx="63">
                  <c:v>201303</c:v>
                </c:pt>
                <c:pt idx="64">
                  <c:v>201304</c:v>
                </c:pt>
                <c:pt idx="65">
                  <c:v>201305</c:v>
                </c:pt>
                <c:pt idx="66">
                  <c:v>201306</c:v>
                </c:pt>
                <c:pt idx="67">
                  <c:v>201307</c:v>
                </c:pt>
                <c:pt idx="68">
                  <c:v>201308</c:v>
                </c:pt>
                <c:pt idx="69">
                  <c:v>201309</c:v>
                </c:pt>
                <c:pt idx="70">
                  <c:v>201310</c:v>
                </c:pt>
                <c:pt idx="71">
                  <c:v>201311</c:v>
                </c:pt>
                <c:pt idx="72">
                  <c:v>201312</c:v>
                </c:pt>
                <c:pt idx="73">
                  <c:v>201401</c:v>
                </c:pt>
                <c:pt idx="74">
                  <c:v>201402</c:v>
                </c:pt>
                <c:pt idx="75">
                  <c:v>201403</c:v>
                </c:pt>
                <c:pt idx="76">
                  <c:v>201404</c:v>
                </c:pt>
                <c:pt idx="77">
                  <c:v>201405</c:v>
                </c:pt>
                <c:pt idx="78">
                  <c:v>201406</c:v>
                </c:pt>
                <c:pt idx="79">
                  <c:v>201407</c:v>
                </c:pt>
                <c:pt idx="80">
                  <c:v>201408</c:v>
                </c:pt>
                <c:pt idx="81">
                  <c:v>201409</c:v>
                </c:pt>
                <c:pt idx="82">
                  <c:v>201410</c:v>
                </c:pt>
                <c:pt idx="83">
                  <c:v>201411</c:v>
                </c:pt>
                <c:pt idx="84">
                  <c:v>201412</c:v>
                </c:pt>
                <c:pt idx="85">
                  <c:v>201501</c:v>
                </c:pt>
                <c:pt idx="86">
                  <c:v>201502</c:v>
                </c:pt>
                <c:pt idx="87">
                  <c:v>201503</c:v>
                </c:pt>
                <c:pt idx="88">
                  <c:v>201504</c:v>
                </c:pt>
                <c:pt idx="89">
                  <c:v>201505</c:v>
                </c:pt>
                <c:pt idx="90">
                  <c:v>201506</c:v>
                </c:pt>
                <c:pt idx="91">
                  <c:v>201507</c:v>
                </c:pt>
                <c:pt idx="92">
                  <c:v>201508</c:v>
                </c:pt>
                <c:pt idx="93">
                  <c:v>201509</c:v>
                </c:pt>
                <c:pt idx="94">
                  <c:v>201510</c:v>
                </c:pt>
                <c:pt idx="95">
                  <c:v>201511</c:v>
                </c:pt>
                <c:pt idx="96">
                  <c:v>201512</c:v>
                </c:pt>
                <c:pt idx="97">
                  <c:v>201601</c:v>
                </c:pt>
                <c:pt idx="98">
                  <c:v>201602</c:v>
                </c:pt>
                <c:pt idx="99">
                  <c:v>201603</c:v>
                </c:pt>
                <c:pt idx="100">
                  <c:v>201604</c:v>
                </c:pt>
                <c:pt idx="101">
                  <c:v>201605</c:v>
                </c:pt>
                <c:pt idx="102">
                  <c:v>201606</c:v>
                </c:pt>
                <c:pt idx="103">
                  <c:v>201607</c:v>
                </c:pt>
                <c:pt idx="104">
                  <c:v>201608</c:v>
                </c:pt>
                <c:pt idx="105">
                  <c:v>201609</c:v>
                </c:pt>
                <c:pt idx="106">
                  <c:v>201610</c:v>
                </c:pt>
                <c:pt idx="107">
                  <c:v>201611</c:v>
                </c:pt>
                <c:pt idx="108">
                  <c:v>201612</c:v>
                </c:pt>
                <c:pt idx="109">
                  <c:v>201701</c:v>
                </c:pt>
                <c:pt idx="110">
                  <c:v>201702</c:v>
                </c:pt>
                <c:pt idx="111">
                  <c:v>201703</c:v>
                </c:pt>
                <c:pt idx="112">
                  <c:v>201704</c:v>
                </c:pt>
                <c:pt idx="113">
                  <c:v>201705</c:v>
                </c:pt>
                <c:pt idx="114">
                  <c:v>201706</c:v>
                </c:pt>
                <c:pt idx="115">
                  <c:v>201707</c:v>
                </c:pt>
                <c:pt idx="116">
                  <c:v>201708</c:v>
                </c:pt>
                <c:pt idx="117">
                  <c:v>201709</c:v>
                </c:pt>
                <c:pt idx="118">
                  <c:v>201710</c:v>
                </c:pt>
                <c:pt idx="119">
                  <c:v>201711</c:v>
                </c:pt>
                <c:pt idx="120">
                  <c:v>201712</c:v>
                </c:pt>
                <c:pt idx="121">
                  <c:v>201801</c:v>
                </c:pt>
                <c:pt idx="122">
                  <c:v>201802</c:v>
                </c:pt>
                <c:pt idx="123">
                  <c:v>201803</c:v>
                </c:pt>
                <c:pt idx="124">
                  <c:v>201804</c:v>
                </c:pt>
                <c:pt idx="125">
                  <c:v>201805</c:v>
                </c:pt>
                <c:pt idx="126">
                  <c:v>201806</c:v>
                </c:pt>
                <c:pt idx="127">
                  <c:v>201807</c:v>
                </c:pt>
                <c:pt idx="128">
                  <c:v>201808</c:v>
                </c:pt>
                <c:pt idx="129">
                  <c:v>201809</c:v>
                </c:pt>
                <c:pt idx="130">
                  <c:v>201810</c:v>
                </c:pt>
                <c:pt idx="131">
                  <c:v>201811</c:v>
                </c:pt>
                <c:pt idx="132">
                  <c:v>201812</c:v>
                </c:pt>
                <c:pt idx="133">
                  <c:v>201901</c:v>
                </c:pt>
                <c:pt idx="134">
                  <c:v>201902</c:v>
                </c:pt>
                <c:pt idx="135">
                  <c:v>201903</c:v>
                </c:pt>
                <c:pt idx="136">
                  <c:v>201904</c:v>
                </c:pt>
                <c:pt idx="137">
                  <c:v>201905</c:v>
                </c:pt>
                <c:pt idx="138">
                  <c:v>201906</c:v>
                </c:pt>
                <c:pt idx="139">
                  <c:v>201907</c:v>
                </c:pt>
                <c:pt idx="140">
                  <c:v>201908</c:v>
                </c:pt>
                <c:pt idx="141">
                  <c:v>201909</c:v>
                </c:pt>
                <c:pt idx="142">
                  <c:v>201910</c:v>
                </c:pt>
                <c:pt idx="143">
                  <c:v>201911</c:v>
                </c:pt>
                <c:pt idx="144">
                  <c:v>201912</c:v>
                </c:pt>
                <c:pt idx="145">
                  <c:v>202001</c:v>
                </c:pt>
                <c:pt idx="146">
                  <c:v>202002</c:v>
                </c:pt>
                <c:pt idx="147">
                  <c:v>202003</c:v>
                </c:pt>
                <c:pt idx="148">
                  <c:v>202004</c:v>
                </c:pt>
                <c:pt idx="149">
                  <c:v>202005</c:v>
                </c:pt>
                <c:pt idx="150">
                  <c:v>202006</c:v>
                </c:pt>
                <c:pt idx="151">
                  <c:v>202007</c:v>
                </c:pt>
                <c:pt idx="152">
                  <c:v>202008</c:v>
                </c:pt>
                <c:pt idx="153">
                  <c:v>202009</c:v>
                </c:pt>
                <c:pt idx="154">
                  <c:v>202010</c:v>
                </c:pt>
                <c:pt idx="155">
                  <c:v>202011</c:v>
                </c:pt>
                <c:pt idx="156">
                  <c:v>202012</c:v>
                </c:pt>
                <c:pt idx="157">
                  <c:v>202101</c:v>
                </c:pt>
                <c:pt idx="158">
                  <c:v>202102</c:v>
                </c:pt>
                <c:pt idx="159">
                  <c:v>202103</c:v>
                </c:pt>
                <c:pt idx="160">
                  <c:v>202104</c:v>
                </c:pt>
                <c:pt idx="161">
                  <c:v>202105</c:v>
                </c:pt>
                <c:pt idx="162">
                  <c:v>202106</c:v>
                </c:pt>
                <c:pt idx="163">
                  <c:v>202107</c:v>
                </c:pt>
                <c:pt idx="164">
                  <c:v>202108</c:v>
                </c:pt>
                <c:pt idx="165">
                  <c:v>202109</c:v>
                </c:pt>
                <c:pt idx="166">
                  <c:v>202110</c:v>
                </c:pt>
                <c:pt idx="167">
                  <c:v>202111</c:v>
                </c:pt>
                <c:pt idx="168">
                  <c:v>202112</c:v>
                </c:pt>
              </c:strCache>
            </c:strRef>
          </c:cat>
          <c:val>
            <c:numRef>
              <c:f>'Nya platser'!$T$183:$T$351</c:f>
              <c:numCache>
                <c:formatCode>#,##0</c:formatCode>
                <c:ptCount val="169"/>
                <c:pt idx="0">
                  <c:v>4491.333333333333</c:v>
                </c:pt>
                <c:pt idx="1">
                  <c:v>4367.333333333333</c:v>
                </c:pt>
                <c:pt idx="2">
                  <c:v>4298</c:v>
                </c:pt>
                <c:pt idx="3">
                  <c:v>4461.333333333333</c:v>
                </c:pt>
                <c:pt idx="4">
                  <c:v>4391.333333333333</c:v>
                </c:pt>
                <c:pt idx="5">
                  <c:v>4070.6666666666665</c:v>
                </c:pt>
                <c:pt idx="6">
                  <c:v>3802</c:v>
                </c:pt>
                <c:pt idx="7">
                  <c:v>3113.6666666666665</c:v>
                </c:pt>
                <c:pt idx="8">
                  <c:v>3021.6666666666665</c:v>
                </c:pt>
                <c:pt idx="9">
                  <c:v>3124.6666666666665</c:v>
                </c:pt>
                <c:pt idx="10">
                  <c:v>3321.6666666666665</c:v>
                </c:pt>
                <c:pt idx="11">
                  <c:v>2863.3333333333335</c:v>
                </c:pt>
                <c:pt idx="12">
                  <c:v>2322.6666666666665</c:v>
                </c:pt>
                <c:pt idx="13">
                  <c:v>2017</c:v>
                </c:pt>
                <c:pt idx="14">
                  <c:v>2107.3333333333335</c:v>
                </c:pt>
                <c:pt idx="15">
                  <c:v>2169.6666666666665</c:v>
                </c:pt>
                <c:pt idx="16">
                  <c:v>2055.3333333333335</c:v>
                </c:pt>
                <c:pt idx="17">
                  <c:v>1816</c:v>
                </c:pt>
                <c:pt idx="18">
                  <c:v>1632</c:v>
                </c:pt>
                <c:pt idx="19">
                  <c:v>1439.3333333333333</c:v>
                </c:pt>
                <c:pt idx="20">
                  <c:v>1531.3333333333333</c:v>
                </c:pt>
                <c:pt idx="21">
                  <c:v>1713.6666666666667</c:v>
                </c:pt>
                <c:pt idx="22">
                  <c:v>1992.6666666666667</c:v>
                </c:pt>
                <c:pt idx="23">
                  <c:v>1946</c:v>
                </c:pt>
                <c:pt idx="24">
                  <c:v>1816</c:v>
                </c:pt>
                <c:pt idx="25">
                  <c:v>1946</c:v>
                </c:pt>
                <c:pt idx="26">
                  <c:v>2190.6666666666665</c:v>
                </c:pt>
                <c:pt idx="27">
                  <c:v>2746</c:v>
                </c:pt>
                <c:pt idx="28">
                  <c:v>3004.3333333333335</c:v>
                </c:pt>
                <c:pt idx="29">
                  <c:v>3232.6666666666665</c:v>
                </c:pt>
                <c:pt idx="30">
                  <c:v>3099.6666666666665</c:v>
                </c:pt>
                <c:pt idx="31">
                  <c:v>2818.6666666666665</c:v>
                </c:pt>
                <c:pt idx="32">
                  <c:v>2743.6666666666665</c:v>
                </c:pt>
                <c:pt idx="33">
                  <c:v>3107.6666666666665</c:v>
                </c:pt>
                <c:pt idx="34">
                  <c:v>3488</c:v>
                </c:pt>
                <c:pt idx="35">
                  <c:v>3583.6666666666665</c:v>
                </c:pt>
                <c:pt idx="36">
                  <c:v>3405.3333333333335</c:v>
                </c:pt>
                <c:pt idx="37">
                  <c:v>3572</c:v>
                </c:pt>
                <c:pt idx="38">
                  <c:v>4121.333333333333</c:v>
                </c:pt>
                <c:pt idx="39">
                  <c:v>4654.666666666667</c:v>
                </c:pt>
                <c:pt idx="40">
                  <c:v>5008.666666666667</c:v>
                </c:pt>
                <c:pt idx="41">
                  <c:v>5320.333333333333</c:v>
                </c:pt>
                <c:pt idx="42">
                  <c:v>4952</c:v>
                </c:pt>
                <c:pt idx="43">
                  <c:v>4297</c:v>
                </c:pt>
                <c:pt idx="44">
                  <c:v>3914</c:v>
                </c:pt>
                <c:pt idx="45">
                  <c:v>4103</c:v>
                </c:pt>
                <c:pt idx="46">
                  <c:v>4528</c:v>
                </c:pt>
                <c:pt idx="47">
                  <c:v>4453.333333333333</c:v>
                </c:pt>
                <c:pt idx="48">
                  <c:v>4283.333333333333</c:v>
                </c:pt>
                <c:pt idx="49">
                  <c:v>4301.666666666667</c:v>
                </c:pt>
                <c:pt idx="50">
                  <c:v>4682</c:v>
                </c:pt>
                <c:pt idx="51">
                  <c:v>5322.666666666667</c:v>
                </c:pt>
                <c:pt idx="52">
                  <c:v>5398.333333333333</c:v>
                </c:pt>
                <c:pt idx="53">
                  <c:v>5208</c:v>
                </c:pt>
                <c:pt idx="54">
                  <c:v>4762.666666666667</c:v>
                </c:pt>
                <c:pt idx="55">
                  <c:v>4320</c:v>
                </c:pt>
                <c:pt idx="56">
                  <c:v>4183.333333333333</c:v>
                </c:pt>
                <c:pt idx="57">
                  <c:v>4201</c:v>
                </c:pt>
                <c:pt idx="58">
                  <c:v>4615</c:v>
                </c:pt>
                <c:pt idx="59">
                  <c:v>4655.333333333333</c:v>
                </c:pt>
                <c:pt idx="60">
                  <c:v>4162.333333333333</c:v>
                </c:pt>
                <c:pt idx="61">
                  <c:v>4255</c:v>
                </c:pt>
                <c:pt idx="62">
                  <c:v>4454.666666666667</c:v>
                </c:pt>
                <c:pt idx="63">
                  <c:v>5014</c:v>
                </c:pt>
                <c:pt idx="64">
                  <c:v>4963</c:v>
                </c:pt>
                <c:pt idx="65">
                  <c:v>4892.333333333333</c:v>
                </c:pt>
                <c:pt idx="66">
                  <c:v>4506.333333333333</c:v>
                </c:pt>
                <c:pt idx="67">
                  <c:v>4035</c:v>
                </c:pt>
                <c:pt idx="68">
                  <c:v>3783.6666666666665</c:v>
                </c:pt>
                <c:pt idx="69">
                  <c:v>4014.3333333333335</c:v>
                </c:pt>
                <c:pt idx="70">
                  <c:v>4527.666666666667</c:v>
                </c:pt>
                <c:pt idx="71">
                  <c:v>4575.333333333333</c:v>
                </c:pt>
                <c:pt idx="72">
                  <c:v>4306</c:v>
                </c:pt>
                <c:pt idx="73">
                  <c:v>4145.333333333333</c:v>
                </c:pt>
                <c:pt idx="74">
                  <c:v>4720.333333333333</c:v>
                </c:pt>
                <c:pt idx="75">
                  <c:v>5473</c:v>
                </c:pt>
                <c:pt idx="76">
                  <c:v>5790</c:v>
                </c:pt>
                <c:pt idx="77">
                  <c:v>5115</c:v>
                </c:pt>
                <c:pt idx="78">
                  <c:v>4568.333333333333</c:v>
                </c:pt>
                <c:pt idx="79">
                  <c:v>3749.3333333333335</c:v>
                </c:pt>
                <c:pt idx="80">
                  <c:v>3721</c:v>
                </c:pt>
                <c:pt idx="81">
                  <c:v>3851.3333333333335</c:v>
                </c:pt>
                <c:pt idx="82">
                  <c:v>4905.666666666667</c:v>
                </c:pt>
                <c:pt idx="83">
                  <c:v>4912</c:v>
                </c:pt>
                <c:pt idx="84">
                  <c:v>4707.333333333333</c:v>
                </c:pt>
                <c:pt idx="85">
                  <c:v>4280.666666666667</c:v>
                </c:pt>
                <c:pt idx="86">
                  <c:v>4834.666666666667</c:v>
                </c:pt>
                <c:pt idx="87">
                  <c:v>5712</c:v>
                </c:pt>
                <c:pt idx="88">
                  <c:v>6508</c:v>
                </c:pt>
                <c:pt idx="89">
                  <c:v>6793.333333333333</c:v>
                </c:pt>
                <c:pt idx="90">
                  <c:v>6487</c:v>
                </c:pt>
                <c:pt idx="91">
                  <c:v>5601.666666666667</c:v>
                </c:pt>
                <c:pt idx="92">
                  <c:v>5184.333333333333</c:v>
                </c:pt>
                <c:pt idx="93">
                  <c:v>5499.333333333333</c:v>
                </c:pt>
                <c:pt idx="94">
                  <c:v>6378.333333333333</c:v>
                </c:pt>
                <c:pt idx="95">
                  <c:v>6760</c:v>
                </c:pt>
                <c:pt idx="96">
                  <c:v>6631.666666666667</c:v>
                </c:pt>
                <c:pt idx="97">
                  <c:v>6448</c:v>
                </c:pt>
                <c:pt idx="98">
                  <c:v>7111</c:v>
                </c:pt>
                <c:pt idx="99">
                  <c:v>7555.333333333333</c:v>
                </c:pt>
                <c:pt idx="100">
                  <c:v>8420</c:v>
                </c:pt>
                <c:pt idx="101">
                  <c:v>8729.6666666666661</c:v>
                </c:pt>
                <c:pt idx="102">
                  <c:v>8958.6666666666661</c:v>
                </c:pt>
                <c:pt idx="103">
                  <c:v>8250.3333333333339</c:v>
                </c:pt>
                <c:pt idx="104">
                  <c:v>7649.666666666667</c:v>
                </c:pt>
                <c:pt idx="105">
                  <c:v>7852.666666666667</c:v>
                </c:pt>
                <c:pt idx="106">
                  <c:v>8477.3333333333339</c:v>
                </c:pt>
                <c:pt idx="107">
                  <c:v>8790</c:v>
                </c:pt>
                <c:pt idx="108">
                  <c:v>8246.6666666666661</c:v>
                </c:pt>
                <c:pt idx="109">
                  <c:v>8069.333333333333</c:v>
                </c:pt>
                <c:pt idx="110">
                  <c:v>7397</c:v>
                </c:pt>
                <c:pt idx="111">
                  <c:v>7799</c:v>
                </c:pt>
                <c:pt idx="112">
                  <c:v>7573.666666666667</c:v>
                </c:pt>
                <c:pt idx="113">
                  <c:v>8273</c:v>
                </c:pt>
                <c:pt idx="114">
                  <c:v>7957.333333333333</c:v>
                </c:pt>
                <c:pt idx="115">
                  <c:v>7166</c:v>
                </c:pt>
                <c:pt idx="116">
                  <c:v>6841.333333333333</c:v>
                </c:pt>
                <c:pt idx="117">
                  <c:v>7189.333333333333</c:v>
                </c:pt>
                <c:pt idx="118">
                  <c:v>8001.666666666667</c:v>
                </c:pt>
                <c:pt idx="119">
                  <c:v>8120.666666666667</c:v>
                </c:pt>
                <c:pt idx="120">
                  <c:v>7467.333333333333</c:v>
                </c:pt>
                <c:pt idx="121">
                  <c:v>7719.333333333333</c:v>
                </c:pt>
                <c:pt idx="122">
                  <c:v>7648.666666666667</c:v>
                </c:pt>
                <c:pt idx="123">
                  <c:v>8374.6666666666661</c:v>
                </c:pt>
                <c:pt idx="124">
                  <c:v>8771.3333333333339</c:v>
                </c:pt>
                <c:pt idx="125">
                  <c:v>9617.6666666666661</c:v>
                </c:pt>
                <c:pt idx="126">
                  <c:v>9212.3333333333339</c:v>
                </c:pt>
                <c:pt idx="127">
                  <c:v>8052</c:v>
                </c:pt>
                <c:pt idx="128">
                  <c:v>7343</c:v>
                </c:pt>
                <c:pt idx="129">
                  <c:v>7554.666666666667</c:v>
                </c:pt>
                <c:pt idx="130">
                  <c:v>8597</c:v>
                </c:pt>
                <c:pt idx="131">
                  <c:v>8387.3333333333339</c:v>
                </c:pt>
                <c:pt idx="132">
                  <c:v>7677.666666666667</c:v>
                </c:pt>
                <c:pt idx="133">
                  <c:v>7131</c:v>
                </c:pt>
                <c:pt idx="134">
                  <c:v>6814.666666666667</c:v>
                </c:pt>
                <c:pt idx="135">
                  <c:v>7221</c:v>
                </c:pt>
                <c:pt idx="136">
                  <c:v>7361.333333333333</c:v>
                </c:pt>
                <c:pt idx="137">
                  <c:v>7910.666666666667</c:v>
                </c:pt>
                <c:pt idx="138">
                  <c:v>7401</c:v>
                </c:pt>
                <c:pt idx="139">
                  <c:v>6243.666666666667</c:v>
                </c:pt>
                <c:pt idx="140">
                  <c:v>5412</c:v>
                </c:pt>
                <c:pt idx="141">
                  <c:v>5623.666666666667</c:v>
                </c:pt>
                <c:pt idx="142">
                  <c:v>6385</c:v>
                </c:pt>
                <c:pt idx="143">
                  <c:v>6346.333333333333</c:v>
                </c:pt>
                <c:pt idx="144">
                  <c:v>5938</c:v>
                </c:pt>
                <c:pt idx="145">
                  <c:v>5758.333333333333</c:v>
                </c:pt>
                <c:pt idx="146">
                  <c:v>5797.333333333333</c:v>
                </c:pt>
                <c:pt idx="147">
                  <c:v>6176.666666666667</c:v>
                </c:pt>
                <c:pt idx="148">
                  <c:v>5238.666666666667</c:v>
                </c:pt>
                <c:pt idx="149">
                  <c:v>4378.666666666667</c:v>
                </c:pt>
                <c:pt idx="150">
                  <c:v>3433</c:v>
                </c:pt>
                <c:pt idx="151">
                  <c:v>3160.6666666666665</c:v>
                </c:pt>
                <c:pt idx="152">
                  <c:v>3313</c:v>
                </c:pt>
                <c:pt idx="153">
                  <c:v>3397</c:v>
                </c:pt>
                <c:pt idx="154">
                  <c:v>4407.666666666667</c:v>
                </c:pt>
                <c:pt idx="155">
                  <c:v>4818.666666666667</c:v>
                </c:pt>
                <c:pt idx="156">
                  <c:v>5109.333333333333</c:v>
                </c:pt>
                <c:pt idx="157">
                  <c:v>4626</c:v>
                </c:pt>
                <c:pt idx="158">
                  <c:v>4662.333333333333</c:v>
                </c:pt>
                <c:pt idx="159">
                  <c:v>5319.666666666667</c:v>
                </c:pt>
                <c:pt idx="160">
                  <c:v>6224</c:v>
                </c:pt>
                <c:pt idx="161">
                  <c:v>6952.333333333333</c:v>
                </c:pt>
                <c:pt idx="162">
                  <c:v>7083.333333333333</c:v>
                </c:pt>
                <c:pt idx="163">
                  <c:v>6704</c:v>
                </c:pt>
                <c:pt idx="164">
                  <c:v>6535</c:v>
                </c:pt>
                <c:pt idx="165">
                  <c:v>7174</c:v>
                </c:pt>
                <c:pt idx="166">
                  <c:v>8458</c:v>
                </c:pt>
                <c:pt idx="167">
                  <c:v>9544</c:v>
                </c:pt>
                <c:pt idx="168">
                  <c:v>9653.33333333333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480-4301-8783-DD027BB042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8212992"/>
        <c:axId val="108214528"/>
      </c:lineChart>
      <c:catAx>
        <c:axId val="108212992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one"/>
        <c:spPr>
          <a:ln w="6350">
            <a:noFill/>
          </a:ln>
        </c:spPr>
        <c:txPr>
          <a:bodyPr rot="5400000" vert="horz"/>
          <a:lstStyle/>
          <a:p>
            <a:pPr>
              <a:defRPr/>
            </a:pPr>
            <a:endParaRPr lang="sv-SE"/>
          </a:p>
        </c:txPr>
        <c:crossAx val="108214528"/>
        <c:crosses val="autoZero"/>
        <c:auto val="1"/>
        <c:lblAlgn val="ctr"/>
        <c:lblOffset val="100"/>
        <c:tickLblSkip val="12"/>
        <c:tickMarkSkip val="1"/>
        <c:noMultiLvlLbl val="0"/>
      </c:catAx>
      <c:valAx>
        <c:axId val="108214528"/>
        <c:scaling>
          <c:orientation val="minMax"/>
        </c:scaling>
        <c:delete val="0"/>
        <c:axPos val="l"/>
        <c:numFmt formatCode="#,##0" sourceLinked="1"/>
        <c:majorTickMark val="in"/>
        <c:minorTickMark val="none"/>
        <c:tickLblPos val="none"/>
        <c:spPr>
          <a:ln w="6350">
            <a:noFill/>
          </a:ln>
        </c:spPr>
        <c:crossAx val="108212992"/>
        <c:crosses val="autoZero"/>
        <c:crossBetween val="between"/>
      </c:valAx>
      <c:spPr>
        <a:noFill/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lang="sv-SE" sz="900" noProof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sv-SE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10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107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 mods="ignoreCSTransforms">
      <cs:styleClr val="0">
        <a:shade val="25000"/>
      </cs:styl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 mods="ignoreCSTransforms">
      <cs:styleClr val="0">
        <a:tint val="25000"/>
      </cs:styl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108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 mods="ignoreCSTransforms">
      <cs:styleClr val="0">
        <a:shade val="25000"/>
      </cs:styl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 mods="ignoreCSTransforms">
      <cs:styleClr val="0">
        <a:tint val="25000"/>
      </cs:styl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1528</cdr:x>
      <cdr:y>0.50567</cdr:y>
    </cdr:from>
    <cdr:to>
      <cdr:x>0.86095</cdr:x>
      <cdr:y>0.50567</cdr:y>
    </cdr:to>
    <cdr:cxnSp macro="">
      <cdr:nvCxnSpPr>
        <cdr:cNvPr id="3" name="Rak koppling 2">
          <a:extLst xmlns:a="http://schemas.openxmlformats.org/drawingml/2006/main">
            <a:ext uri="{FF2B5EF4-FFF2-40B4-BE49-F238E27FC236}">
              <a16:creationId xmlns:a16="http://schemas.microsoft.com/office/drawing/2014/main" id="{E2BD4A45-5DEE-4F79-8572-B3DBC9708A8A}"/>
            </a:ext>
          </a:extLst>
        </cdr:cNvPr>
        <cdr:cNvCxnSpPr/>
      </cdr:nvCxnSpPr>
      <cdr:spPr>
        <a:xfrm xmlns:a="http://schemas.openxmlformats.org/drawingml/2006/main">
          <a:off x="984250" y="1416050"/>
          <a:ext cx="2952000" cy="0"/>
        </a:xfrm>
        <a:prstGeom xmlns:a="http://schemas.openxmlformats.org/drawingml/2006/main" prst="line">
          <a:avLst/>
        </a:prstGeom>
        <a:ln xmlns:a="http://schemas.openxmlformats.org/drawingml/2006/main" w="57150" cap="rnd">
          <a:solidFill>
            <a:sysClr val="windowText" lastClr="00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3984</cdr:x>
      <cdr:y>0.32382</cdr:y>
    </cdr:from>
    <cdr:to>
      <cdr:x>0.73834</cdr:x>
      <cdr:y>0.51474</cdr:y>
    </cdr:to>
    <cdr:cxnSp macro="">
      <cdr:nvCxnSpPr>
        <cdr:cNvPr id="4" name="Rak koppling 3">
          <a:extLst xmlns:a="http://schemas.openxmlformats.org/drawingml/2006/main">
            <a:ext uri="{FF2B5EF4-FFF2-40B4-BE49-F238E27FC236}">
              <a16:creationId xmlns:a16="http://schemas.microsoft.com/office/drawing/2014/main" id="{773BF3B2-39CF-42BA-80AD-708AB9413F3D}"/>
            </a:ext>
          </a:extLst>
        </cdr:cNvPr>
        <cdr:cNvCxnSpPr/>
      </cdr:nvCxnSpPr>
      <cdr:spPr>
        <a:xfrm xmlns:a="http://schemas.openxmlformats.org/drawingml/2006/main" flipH="1">
          <a:off x="2365310" y="936959"/>
          <a:ext cx="869737" cy="552411"/>
        </a:xfrm>
        <a:prstGeom xmlns:a="http://schemas.openxmlformats.org/drawingml/2006/main" prst="line">
          <a:avLst/>
        </a:prstGeom>
        <a:ln xmlns:a="http://schemas.openxmlformats.org/drawingml/2006/main" w="38100" cap="rnd">
          <a:solidFill>
            <a:sysClr val="windowText" lastClr="000000"/>
          </a:solidFill>
          <a:head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5761</cdr:x>
      <cdr:y>0.37807</cdr:y>
    </cdr:from>
    <cdr:to>
      <cdr:x>0.62194</cdr:x>
      <cdr:y>0.62691</cdr:y>
    </cdr:to>
    <cdr:sp macro="" textlink="">
      <cdr:nvSpPr>
        <cdr:cNvPr id="2" name="Ellips 1">
          <a:extLst xmlns:a="http://schemas.openxmlformats.org/drawingml/2006/main">
            <a:ext uri="{FF2B5EF4-FFF2-40B4-BE49-F238E27FC236}">
              <a16:creationId xmlns:a16="http://schemas.microsoft.com/office/drawing/2014/main" id="{3DCFDDC5-A579-43F0-9D95-47A14C4DB305}"/>
            </a:ext>
          </a:extLst>
        </cdr:cNvPr>
        <cdr:cNvSpPr/>
      </cdr:nvSpPr>
      <cdr:spPr>
        <a:xfrm xmlns:a="http://schemas.openxmlformats.org/drawingml/2006/main">
          <a:off x="2005012" y="1093923"/>
          <a:ext cx="720000" cy="720000"/>
        </a:xfrm>
        <a:prstGeom xmlns:a="http://schemas.openxmlformats.org/drawingml/2006/main" prst="ellipse">
          <a:avLst/>
        </a:prstGeom>
        <a:solidFill xmlns:a="http://schemas.openxmlformats.org/drawingml/2006/main">
          <a:schemeClr val="tx1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0" tIns="45720" rIns="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sv-SE" sz="1200" dirty="0">
              <a:latin typeface="Arial" panose="020B0604020202020204" pitchFamily="34" charset="0"/>
              <a:ea typeface="Galaxie Polaris Medium" panose="02000000000000000000" pitchFamily="50" charset="0"/>
              <a:cs typeface="Arial" panose="020B0604020202020204" pitchFamily="34" charset="0"/>
            </a:rPr>
            <a:t>112,1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175</cdr:x>
      <cdr:y>0.51319</cdr:y>
    </cdr:from>
    <cdr:to>
      <cdr:x>0.25011</cdr:x>
      <cdr:y>0.60645</cdr:y>
    </cdr:to>
    <cdr:sp macro="" textlink="">
      <cdr:nvSpPr>
        <cdr:cNvPr id="2" name="textruta 1">
          <a:extLst xmlns:a="http://schemas.openxmlformats.org/drawingml/2006/main">
            <a:ext uri="{FF2B5EF4-FFF2-40B4-BE49-F238E27FC236}">
              <a16:creationId xmlns:a16="http://schemas.microsoft.com/office/drawing/2014/main" id="{3FF8C738-9F98-4BB1-B4F7-AC2F85FD7ED9}"/>
            </a:ext>
          </a:extLst>
        </cdr:cNvPr>
        <cdr:cNvSpPr txBox="1"/>
      </cdr:nvSpPr>
      <cdr:spPr>
        <a:xfrm xmlns:a="http://schemas.openxmlformats.org/drawingml/2006/main">
          <a:off x="890860" y="1662736"/>
          <a:ext cx="1005454" cy="30216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 anchor="ctr"/>
        <a:lstStyle xmlns:a="http://schemas.openxmlformats.org/drawingml/2006/main"/>
        <a:p xmlns:a="http://schemas.openxmlformats.org/drawingml/2006/main">
          <a:pPr algn="ctr"/>
          <a:r>
            <a:rPr lang="sv-SE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Finanskris</a:t>
          </a:r>
          <a:endParaRPr lang="sv-SE"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60018</cdr:x>
      <cdr:y>0.01837</cdr:y>
    </cdr:from>
    <cdr:to>
      <cdr:x>0.74196</cdr:x>
      <cdr:y>0.11163</cdr:y>
    </cdr:to>
    <cdr:sp macro="" textlink="">
      <cdr:nvSpPr>
        <cdr:cNvPr id="8" name="textruta 1">
          <a:extLst xmlns:a="http://schemas.openxmlformats.org/drawingml/2006/main">
            <a:ext uri="{FF2B5EF4-FFF2-40B4-BE49-F238E27FC236}">
              <a16:creationId xmlns:a16="http://schemas.microsoft.com/office/drawing/2014/main" id="{2B0D9AA5-99BB-440C-AC8E-A76140C13146}"/>
            </a:ext>
          </a:extLst>
        </cdr:cNvPr>
        <cdr:cNvSpPr txBox="1"/>
      </cdr:nvSpPr>
      <cdr:spPr>
        <a:xfrm xmlns:a="http://schemas.openxmlformats.org/drawingml/2006/main">
          <a:off x="4550553" y="59532"/>
          <a:ext cx="1074981" cy="30216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sv-SE" sz="1200" baseline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Högkonjunktur</a:t>
          </a:r>
          <a:endParaRPr lang="sv-SE" sz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22721</cdr:x>
      <cdr:y>0</cdr:y>
    </cdr:from>
    <cdr:to>
      <cdr:x>0.36899</cdr:x>
      <cdr:y>0.09326</cdr:y>
    </cdr:to>
    <cdr:sp macro="" textlink="">
      <cdr:nvSpPr>
        <cdr:cNvPr id="9" name="textruta 1">
          <a:extLst xmlns:a="http://schemas.openxmlformats.org/drawingml/2006/main">
            <a:ext uri="{FF2B5EF4-FFF2-40B4-BE49-F238E27FC236}">
              <a16:creationId xmlns:a16="http://schemas.microsoft.com/office/drawing/2014/main" id="{EC9816BA-3D8A-488D-AAD3-D8D52F7DB9C0}"/>
            </a:ext>
          </a:extLst>
        </cdr:cNvPr>
        <cdr:cNvSpPr txBox="1"/>
      </cdr:nvSpPr>
      <cdr:spPr>
        <a:xfrm xmlns:a="http://schemas.openxmlformats.org/drawingml/2006/main">
          <a:off x="1722742" y="0"/>
          <a:ext cx="1074981" cy="30216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sv-SE" sz="1200" baseline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Högkonjunktur</a:t>
          </a:r>
          <a:endParaRPr lang="sv-SE" sz="9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72928</cdr:x>
      <cdr:y>0.52778</cdr:y>
    </cdr:from>
    <cdr:to>
      <cdr:x>0.84354</cdr:x>
      <cdr:y>0.62104</cdr:y>
    </cdr:to>
    <cdr:sp macro="" textlink="">
      <cdr:nvSpPr>
        <cdr:cNvPr id="10" name="textruta 1">
          <a:extLst xmlns:a="http://schemas.openxmlformats.org/drawingml/2006/main">
            <a:ext uri="{FF2B5EF4-FFF2-40B4-BE49-F238E27FC236}">
              <a16:creationId xmlns:a16="http://schemas.microsoft.com/office/drawing/2014/main" id="{EC9816BA-3D8A-488D-AAD3-D8D52F7DB9C0}"/>
            </a:ext>
          </a:extLst>
        </cdr:cNvPr>
        <cdr:cNvSpPr txBox="1"/>
      </cdr:nvSpPr>
      <cdr:spPr>
        <a:xfrm xmlns:a="http://schemas.openxmlformats.org/drawingml/2006/main">
          <a:off x="5550248" y="1609459"/>
          <a:ext cx="869588" cy="28439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sv-SE" sz="1200" baseline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ovid-19 pandemi</a:t>
          </a:r>
          <a:endParaRPr lang="sv-SE" sz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1026</cdr:x>
      <cdr:y>0.50567</cdr:y>
    </cdr:from>
    <cdr:to>
      <cdr:x>0.86489</cdr:x>
      <cdr:y>0.50567</cdr:y>
    </cdr:to>
    <cdr:cxnSp macro="">
      <cdr:nvCxnSpPr>
        <cdr:cNvPr id="3" name="Rak koppling 2">
          <a:extLst xmlns:a="http://schemas.openxmlformats.org/drawingml/2006/main">
            <a:ext uri="{FF2B5EF4-FFF2-40B4-BE49-F238E27FC236}">
              <a16:creationId xmlns:a16="http://schemas.microsoft.com/office/drawing/2014/main" id="{E2BD4A45-5DEE-4F79-8572-B3DBC9708A8A}"/>
            </a:ext>
          </a:extLst>
        </cdr:cNvPr>
        <cdr:cNvCxnSpPr/>
      </cdr:nvCxnSpPr>
      <cdr:spPr>
        <a:xfrm xmlns:a="http://schemas.openxmlformats.org/drawingml/2006/main">
          <a:off x="832519" y="1322196"/>
          <a:ext cx="2592000" cy="0"/>
        </a:xfrm>
        <a:prstGeom xmlns:a="http://schemas.openxmlformats.org/drawingml/2006/main" prst="line">
          <a:avLst/>
        </a:prstGeom>
        <a:ln xmlns:a="http://schemas.openxmlformats.org/drawingml/2006/main" w="57150" cap="rnd">
          <a:solidFill>
            <a:sysClr val="windowText" lastClr="000000"/>
          </a:solidFill>
          <a:headEnd type="none" w="med" len="med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4148</cdr:x>
      <cdr:y>0.28488</cdr:y>
    </cdr:from>
    <cdr:to>
      <cdr:x>0.69172</cdr:x>
      <cdr:y>0.49931</cdr:y>
    </cdr:to>
    <cdr:cxnSp macro="">
      <cdr:nvCxnSpPr>
        <cdr:cNvPr id="4" name="Rak koppling 3">
          <a:extLst xmlns:a="http://schemas.openxmlformats.org/drawingml/2006/main">
            <a:ext uri="{FF2B5EF4-FFF2-40B4-BE49-F238E27FC236}">
              <a16:creationId xmlns:a16="http://schemas.microsoft.com/office/drawing/2014/main" id="{773BF3B2-39CF-42BA-80AD-708AB9413F3D}"/>
            </a:ext>
          </a:extLst>
        </cdr:cNvPr>
        <cdr:cNvCxnSpPr/>
      </cdr:nvCxnSpPr>
      <cdr:spPr>
        <a:xfrm xmlns:a="http://schemas.openxmlformats.org/drawingml/2006/main" flipH="1">
          <a:off x="2143973" y="744884"/>
          <a:ext cx="594870" cy="560682"/>
        </a:xfrm>
        <a:prstGeom xmlns:a="http://schemas.openxmlformats.org/drawingml/2006/main" prst="line">
          <a:avLst/>
        </a:prstGeom>
        <a:ln xmlns:a="http://schemas.openxmlformats.org/drawingml/2006/main" w="38100" cap="rnd">
          <a:solidFill>
            <a:sysClr val="windowText" lastClr="000000"/>
          </a:solidFill>
          <a:head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5761</cdr:x>
      <cdr:y>0.37807</cdr:y>
    </cdr:from>
    <cdr:to>
      <cdr:x>0.62194</cdr:x>
      <cdr:y>0.62691</cdr:y>
    </cdr:to>
    <cdr:sp macro="" textlink="">
      <cdr:nvSpPr>
        <cdr:cNvPr id="2" name="Ellips 1">
          <a:extLst xmlns:a="http://schemas.openxmlformats.org/drawingml/2006/main">
            <a:ext uri="{FF2B5EF4-FFF2-40B4-BE49-F238E27FC236}">
              <a16:creationId xmlns:a16="http://schemas.microsoft.com/office/drawing/2014/main" id="{3DCFDDC5-A579-43F0-9D95-47A14C4DB305}"/>
            </a:ext>
          </a:extLst>
        </cdr:cNvPr>
        <cdr:cNvSpPr/>
      </cdr:nvSpPr>
      <cdr:spPr>
        <a:xfrm xmlns:a="http://schemas.openxmlformats.org/drawingml/2006/main">
          <a:off x="2005012" y="1093923"/>
          <a:ext cx="720000" cy="720000"/>
        </a:xfrm>
        <a:prstGeom xmlns:a="http://schemas.openxmlformats.org/drawingml/2006/main" prst="ellipse">
          <a:avLst/>
        </a:prstGeom>
        <a:solidFill xmlns:a="http://schemas.openxmlformats.org/drawingml/2006/main">
          <a:schemeClr val="tx1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0" tIns="45720" rIns="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sv-SE" sz="1200" dirty="0">
              <a:latin typeface="Arial" panose="020B0604020202020204" pitchFamily="34" charset="0"/>
              <a:ea typeface="Galaxie Polaris Medium" panose="02000000000000000000" pitchFamily="50" charset="0"/>
              <a:cs typeface="Arial" panose="020B0604020202020204" pitchFamily="34" charset="0"/>
            </a:rPr>
            <a:t>108,3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21068</cdr:x>
      <cdr:y>0.50567</cdr:y>
    </cdr:from>
    <cdr:to>
      <cdr:x>0.86531</cdr:x>
      <cdr:y>0.50567</cdr:y>
    </cdr:to>
    <cdr:cxnSp macro="">
      <cdr:nvCxnSpPr>
        <cdr:cNvPr id="3" name="Rak koppling 2">
          <a:extLst xmlns:a="http://schemas.openxmlformats.org/drawingml/2006/main">
            <a:ext uri="{FF2B5EF4-FFF2-40B4-BE49-F238E27FC236}">
              <a16:creationId xmlns:a16="http://schemas.microsoft.com/office/drawing/2014/main" id="{E2BD4A45-5DEE-4F79-8572-B3DBC9708A8A}"/>
            </a:ext>
          </a:extLst>
        </cdr:cNvPr>
        <cdr:cNvCxnSpPr/>
      </cdr:nvCxnSpPr>
      <cdr:spPr>
        <a:xfrm xmlns:a="http://schemas.openxmlformats.org/drawingml/2006/main">
          <a:off x="834181" y="1322196"/>
          <a:ext cx="2592000" cy="0"/>
        </a:xfrm>
        <a:prstGeom xmlns:a="http://schemas.openxmlformats.org/drawingml/2006/main" prst="line">
          <a:avLst/>
        </a:prstGeom>
        <a:ln xmlns:a="http://schemas.openxmlformats.org/drawingml/2006/main" w="57150" cap="rnd">
          <a:solidFill>
            <a:sysClr val="windowText" lastClr="000000"/>
          </a:solidFill>
          <a:headEnd type="none" w="med" len="med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3984</cdr:x>
      <cdr:y>0.28488</cdr:y>
    </cdr:from>
    <cdr:to>
      <cdr:x>0.68666</cdr:x>
      <cdr:y>0.51474</cdr:y>
    </cdr:to>
    <cdr:cxnSp macro="">
      <cdr:nvCxnSpPr>
        <cdr:cNvPr id="4" name="Rak koppling 3">
          <a:extLst xmlns:a="http://schemas.openxmlformats.org/drawingml/2006/main">
            <a:ext uri="{FF2B5EF4-FFF2-40B4-BE49-F238E27FC236}">
              <a16:creationId xmlns:a16="http://schemas.microsoft.com/office/drawing/2014/main" id="{773BF3B2-39CF-42BA-80AD-708AB9413F3D}"/>
            </a:ext>
          </a:extLst>
        </cdr:cNvPr>
        <cdr:cNvCxnSpPr/>
      </cdr:nvCxnSpPr>
      <cdr:spPr>
        <a:xfrm xmlns:a="http://schemas.openxmlformats.org/drawingml/2006/main" flipH="1">
          <a:off x="2137480" y="744884"/>
          <a:ext cx="581337" cy="601028"/>
        </a:xfrm>
        <a:prstGeom xmlns:a="http://schemas.openxmlformats.org/drawingml/2006/main" prst="line">
          <a:avLst/>
        </a:prstGeom>
        <a:ln xmlns:a="http://schemas.openxmlformats.org/drawingml/2006/main" w="38100" cap="rnd">
          <a:solidFill>
            <a:sysClr val="windowText" lastClr="000000"/>
          </a:solidFill>
          <a:head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5761</cdr:x>
      <cdr:y>0.37807</cdr:y>
    </cdr:from>
    <cdr:to>
      <cdr:x>0.62194</cdr:x>
      <cdr:y>0.62691</cdr:y>
    </cdr:to>
    <cdr:sp macro="" textlink="">
      <cdr:nvSpPr>
        <cdr:cNvPr id="2" name="Ellips 1">
          <a:extLst xmlns:a="http://schemas.openxmlformats.org/drawingml/2006/main">
            <a:ext uri="{FF2B5EF4-FFF2-40B4-BE49-F238E27FC236}">
              <a16:creationId xmlns:a16="http://schemas.microsoft.com/office/drawing/2014/main" id="{3DCFDDC5-A579-43F0-9D95-47A14C4DB305}"/>
            </a:ext>
          </a:extLst>
        </cdr:cNvPr>
        <cdr:cNvSpPr/>
      </cdr:nvSpPr>
      <cdr:spPr>
        <a:xfrm xmlns:a="http://schemas.openxmlformats.org/drawingml/2006/main">
          <a:off x="2005012" y="1093923"/>
          <a:ext cx="720000" cy="720000"/>
        </a:xfrm>
        <a:prstGeom xmlns:a="http://schemas.openxmlformats.org/drawingml/2006/main" prst="ellipse">
          <a:avLst/>
        </a:prstGeom>
        <a:solidFill xmlns:a="http://schemas.openxmlformats.org/drawingml/2006/main">
          <a:schemeClr val="tx1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0" tIns="45720" rIns="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sv-SE" sz="1200" dirty="0">
              <a:latin typeface="Arial" panose="020B0604020202020204" pitchFamily="34" charset="0"/>
              <a:ea typeface="Galaxie Polaris Medium" panose="02000000000000000000" pitchFamily="50" charset="0"/>
              <a:cs typeface="Arial" panose="020B0604020202020204" pitchFamily="34" charset="0"/>
            </a:rPr>
            <a:t>108,2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EFF19A59-27F9-4D5F-9A78-1FC2D7C74F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sv-SE"/>
              <a:t>Presentation för enbart de smartase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98D38353-3320-4759-A856-8610AED92F8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FAE3B6-AEA4-4DC4-B259-3E020BC8A997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BA7833C-64F9-479A-BDC1-F7DCD377212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9C70AB4-7108-4933-9391-A40CBA53144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07C9C1-1246-4EFC-8BB5-51B2293CCC1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4790878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679449" y="154506"/>
            <a:ext cx="54387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ctr">
              <a:defRPr sz="1200"/>
            </a:lvl1pPr>
          </a:lstStyle>
          <a:p>
            <a:r>
              <a:rPr lang="sv-SE"/>
              <a:t>Presentation för enbart de smartase</a:t>
            </a:r>
            <a:endParaRPr lang="en-GB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682848" y="9275244"/>
            <a:ext cx="1473201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fld id="{DDAD3D5C-A49C-4E6B-A239-B4E9EA73BA38}" type="datetimeFigureOut">
              <a:rPr lang="en-GB" smtClean="0"/>
              <a:pPr/>
              <a:t>24/02/2022</a:t>
            </a:fld>
            <a:endParaRPr lang="en-GB" dirty="0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79450" y="1241425"/>
            <a:ext cx="5438775" cy="306021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2662237" y="9275244"/>
            <a:ext cx="14732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200"/>
            </a:lvl1pPr>
          </a:lstStyle>
          <a:p>
            <a:fld id="{AC497CE8-006A-4D39-B790-B2C157C2517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B715D6FA-7C00-492E-B2A9-CE3FF8084C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2888" y="908913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84932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-180975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Font typeface="Arial" panose="020B0604020202020204" pitchFamily="34" charset="0"/>
      <a:buChar char="−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725" indent="-179388" algn="l" defTabSz="914400" rtl="0" eaLnBrk="1" latinLnBrk="0" hangingPunct="1">
      <a:buFont typeface="Arial" panose="020B0604020202020204" pitchFamily="34" charset="0"/>
      <a:buChar char="−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679450" y="1241425"/>
            <a:ext cx="5438775" cy="30607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497CE8-006A-4D39-B790-B2C157C25173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5" name="Platshållare för sidhuvud 4">
            <a:extLst>
              <a:ext uri="{FF2B5EF4-FFF2-40B4-BE49-F238E27FC236}">
                <a16:creationId xmlns:a16="http://schemas.microsoft.com/office/drawing/2014/main" id="{1AA035A1-4F7F-49DA-A856-F85B86D71866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Presentation för enbart de smart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35711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679450" y="1241425"/>
            <a:ext cx="5438775" cy="30607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Energi: dyrare pga. brist och ofördelaktigt väder, avvecklad kärnkraft – från Uppsala län och ner skapas cirka 90% av Sveriges BNP</a:t>
            </a:r>
          </a:p>
          <a:p>
            <a:r>
              <a:rPr lang="sv-SE" dirty="0"/>
              <a:t>Omställning: berör både nuvarande arbetskraft och framförallt yngre generationer </a:t>
            </a:r>
          </a:p>
          <a:p>
            <a:endParaRPr lang="sv-SE" dirty="0"/>
          </a:p>
          <a:p>
            <a:r>
              <a:rPr lang="sv-SE" dirty="0"/>
              <a:t>Halvledarbrist: stor efterfrågan då insatsen används i många slutvaror – stängda fabriker kan leda till potentiella massvarsel</a:t>
            </a:r>
          </a:p>
          <a:p>
            <a:endParaRPr lang="sv-SE" dirty="0"/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sentation för enbart de smartase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497CE8-006A-4D39-B790-B2C157C2517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5212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679450" y="1241425"/>
            <a:ext cx="5438775" cy="30607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497CE8-006A-4D39-B790-B2C157C25173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5" name="Platshållare för sidhuvud 4">
            <a:extLst>
              <a:ext uri="{FF2B5EF4-FFF2-40B4-BE49-F238E27FC236}">
                <a16:creationId xmlns:a16="http://schemas.microsoft.com/office/drawing/2014/main" id="{7FBE0D7C-F6A7-4728-BEAD-35B1282BA2E1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Presentation för enbart de smart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12561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JP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.bin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624DF18A-D69A-4574-944C-06427C8DA6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Sexhörning 7">
            <a:extLst>
              <a:ext uri="{FF2B5EF4-FFF2-40B4-BE49-F238E27FC236}">
                <a16:creationId xmlns:a16="http://schemas.microsoft.com/office/drawing/2014/main" id="{415A18FA-016E-4D89-B028-3A9DB7D3102D}"/>
              </a:ext>
            </a:extLst>
          </p:cNvPr>
          <p:cNvSpPr/>
          <p:nvPr userDrawn="1"/>
        </p:nvSpPr>
        <p:spPr>
          <a:xfrm>
            <a:off x="1905000" y="0"/>
            <a:ext cx="7943850" cy="6857999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000" y="2596192"/>
            <a:ext cx="5676900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241B97A3-A308-4065-B749-0D4B5A8C84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9" name="Underrubrik 2">
            <a:extLst>
              <a:ext uri="{FF2B5EF4-FFF2-40B4-BE49-F238E27FC236}">
                <a16:creationId xmlns:a16="http://schemas.microsoft.com/office/drawing/2014/main" id="{F52BC1B4-A830-4337-A012-A1925FF1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54412" y="5709736"/>
            <a:ext cx="4572000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Namn</a:t>
            </a:r>
          </a:p>
          <a:p>
            <a:r>
              <a:rPr lang="sv-SE" dirty="0"/>
              <a:t>Titel</a:t>
            </a:r>
            <a:endParaRPr lang="en-GB" dirty="0"/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30B56924-FB7A-46A6-B6EF-1EC9BA35B3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7283" y="457200"/>
            <a:ext cx="4119514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 algn="ctr">
              <a:buNone/>
              <a:defRPr lang="en-GB" sz="1400" cap="all" baseline="0" dirty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 dirty="0"/>
              <a:t>Dat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79194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5587154-BD2A-4F12-8229-6CAEFE6895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1508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7817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vänst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33496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95839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5" name="Platshållare för text 3">
            <a:extLst>
              <a:ext uri="{FF2B5EF4-FFF2-40B4-BE49-F238E27FC236}">
                <a16:creationId xmlns:a16="http://schemas.microsoft.com/office/drawing/2014/main" id="{43AAF0FB-5C31-4B7A-B3F0-735ECFED13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14F623A5-22C3-402C-9416-7106F11094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57287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vatten, båt, scen, flod&#10;&#10;Automatiskt genererad beskrivning">
            <a:extLst>
              <a:ext uri="{FF2B5EF4-FFF2-40B4-BE49-F238E27FC236}">
                <a16:creationId xmlns:a16="http://schemas.microsoft.com/office/drawing/2014/main" id="{A3FB76D2-1C0D-4488-878D-4FAB146CF7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9" b="854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323D7106-5A4E-4A15-A441-8E5B070144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Namn </a:t>
            </a:r>
            <a:r>
              <a:rPr lang="sv-SE" dirty="0" err="1"/>
              <a:t>Namnesson</a:t>
            </a:r>
            <a:br>
              <a:rPr lang="sv-SE" dirty="0"/>
            </a:br>
            <a:r>
              <a:rPr lang="sv-SE" dirty="0"/>
              <a:t>Titel</a:t>
            </a:r>
          </a:p>
          <a:p>
            <a:pPr lvl="0"/>
            <a:r>
              <a:rPr lang="sv-SE" dirty="0"/>
              <a:t>Datu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BDBF191B-6AEB-4CCA-B141-5EF4F9F7AA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B3F6FD54-C892-4BA4-BE9D-ED4B94D9E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67994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 descr="En bild som visar himmel, utomhus, flera&#10;&#10;Automatiskt genererad beskrivning">
            <a:extLst>
              <a:ext uri="{FF2B5EF4-FFF2-40B4-BE49-F238E27FC236}">
                <a16:creationId xmlns:a16="http://schemas.microsoft.com/office/drawing/2014/main" id="{AB68B31A-1E54-4F66-A3F8-68DCC3EA20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" y="0"/>
            <a:ext cx="12190588" cy="6858000"/>
          </a:xfrm>
          <a:prstGeom prst="rect">
            <a:avLst/>
          </a:prstGeom>
        </p:spPr>
      </p:pic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323D7106-5A4E-4A15-A441-8E5B070144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473514" y="551915"/>
            <a:ext cx="1846734" cy="1612020"/>
          </a:xfrm>
          <a:prstGeom prst="hexagon">
            <a:avLst/>
          </a:prstGeom>
          <a:solidFill>
            <a:schemeClr val="accent5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Namn </a:t>
            </a:r>
            <a:r>
              <a:rPr lang="sv-SE" dirty="0" err="1"/>
              <a:t>Namnsson</a:t>
            </a:r>
            <a:br>
              <a:rPr lang="sv-SE" dirty="0"/>
            </a:br>
            <a:r>
              <a:rPr lang="sv-SE" dirty="0"/>
              <a:t>Titel</a:t>
            </a:r>
          </a:p>
          <a:p>
            <a:pPr lvl="0"/>
            <a:r>
              <a:rPr lang="sv-SE" dirty="0"/>
              <a:t>Datu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BDBF191B-6AEB-4CCA-B141-5EF4F9F7AA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B3F6FD54-C892-4BA4-BE9D-ED4B94D9E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1938311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06951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>
            <a:extLst>
              <a:ext uri="{FF2B5EF4-FFF2-40B4-BE49-F238E27FC236}">
                <a16:creationId xmlns:a16="http://schemas.microsoft.com/office/drawing/2014/main" id="{FBA023CF-467C-4D38-BFA6-84375E92AF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415" r="-14415"/>
          <a:stretch/>
        </p:blipFill>
        <p:spPr>
          <a:xfrm flipH="1">
            <a:off x="254000" y="0"/>
            <a:ext cx="11938000" cy="6858000"/>
          </a:xfrm>
          <a:prstGeom prst="rect">
            <a:avLst/>
          </a:prstGeom>
        </p:spPr>
      </p:pic>
      <p:sp>
        <p:nvSpPr>
          <p:cNvPr id="6" name="Pil: femhörning 5">
            <a:extLst>
              <a:ext uri="{FF2B5EF4-FFF2-40B4-BE49-F238E27FC236}">
                <a16:creationId xmlns:a16="http://schemas.microsoft.com/office/drawing/2014/main" id="{30A31DD0-4413-4150-BA2D-DA1A071C1EEF}"/>
              </a:ext>
            </a:extLst>
          </p:cNvPr>
          <p:cNvSpPr/>
          <p:nvPr userDrawn="1"/>
        </p:nvSpPr>
        <p:spPr>
          <a:xfrm>
            <a:off x="0" y="0"/>
            <a:ext cx="7943850" cy="6858000"/>
          </a:xfrm>
          <a:prstGeom prst="homePlate">
            <a:avLst>
              <a:gd name="adj" fmla="val 2524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9100" y="2601119"/>
            <a:ext cx="5676900" cy="1655762"/>
          </a:xfrm>
        </p:spPr>
        <p:txBody>
          <a:bodyPr anchor="ctr">
            <a:normAutofit/>
          </a:bodyPr>
          <a:lstStyle>
            <a:lvl1pPr algn="l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1F17AFD7-57F0-4B61-8104-CD30595CF2E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9100" y="5467546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Namn</a:t>
            </a:r>
          </a:p>
          <a:p>
            <a:r>
              <a:rPr lang="sv-SE" dirty="0"/>
              <a:t>Titel</a:t>
            </a:r>
            <a:endParaRPr lang="en-GB" dirty="0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DEC7EBC4-F612-4E85-A8EA-EE3EC15EBE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00930869-2014-4023-9C18-6824B8A4B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457200"/>
            <a:ext cx="5180013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GB" sz="1600" cap="all" baseline="0" dirty="0">
                <a:solidFill>
                  <a:schemeClr val="bg1"/>
                </a:solidFill>
              </a:defRPr>
            </a:lvl1pPr>
          </a:lstStyle>
          <a:p>
            <a:pPr marL="285750" lvl="0" indent="-285750"/>
            <a:r>
              <a:rPr lang="sv-SE" dirty="0"/>
              <a:t>Dat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73609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objekt 12" descr="En bild som visar utomhus, byggnad, stad&#10;&#10;Automatiskt genererad beskrivning">
            <a:extLst>
              <a:ext uri="{FF2B5EF4-FFF2-40B4-BE49-F238E27FC236}">
                <a16:creationId xmlns:a16="http://schemas.microsoft.com/office/drawing/2014/main" id="{BE3F0BD8-A8DC-4282-8554-9C0889C89F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24" r="63727"/>
          <a:stretch/>
        </p:blipFill>
        <p:spPr>
          <a:xfrm>
            <a:off x="7876515" y="0"/>
            <a:ext cx="4315485" cy="6858000"/>
          </a:xfrm>
          <a:prstGeom prst="rect">
            <a:avLst/>
          </a:prstGeom>
        </p:spPr>
      </p:pic>
      <p:pic>
        <p:nvPicPr>
          <p:cNvPr id="3" name="Bildobjekt 2">
            <a:extLst>
              <a:ext uri="{FF2B5EF4-FFF2-40B4-BE49-F238E27FC236}">
                <a16:creationId xmlns:a16="http://schemas.microsoft.com/office/drawing/2014/main" id="{738DFB51-23EE-4FE2-9655-A0261880D8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4069" r="14149"/>
          <a:stretch/>
        </p:blipFill>
        <p:spPr>
          <a:xfrm>
            <a:off x="-92075" y="0"/>
            <a:ext cx="4987925" cy="6858000"/>
          </a:xfrm>
          <a:prstGeom prst="rect">
            <a:avLst/>
          </a:prstGeom>
        </p:spPr>
      </p:pic>
      <p:sp>
        <p:nvSpPr>
          <p:cNvPr id="7" name="Sexhörning 6">
            <a:extLst>
              <a:ext uri="{FF2B5EF4-FFF2-40B4-BE49-F238E27FC236}">
                <a16:creationId xmlns:a16="http://schemas.microsoft.com/office/drawing/2014/main" id="{9C81CB57-CC6D-4373-9E8C-26764891F91B}"/>
              </a:ext>
            </a:extLst>
          </p:cNvPr>
          <p:cNvSpPr/>
          <p:nvPr userDrawn="1"/>
        </p:nvSpPr>
        <p:spPr>
          <a:xfrm>
            <a:off x="1905000" y="0"/>
            <a:ext cx="7943850" cy="6858000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Underrubrik 2">
            <a:extLst>
              <a:ext uri="{FF2B5EF4-FFF2-40B4-BE49-F238E27FC236}">
                <a16:creationId xmlns:a16="http://schemas.microsoft.com/office/drawing/2014/main" id="{D5DF9CD7-B6B8-4C64-80AE-FC155A34F0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81822" y="5624446"/>
            <a:ext cx="2917203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ontakt: </a:t>
            </a:r>
            <a:br>
              <a:rPr lang="sv-SE" dirty="0"/>
            </a:br>
            <a:r>
              <a:rPr lang="sv-SE" dirty="0"/>
              <a:t>namn </a:t>
            </a:r>
            <a:br>
              <a:rPr lang="sv-SE" dirty="0"/>
            </a:br>
            <a:r>
              <a:rPr lang="sv-SE" dirty="0" err="1"/>
              <a:t>tel</a:t>
            </a:r>
            <a:r>
              <a:rPr lang="sv-SE" dirty="0"/>
              <a:t> och mailadress</a:t>
            </a:r>
            <a:endParaRPr lang="en-GB" dirty="0"/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69FFDD3A-A88B-4AB3-A4FA-7FFFFB933E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81822" y="457200"/>
            <a:ext cx="2917203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 algn="ctr">
              <a:buNone/>
              <a:defRPr lang="en-GB" sz="1600" cap="all" baseline="0" dirty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 dirty="0"/>
              <a:t>Datum</a:t>
            </a:r>
            <a:endParaRPr lang="en-GB" dirty="0"/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0475505B-3E73-45DD-899D-C788753682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13098" y="2601119"/>
            <a:ext cx="5454650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91220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DEAE3C80-AB60-4336-8EF3-A47597D4B9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323D7106-5A4E-4A15-A441-8E5B070144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Namn </a:t>
            </a:r>
            <a:r>
              <a:rPr lang="sv-SE" dirty="0" err="1"/>
              <a:t>Namnesson</a:t>
            </a:r>
            <a:br>
              <a:rPr lang="sv-SE" dirty="0"/>
            </a:br>
            <a:r>
              <a:rPr lang="sv-SE" dirty="0"/>
              <a:t>Titel</a:t>
            </a:r>
          </a:p>
          <a:p>
            <a:pPr lvl="0"/>
            <a:r>
              <a:rPr lang="sv-SE" dirty="0"/>
              <a:t>Datu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BDBF191B-6AEB-4CCA-B141-5EF4F9F7AA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B3F6FD54-C892-4BA4-BE9D-ED4B94D9E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3171226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40231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79175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ssid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848955C-00EC-4B47-BC95-A26380F7B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5653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objekt 9">
            <a:extLst>
              <a:ext uri="{FF2B5EF4-FFF2-40B4-BE49-F238E27FC236}">
                <a16:creationId xmlns:a16="http://schemas.microsoft.com/office/drawing/2014/main" id="{EDAC6DE7-C488-486A-870E-7B1A10059F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578" r="17582"/>
          <a:stretch/>
        </p:blipFill>
        <p:spPr>
          <a:xfrm>
            <a:off x="-7617" y="0"/>
            <a:ext cx="5114303" cy="6858000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A2FA2507-FD7A-476A-A8DE-07D12DA676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46995" r="16850"/>
          <a:stretch/>
        </p:blipFill>
        <p:spPr>
          <a:xfrm>
            <a:off x="7953375" y="0"/>
            <a:ext cx="4316167" cy="6858000"/>
          </a:xfrm>
          <a:prstGeom prst="rect">
            <a:avLst/>
          </a:prstGeom>
        </p:spPr>
      </p:pic>
      <p:sp>
        <p:nvSpPr>
          <p:cNvPr id="7" name="Sexhörning 6">
            <a:extLst>
              <a:ext uri="{FF2B5EF4-FFF2-40B4-BE49-F238E27FC236}">
                <a16:creationId xmlns:a16="http://schemas.microsoft.com/office/drawing/2014/main" id="{9C81CB57-CC6D-4373-9E8C-26764891F91B}"/>
              </a:ext>
            </a:extLst>
          </p:cNvPr>
          <p:cNvSpPr/>
          <p:nvPr userDrawn="1"/>
        </p:nvSpPr>
        <p:spPr>
          <a:xfrm>
            <a:off x="1905000" y="0"/>
            <a:ext cx="7943850" cy="6858000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7E16920A-42C5-4BBF-91CA-6A655E0FCEF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596254" y="2587750"/>
            <a:ext cx="2637666" cy="1701067"/>
          </a:xfrm>
          <a:prstGeom prst="rect">
            <a:avLst/>
          </a:prstGeom>
        </p:spPr>
      </p:pic>
      <p:sp>
        <p:nvSpPr>
          <p:cNvPr id="13" name="Platshållare för text 5">
            <a:extLst>
              <a:ext uri="{FF2B5EF4-FFF2-40B4-BE49-F238E27FC236}">
                <a16:creationId xmlns:a16="http://schemas.microsoft.com/office/drawing/2014/main" id="{FDA51B77-D4D1-421E-A001-AC87B8F2E0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26168" y="969255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Underrubrik 2">
            <a:extLst>
              <a:ext uri="{FF2B5EF4-FFF2-40B4-BE49-F238E27FC236}">
                <a16:creationId xmlns:a16="http://schemas.microsoft.com/office/drawing/2014/main" id="{D5DF9CD7-B6B8-4C64-80AE-FC155A34F0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81823" y="4696119"/>
            <a:ext cx="2917203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ontakt: </a:t>
            </a:r>
            <a:br>
              <a:rPr lang="sv-SE" dirty="0"/>
            </a:br>
            <a:r>
              <a:rPr lang="sv-SE" dirty="0"/>
              <a:t>namn </a:t>
            </a:r>
            <a:br>
              <a:rPr lang="sv-SE" dirty="0"/>
            </a:br>
            <a:r>
              <a:rPr lang="sv-SE" dirty="0" err="1"/>
              <a:t>tel</a:t>
            </a:r>
            <a:r>
              <a:rPr lang="sv-SE" dirty="0"/>
              <a:t> och mailadress</a:t>
            </a:r>
            <a:endParaRPr lang="en-GB" dirty="0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AEDC73C1-CA14-4BAB-A605-17C623C8EF96}"/>
              </a:ext>
            </a:extLst>
          </p:cNvPr>
          <p:cNvSpPr txBox="1"/>
          <p:nvPr userDrawn="1"/>
        </p:nvSpPr>
        <p:spPr>
          <a:xfrm>
            <a:off x="3800475" y="6296718"/>
            <a:ext cx="41529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100" cap="all" baseline="0" dirty="0">
                <a:solidFill>
                  <a:schemeClr val="bg1"/>
                </a:solidFill>
              </a:rPr>
              <a:t>Business region göteborg – en del </a:t>
            </a:r>
            <a:br>
              <a:rPr lang="sv-SE" sz="1100" cap="all" baseline="0" dirty="0">
                <a:solidFill>
                  <a:schemeClr val="bg1"/>
                </a:solidFill>
              </a:rPr>
            </a:br>
            <a:r>
              <a:rPr lang="sv-SE" sz="1100" cap="all" baseline="0" dirty="0">
                <a:solidFill>
                  <a:schemeClr val="bg1"/>
                </a:solidFill>
              </a:rPr>
              <a:t>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18954237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ida ver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AAD3C03-F65A-414E-B38B-260E948FF5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497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dobjekt 3">
            <a:extLst>
              <a:ext uri="{FF2B5EF4-FFF2-40B4-BE49-F238E27FC236}">
                <a16:creationId xmlns:a16="http://schemas.microsoft.com/office/drawing/2014/main" id="{73964CDB-FAD0-4FDE-A2BA-7488AA830DC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596254" y="2587750"/>
            <a:ext cx="2637666" cy="1701067"/>
          </a:xfrm>
          <a:prstGeom prst="rect">
            <a:avLst/>
          </a:prstGeom>
        </p:spPr>
      </p:pic>
      <p:sp>
        <p:nvSpPr>
          <p:cNvPr id="7" name="Underrubrik 2">
            <a:extLst>
              <a:ext uri="{FF2B5EF4-FFF2-40B4-BE49-F238E27FC236}">
                <a16:creationId xmlns:a16="http://schemas.microsoft.com/office/drawing/2014/main" id="{C975FBF4-9F29-4BAB-99E2-DADE0991EB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788" y="370769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ontakt: </a:t>
            </a:r>
            <a:br>
              <a:rPr lang="sv-SE" dirty="0"/>
            </a:br>
            <a:r>
              <a:rPr lang="sv-SE" dirty="0"/>
              <a:t>namn</a:t>
            </a:r>
            <a:br>
              <a:rPr lang="sv-SE" dirty="0"/>
            </a:br>
            <a:r>
              <a:rPr lang="sv-SE" dirty="0" err="1"/>
              <a:t>tel</a:t>
            </a:r>
            <a:r>
              <a:rPr lang="sv-SE" dirty="0"/>
              <a:t> och mailadress</a:t>
            </a:r>
            <a:endParaRPr lang="en-GB" dirty="0"/>
          </a:p>
        </p:txBody>
      </p:sp>
      <p:sp>
        <p:nvSpPr>
          <p:cNvPr id="8" name="Platshållare för text 5">
            <a:extLst>
              <a:ext uri="{FF2B5EF4-FFF2-40B4-BE49-F238E27FC236}">
                <a16:creationId xmlns:a16="http://schemas.microsoft.com/office/drawing/2014/main" id="{DBEB03BB-830E-4148-A326-8D0E43DE23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52073" y="497915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Tryck här om du vill lägga till text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B0659B0D-FBB5-4D2A-AE50-4EB88F0DC37D}"/>
              </a:ext>
            </a:extLst>
          </p:cNvPr>
          <p:cNvSpPr txBox="1"/>
          <p:nvPr userDrawn="1"/>
        </p:nvSpPr>
        <p:spPr>
          <a:xfrm>
            <a:off x="839788" y="6405095"/>
            <a:ext cx="10512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cap="all" baseline="0" dirty="0">
                <a:solidFill>
                  <a:schemeClr val="bg1"/>
                </a:solidFill>
              </a:rPr>
              <a:t>Business region göteborg – en del 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23309636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74849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5260618-5032-4CA5-ADE2-51B4599833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21009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höger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76800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76800" cy="397986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10" name="Platshållare för bild 10">
            <a:extLst>
              <a:ext uri="{FF2B5EF4-FFF2-40B4-BE49-F238E27FC236}">
                <a16:creationId xmlns:a16="http://schemas.microsoft.com/office/drawing/2014/main" id="{E0E2D5B2-C8FB-4B49-9797-8EA5369494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333040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vänster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413" y="365125"/>
            <a:ext cx="4876800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5413" y="1825625"/>
            <a:ext cx="4876800" cy="397986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044806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14EFC7-DD15-450C-9679-EC5B2ABD3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78890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ida -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14EFC7-DD15-450C-9679-EC5B2ABD3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E7DDDEA0-8B65-4B63-81A5-69675C2FB8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2944660" cy="1202866"/>
          </a:xfrm>
          <a:solidFill>
            <a:schemeClr val="accent3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8" name="Platshållare för innehåll 3">
            <a:extLst>
              <a:ext uri="{FF2B5EF4-FFF2-40B4-BE49-F238E27FC236}">
                <a16:creationId xmlns:a16="http://schemas.microsoft.com/office/drawing/2014/main" id="{C495AC53-3AF3-41E5-B81B-81BA5388E1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38600" y="1825626"/>
            <a:ext cx="7315200" cy="1189997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  <p:sp>
        <p:nvSpPr>
          <p:cNvPr id="9" name="Platshållare för innehåll 2">
            <a:extLst>
              <a:ext uri="{FF2B5EF4-FFF2-40B4-BE49-F238E27FC236}">
                <a16:creationId xmlns:a16="http://schemas.microsoft.com/office/drawing/2014/main" id="{D8974C98-54E7-4B31-9D55-9F903F9BE0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8200" y="3199780"/>
            <a:ext cx="2944660" cy="1202866"/>
          </a:xfrm>
          <a:solidFill>
            <a:schemeClr val="accent3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0" name="Platshållare för innehåll 3">
            <a:extLst>
              <a:ext uri="{FF2B5EF4-FFF2-40B4-BE49-F238E27FC236}">
                <a16:creationId xmlns:a16="http://schemas.microsoft.com/office/drawing/2014/main" id="{2EC6FBBC-11C2-4CD4-9135-EC04C17DBE4A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038600" y="3199780"/>
            <a:ext cx="7315200" cy="1237306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78380EC8-C494-4735-ADF3-14F5A2A332CA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200" y="4573935"/>
            <a:ext cx="2944660" cy="1202866"/>
          </a:xfrm>
          <a:solidFill>
            <a:schemeClr val="accent3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096C3987-C8B1-425E-9A89-2DDF818F7B8F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038600" y="4573935"/>
            <a:ext cx="7315200" cy="1237306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9631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Pr>
        <a:solidFill>
          <a:srgbClr val="8FB8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249A26DA-9AA1-4E87-8115-CF8413A69C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62627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3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0BDD1F87-5733-4739-8F6C-0C15C678AD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DF83555-6640-457A-A3EC-169EEFFCFF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9676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92870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FF242134-2D76-4DCB-88C7-19CDE0CE5B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59186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rgbClr val="3A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92621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 text vänster">
    <p:bg>
      <p:bgPr>
        <a:solidFill>
          <a:srgbClr val="3A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8534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69159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rgbClr val="3A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Platshållare för text 3">
            <a:extLst>
              <a:ext uri="{FF2B5EF4-FFF2-40B4-BE49-F238E27FC236}">
                <a16:creationId xmlns:a16="http://schemas.microsoft.com/office/drawing/2014/main" id="{CAADFD81-8A4D-4B19-AB85-21FD9D7DBA9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85626E8B-2171-41E8-8EDA-1BEF72CF26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04269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69845B8F-4287-48D6-8BA9-E08192F8D4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364495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5C489BE3-1DB9-4564-856D-F1DF541A18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990084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höger">
    <p:bg>
      <p:bgPr>
        <a:solidFill>
          <a:srgbClr val="D9E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76800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76800" cy="397986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10" name="Platshållare för bild 10">
            <a:extLst>
              <a:ext uri="{FF2B5EF4-FFF2-40B4-BE49-F238E27FC236}">
                <a16:creationId xmlns:a16="http://schemas.microsoft.com/office/drawing/2014/main" id="{E0E2D5B2-C8FB-4B49-9797-8EA5369494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17789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vänster">
    <p:bg>
      <p:bgPr>
        <a:solidFill>
          <a:srgbClr val="D9E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413" y="365125"/>
            <a:ext cx="4876800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5413" y="1825625"/>
            <a:ext cx="4876800" cy="397986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195829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8B315424-357B-4647-888E-3606002F18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94058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höge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768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768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10" name="Platshållare för bild 10">
            <a:extLst>
              <a:ext uri="{FF2B5EF4-FFF2-40B4-BE49-F238E27FC236}">
                <a16:creationId xmlns:a16="http://schemas.microsoft.com/office/drawing/2014/main" id="{E0E2D5B2-C8FB-4B49-9797-8EA5369494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6364837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ida -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14EFC7-DD15-450C-9679-EC5B2ABD3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E7DDDEA0-8B65-4B63-81A5-69675C2FB8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2944660" cy="1202866"/>
          </a:xfrm>
          <a:solidFill>
            <a:srgbClr val="366D6B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8" name="Platshållare för innehåll 3">
            <a:extLst>
              <a:ext uri="{FF2B5EF4-FFF2-40B4-BE49-F238E27FC236}">
                <a16:creationId xmlns:a16="http://schemas.microsoft.com/office/drawing/2014/main" id="{C495AC53-3AF3-41E5-B81B-81BA5388E1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38600" y="1825626"/>
            <a:ext cx="7315200" cy="1189997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  <p:sp>
        <p:nvSpPr>
          <p:cNvPr id="9" name="Platshållare för innehåll 2">
            <a:extLst>
              <a:ext uri="{FF2B5EF4-FFF2-40B4-BE49-F238E27FC236}">
                <a16:creationId xmlns:a16="http://schemas.microsoft.com/office/drawing/2014/main" id="{D8974C98-54E7-4B31-9D55-9F903F9BE0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8200" y="3199780"/>
            <a:ext cx="2944660" cy="1202866"/>
          </a:xfrm>
          <a:solidFill>
            <a:srgbClr val="366D6B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0" name="Platshållare för innehåll 3">
            <a:extLst>
              <a:ext uri="{FF2B5EF4-FFF2-40B4-BE49-F238E27FC236}">
                <a16:creationId xmlns:a16="http://schemas.microsoft.com/office/drawing/2014/main" id="{2EC6FBBC-11C2-4CD4-9135-EC04C17DBE4A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038600" y="3199780"/>
            <a:ext cx="7315200" cy="1237306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78380EC8-C494-4735-ADF3-14F5A2A332CA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200" y="4573935"/>
            <a:ext cx="2944660" cy="1202866"/>
          </a:xfrm>
          <a:solidFill>
            <a:srgbClr val="366D6B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096C3987-C8B1-425E-9A89-2DDF818F7B8F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038600" y="4573935"/>
            <a:ext cx="7315200" cy="1237306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71946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2">
    <p:bg>
      <p:bgPr>
        <a:solidFill>
          <a:srgbClr val="7DB0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1AECFE1F-46CA-47E1-8975-5D40073266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E2CCB681-7F37-424C-9893-04F3F63AAC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98802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3">
    <p:bg>
      <p:bgPr>
        <a:solidFill>
          <a:srgbClr val="366D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1AECFE1F-46CA-47E1-8975-5D40073266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81B07E8F-F509-4FA1-8C96-D504CBD40A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936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bg>
      <p:bgPr>
        <a:solidFill>
          <a:srgbClr val="366D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BB6958F0-2A15-44E3-B238-6754FB35F1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EEE7F9D6-9680-4FEE-BDE5-3645DFD6CF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768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rgbClr val="3764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9484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vänster">
    <p:bg>
      <p:bgPr>
        <a:solidFill>
          <a:srgbClr val="3664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78AB7606-988D-42F0-A656-62DDF5F76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64156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rgbClr val="366D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5214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rgbClr val="3764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Platshållare för text 3">
            <a:extLst>
              <a:ext uri="{FF2B5EF4-FFF2-40B4-BE49-F238E27FC236}">
                <a16:creationId xmlns:a16="http://schemas.microsoft.com/office/drawing/2014/main" id="{16CDB862-2D7B-473E-BC6D-F8CFA5DF24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47600C6A-5AEB-42FC-9C76-61FCED2A15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129015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- grön bakgrund">
    <p:bg>
      <p:bgPr>
        <a:solidFill>
          <a:srgbClr val="366D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42CF58E-6A96-427D-B83E-8C1C7F34A6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42CF58E-6A96-427D-B83E-8C1C7F34A6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3BB832D-2F8A-4212-9AA6-80C81A7C37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5BD0D28-8257-411C-A4F5-4F7A65B2D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A82BA86-F103-445E-8AF8-CA1FC78BE7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D15B72E5-A9F6-4004-93E2-00E7D2AA47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8" name="Platshållare för text 6">
            <a:extLst>
              <a:ext uri="{FF2B5EF4-FFF2-40B4-BE49-F238E27FC236}">
                <a16:creationId xmlns:a16="http://schemas.microsoft.com/office/drawing/2014/main" id="{FA72975F-042F-4A27-95B7-63D21802D8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F6C48746-5ED4-4CEC-8584-96AB5D8BE25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0" name="Platshållare för text 10">
            <a:extLst>
              <a:ext uri="{FF2B5EF4-FFF2-40B4-BE49-F238E27FC236}">
                <a16:creationId xmlns:a16="http://schemas.microsoft.com/office/drawing/2014/main" id="{AF2B12CA-0007-473E-A64C-2D1A7EFAF7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3B340376-58C1-4BB6-AE6F-FDDF0F24DB9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03468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36222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vänste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413" y="365125"/>
            <a:ext cx="48768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5413" y="1825625"/>
            <a:ext cx="48768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239709235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70615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höger">
    <p:bg>
      <p:bgPr>
        <a:solidFill>
          <a:srgbClr val="F7E4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76800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876800" cy="397986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endParaRPr lang="sv-SE"/>
          </a:p>
        </p:txBody>
      </p:sp>
      <p:sp>
        <p:nvSpPr>
          <p:cNvPr id="10" name="Platshållare för bild 10">
            <a:extLst>
              <a:ext uri="{FF2B5EF4-FFF2-40B4-BE49-F238E27FC236}">
                <a16:creationId xmlns:a16="http://schemas.microsoft.com/office/drawing/2014/main" id="{E0E2D5B2-C8FB-4B49-9797-8EA5369494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645197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vänster">
    <p:bg>
      <p:bgPr>
        <a:solidFill>
          <a:srgbClr val="F7E4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413" y="365125"/>
            <a:ext cx="4876800" cy="1325563"/>
          </a:xfrm>
        </p:spPr>
        <p:txBody>
          <a:bodyPr/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5413" y="1825625"/>
            <a:ext cx="4876800" cy="3979863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B198010F-8F9A-4DDE-AE40-C426F11DA4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8959148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6B0B13C-2727-4B02-8983-8C9B30C67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084543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ida - textbox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14EFC7-DD15-450C-9679-EC5B2ABD3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E7DDDEA0-8B65-4B63-81A5-69675C2FB8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2944660" cy="1202866"/>
          </a:xfrm>
          <a:solidFill>
            <a:schemeClr val="accent5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8" name="Platshållare för innehåll 3">
            <a:extLst>
              <a:ext uri="{FF2B5EF4-FFF2-40B4-BE49-F238E27FC236}">
                <a16:creationId xmlns:a16="http://schemas.microsoft.com/office/drawing/2014/main" id="{C495AC53-3AF3-41E5-B81B-81BA5388E1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38600" y="1825626"/>
            <a:ext cx="7315200" cy="1189997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  <p:sp>
        <p:nvSpPr>
          <p:cNvPr id="9" name="Platshållare för innehåll 2">
            <a:extLst>
              <a:ext uri="{FF2B5EF4-FFF2-40B4-BE49-F238E27FC236}">
                <a16:creationId xmlns:a16="http://schemas.microsoft.com/office/drawing/2014/main" id="{D8974C98-54E7-4B31-9D55-9F903F9BE0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8200" y="3199780"/>
            <a:ext cx="2944660" cy="1202866"/>
          </a:xfrm>
          <a:solidFill>
            <a:schemeClr val="accent5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0" name="Platshållare för innehåll 3">
            <a:extLst>
              <a:ext uri="{FF2B5EF4-FFF2-40B4-BE49-F238E27FC236}">
                <a16:creationId xmlns:a16="http://schemas.microsoft.com/office/drawing/2014/main" id="{2EC6FBBC-11C2-4CD4-9135-EC04C17DBE4A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038600" y="3199780"/>
            <a:ext cx="7315200" cy="1237306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78380EC8-C494-4735-ADF3-14F5A2A332CA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200" y="4573935"/>
            <a:ext cx="2944660" cy="1202866"/>
          </a:xfrm>
          <a:solidFill>
            <a:schemeClr val="accent5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096C3987-C8B1-425E-9A89-2DDF818F7B8F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038600" y="4573935"/>
            <a:ext cx="7315200" cy="1237306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701648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2">
    <p:bg>
      <p:bgPr>
        <a:solidFill>
          <a:srgbClr val="EAB39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4DF4D70F-839A-453D-B7D6-C421678B46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6979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3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4DF4D70F-839A-453D-B7D6-C421678B46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1613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1D5B180A-3DF6-47CC-AB1A-DCA2BC6DD0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E99020E0-A852-4042-ADEF-ECA93E2E55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773921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42984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vänster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38EE0AEC-80F2-495B-A4B7-E8970ECFE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61620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6B0B13C-2727-4B02-8983-8C9B30C67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179018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rgbClr val="D4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947428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EAE1345A-7B66-4024-AC86-89BEC265F3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5" name="Rubrik 1">
            <a:extLst>
              <a:ext uri="{FF2B5EF4-FFF2-40B4-BE49-F238E27FC236}">
                <a16:creationId xmlns:a16="http://schemas.microsoft.com/office/drawing/2014/main" id="{60FBC1D3-6E1F-4CC8-BA73-3479F89032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515976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- röd bakgrund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42CF58E-6A96-427D-B83E-8C1C7F34A6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3215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3BB832D-2F8A-4212-9AA6-80C81A7C37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5BD0D28-8257-411C-A4F5-4F7A65B2D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A82BA86-F103-445E-8AF8-CA1FC78BE7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D15B72E5-A9F6-4004-93E2-00E7D2AA47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8" name="Platshållare för text 6">
            <a:extLst>
              <a:ext uri="{FF2B5EF4-FFF2-40B4-BE49-F238E27FC236}">
                <a16:creationId xmlns:a16="http://schemas.microsoft.com/office/drawing/2014/main" id="{FA72975F-042F-4A27-95B7-63D21802D8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F6C48746-5ED4-4CEC-8584-96AB5D8BE25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0" name="Platshållare för text 10">
            <a:extLst>
              <a:ext uri="{FF2B5EF4-FFF2-40B4-BE49-F238E27FC236}">
                <a16:creationId xmlns:a16="http://schemas.microsoft.com/office/drawing/2014/main" id="{AF2B12CA-0007-473E-A64C-2D1A7EFAF7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3B340376-58C1-4BB6-AE6F-FDDF0F24DB9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79743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ä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8C60DCD-261B-490D-B3A4-701A00466BCF}"/>
              </a:ext>
            </a:extLst>
          </p:cNvPr>
          <p:cNvSpPr/>
          <p:nvPr userDrawn="1"/>
        </p:nvSpPr>
        <p:spPr>
          <a:xfrm>
            <a:off x="6096000" y="0"/>
            <a:ext cx="6096000" cy="3429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0A853BC8-B293-4F35-A125-5F1572EBE207}"/>
              </a:ext>
            </a:extLst>
          </p:cNvPr>
          <p:cNvSpPr/>
          <p:nvPr userDrawn="1"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rgbClr val="E5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B18A62A-A023-484F-89AF-42129BA6C713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F7E4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06F418A7-6BF2-42AF-9489-F08EBD3AE5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78326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ä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8C60DCD-261B-490D-B3A4-701A00466B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0A853BC8-B293-4F35-A125-5F1572EBE207}"/>
              </a:ext>
            </a:extLst>
          </p:cNvPr>
          <p:cNvSpPr/>
          <p:nvPr userDrawn="1"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rgbClr val="E5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B18A62A-A023-484F-89AF-42129BA6C713}"/>
              </a:ext>
            </a:extLst>
          </p:cNvPr>
          <p:cNvSpPr/>
          <p:nvPr userDrawn="1"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rgbClr val="F7E4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023358FC-B3BC-4DF1-8DBF-6E0CE8A7C2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57404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yra fä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8C60DCD-261B-490D-B3A4-701A00466BCF}"/>
              </a:ext>
            </a:extLst>
          </p:cNvPr>
          <p:cNvSpPr/>
          <p:nvPr userDrawn="1"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69E00A-44DE-458C-A5AB-003B511C5DA4}"/>
              </a:ext>
            </a:extLst>
          </p:cNvPr>
          <p:cNvSpPr/>
          <p:nvPr userDrawn="1"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rgbClr val="E5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0A853BC8-B293-4F35-A125-5F1572EBE207}"/>
              </a:ext>
            </a:extLst>
          </p:cNvPr>
          <p:cNvSpPr/>
          <p:nvPr userDrawn="1"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B18A62A-A023-484F-89AF-42129BA6C713}"/>
              </a:ext>
            </a:extLst>
          </p:cNvPr>
          <p:cNvSpPr/>
          <p:nvPr userDrawn="1"/>
        </p:nvSpPr>
        <p:spPr>
          <a:xfrm>
            <a:off x="6096000" y="0"/>
            <a:ext cx="6096000" cy="3429000"/>
          </a:xfrm>
          <a:prstGeom prst="rect">
            <a:avLst/>
          </a:prstGeom>
          <a:solidFill>
            <a:srgbClr val="F7E4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80E0DD7C-63F4-4A96-9728-26D858125C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60565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yra fä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 1">
            <a:extLst>
              <a:ext uri="{FF2B5EF4-FFF2-40B4-BE49-F238E27FC236}">
                <a16:creationId xmlns:a16="http://schemas.microsoft.com/office/drawing/2014/main" id="{F041DA1A-C1EC-4B7A-8CEB-C7C3766F14FD}"/>
              </a:ext>
            </a:extLst>
          </p:cNvPr>
          <p:cNvGrpSpPr/>
          <p:nvPr userDrawn="1"/>
        </p:nvGrpSpPr>
        <p:grpSpPr>
          <a:xfrm>
            <a:off x="0" y="3429000"/>
            <a:ext cx="12192000" cy="3429000"/>
            <a:chOff x="0" y="3429000"/>
            <a:chExt cx="11147079" cy="3429000"/>
          </a:xfrm>
        </p:grpSpPr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F8C60DCD-261B-490D-B3A4-701A00466BCF}"/>
                </a:ext>
              </a:extLst>
            </p:cNvPr>
            <p:cNvSpPr/>
            <p:nvPr userDrawn="1"/>
          </p:nvSpPr>
          <p:spPr>
            <a:xfrm>
              <a:off x="0" y="3429000"/>
              <a:ext cx="3715693" cy="3429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0A853BC8-B293-4F35-A125-5F1572EBE207}"/>
                </a:ext>
              </a:extLst>
            </p:cNvPr>
            <p:cNvSpPr/>
            <p:nvPr userDrawn="1"/>
          </p:nvSpPr>
          <p:spPr>
            <a:xfrm>
              <a:off x="7431386" y="3429000"/>
              <a:ext cx="3715693" cy="3429000"/>
            </a:xfrm>
            <a:prstGeom prst="rect">
              <a:avLst/>
            </a:prstGeom>
            <a:solidFill>
              <a:srgbClr val="E5ED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" name="Rektangel 5">
              <a:extLst>
                <a:ext uri="{FF2B5EF4-FFF2-40B4-BE49-F238E27FC236}">
                  <a16:creationId xmlns:a16="http://schemas.microsoft.com/office/drawing/2014/main" id="{CB18A62A-A023-484F-89AF-42129BA6C713}"/>
                </a:ext>
              </a:extLst>
            </p:cNvPr>
            <p:cNvSpPr/>
            <p:nvPr userDrawn="1"/>
          </p:nvSpPr>
          <p:spPr>
            <a:xfrm>
              <a:off x="3715693" y="3429000"/>
              <a:ext cx="3715693" cy="3429000"/>
            </a:xfrm>
            <a:prstGeom prst="rect">
              <a:avLst/>
            </a:prstGeom>
            <a:solidFill>
              <a:srgbClr val="F7E4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69E00A-44DE-458C-A5AB-003B511C5DA4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6D1A5460-A635-4EB6-8F12-2D7CD0A5ED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16139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230184528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mö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67D922B1-182B-4078-A655-11FDCAD7B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A8881C00-8B57-4A24-99DC-27F5070F66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45710780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-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03F0252-6F7A-41F6-932A-2ABA40F0B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11473DD-8586-45C2-81AF-CC1245C543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71027AC-FA49-4616-8B9D-A5A6AC576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845BF8B0-27B3-4FA2-8988-01F8DFEC72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59277E7C-C3DD-4BC0-B95A-ECABF576D53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9" name="Rektangel: rundade hörn 8">
            <a:extLst>
              <a:ext uri="{FF2B5EF4-FFF2-40B4-BE49-F238E27FC236}">
                <a16:creationId xmlns:a16="http://schemas.microsoft.com/office/drawing/2014/main" id="{8C4EFF6E-2525-42AC-AF27-D26AAEC25D67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logga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22096203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- textboxa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2944660" cy="1202866"/>
          </a:xfrm>
          <a:solidFill>
            <a:schemeClr val="accent1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38600" y="1825626"/>
            <a:ext cx="7315200" cy="1189997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Platshållare för innehåll 2">
            <a:extLst>
              <a:ext uri="{FF2B5EF4-FFF2-40B4-BE49-F238E27FC236}">
                <a16:creationId xmlns:a16="http://schemas.microsoft.com/office/drawing/2014/main" id="{63DCFB90-2099-4E45-A3FF-36433E1862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8200" y="3199780"/>
            <a:ext cx="2944660" cy="1202866"/>
          </a:xfrm>
          <a:solidFill>
            <a:schemeClr val="accent1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3">
            <a:extLst>
              <a:ext uri="{FF2B5EF4-FFF2-40B4-BE49-F238E27FC236}">
                <a16:creationId xmlns:a16="http://schemas.microsoft.com/office/drawing/2014/main" id="{BFB4AC46-A5E0-4B65-ADA2-84709A1936A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038600" y="3199780"/>
            <a:ext cx="7315200" cy="123730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0484F44F-6965-44F8-BDD5-1D42F5166A8A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200" y="4573935"/>
            <a:ext cx="2944660" cy="1202866"/>
          </a:xfrm>
          <a:solidFill>
            <a:schemeClr val="accent1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1" name="Platshållare för innehåll 3">
            <a:extLst>
              <a:ext uri="{FF2B5EF4-FFF2-40B4-BE49-F238E27FC236}">
                <a16:creationId xmlns:a16="http://schemas.microsoft.com/office/drawing/2014/main" id="{8600C9DA-D5E7-4933-B9D6-4F5696F1337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038600" y="4573935"/>
            <a:ext cx="7315200" cy="123730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156078695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-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03F0252-6F7A-41F6-932A-2ABA40F0B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11473DD-8586-45C2-81AF-CC1245C543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71027AC-FA49-4616-8B9D-A5A6AC576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845BF8B0-27B3-4FA2-8988-01F8DFEC72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59277E7C-C3DD-4BC0-B95A-ECABF576D53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9" name="Rektangel: rundade hörn 8">
            <a:extLst>
              <a:ext uri="{FF2B5EF4-FFF2-40B4-BE49-F238E27FC236}">
                <a16:creationId xmlns:a16="http://schemas.microsoft.com/office/drawing/2014/main" id="{730C5BC1-BC93-4CC9-BDC9-D55B21E3D245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logga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213737136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 sidan egen bild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DD3BCDB-96D3-4083-8A3F-F545079B5F0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dirty="0" err="1"/>
              <a:t>Klicka</a:t>
            </a:r>
            <a:r>
              <a:rPr lang="en-GB" dirty="0"/>
              <a:t> </a:t>
            </a:r>
            <a:r>
              <a:rPr lang="en-GB" dirty="0" err="1"/>
              <a:t>här</a:t>
            </a:r>
            <a:r>
              <a:rPr lang="en-GB" dirty="0"/>
              <a:t>, </a:t>
            </a:r>
            <a:r>
              <a:rPr lang="en-GB" dirty="0" err="1"/>
              <a:t>gå</a:t>
            </a:r>
            <a:r>
              <a:rPr lang="en-GB" dirty="0"/>
              <a:t> in under </a:t>
            </a:r>
            <a:r>
              <a:rPr lang="en-GB" dirty="0" err="1"/>
              <a:t>Infoga</a:t>
            </a:r>
            <a:r>
              <a:rPr lang="en-GB" dirty="0"/>
              <a:t>, </a:t>
            </a:r>
            <a:r>
              <a:rPr lang="en-GB" dirty="0" err="1"/>
              <a:t>Bilder</a:t>
            </a:r>
            <a:r>
              <a:rPr lang="en-GB" dirty="0"/>
              <a:t> </a:t>
            </a:r>
            <a:r>
              <a:rPr lang="en-GB" dirty="0" err="1"/>
              <a:t>och</a:t>
            </a:r>
            <a:r>
              <a:rPr lang="en-GB" dirty="0"/>
              <a:t> </a:t>
            </a:r>
            <a:r>
              <a:rPr lang="en-GB" dirty="0" err="1"/>
              <a:t>välj</a:t>
            </a:r>
            <a:r>
              <a:rPr lang="en-GB" dirty="0"/>
              <a:t> </a:t>
            </a:r>
            <a:r>
              <a:rPr lang="en-GB" dirty="0" err="1"/>
              <a:t>önskad</a:t>
            </a:r>
            <a:r>
              <a:rPr lang="en-GB" dirty="0"/>
              <a:t> </a:t>
            </a:r>
            <a:r>
              <a:rPr lang="en-GB" dirty="0" err="1"/>
              <a:t>bild</a:t>
            </a:r>
            <a:r>
              <a:rPr lang="en-GB" dirty="0"/>
              <a:t>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9A78C544-F792-4924-A752-73F7CF26B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DB372320-6E42-4D46-BDA2-F4D912521A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Namn </a:t>
            </a:r>
            <a:r>
              <a:rPr lang="sv-SE" dirty="0" err="1"/>
              <a:t>Namnesson</a:t>
            </a:r>
            <a:br>
              <a:rPr lang="sv-SE" dirty="0"/>
            </a:br>
            <a:r>
              <a:rPr lang="sv-SE" dirty="0"/>
              <a:t>Titel</a:t>
            </a:r>
          </a:p>
          <a:p>
            <a:pPr lvl="0"/>
            <a:r>
              <a:rPr lang="sv-SE" dirty="0"/>
              <a:t>Datum</a:t>
            </a:r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470E8E88-3F9E-4AC5-B857-482E7D843EA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7" name="Rektangel: rundade hörn 6">
            <a:extLst>
              <a:ext uri="{FF2B5EF4-FFF2-40B4-BE49-F238E27FC236}">
                <a16:creationId xmlns:a16="http://schemas.microsoft.com/office/drawing/2014/main" id="{72D781E3-12C9-4F82-B8EC-9B8C37ACB4D8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190382378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 sidan egen bild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DD3BCDB-96D3-4083-8A3F-F545079B5F0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dirty="0" err="1"/>
              <a:t>Klicka</a:t>
            </a:r>
            <a:r>
              <a:rPr lang="en-GB" dirty="0"/>
              <a:t> </a:t>
            </a:r>
            <a:r>
              <a:rPr lang="en-GB" dirty="0" err="1"/>
              <a:t>här</a:t>
            </a:r>
            <a:r>
              <a:rPr lang="en-GB" dirty="0"/>
              <a:t>, </a:t>
            </a:r>
            <a:r>
              <a:rPr lang="en-GB" dirty="0" err="1"/>
              <a:t>gå</a:t>
            </a:r>
            <a:r>
              <a:rPr lang="en-GB" dirty="0"/>
              <a:t> in under </a:t>
            </a:r>
            <a:r>
              <a:rPr lang="en-GB" dirty="0" err="1"/>
              <a:t>Infoga</a:t>
            </a:r>
            <a:r>
              <a:rPr lang="en-GB" dirty="0"/>
              <a:t>, </a:t>
            </a:r>
            <a:r>
              <a:rPr lang="en-GB" dirty="0" err="1"/>
              <a:t>Bilder</a:t>
            </a:r>
            <a:r>
              <a:rPr lang="en-GB" dirty="0"/>
              <a:t> </a:t>
            </a:r>
            <a:r>
              <a:rPr lang="en-GB" dirty="0" err="1"/>
              <a:t>och</a:t>
            </a:r>
            <a:r>
              <a:rPr lang="en-GB" dirty="0"/>
              <a:t> </a:t>
            </a:r>
            <a:r>
              <a:rPr lang="en-GB" dirty="0" err="1"/>
              <a:t>välj</a:t>
            </a:r>
            <a:r>
              <a:rPr lang="en-GB" dirty="0"/>
              <a:t> </a:t>
            </a:r>
            <a:r>
              <a:rPr lang="en-GB" dirty="0" err="1"/>
              <a:t>önskad</a:t>
            </a:r>
            <a:r>
              <a:rPr lang="en-GB" dirty="0"/>
              <a:t> </a:t>
            </a:r>
            <a:r>
              <a:rPr lang="en-GB" dirty="0" err="1"/>
              <a:t>bild</a:t>
            </a:r>
            <a:r>
              <a:rPr lang="en-GB" dirty="0"/>
              <a:t>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9A78C544-F792-4924-A752-73F7CF26B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DB372320-6E42-4D46-BDA2-F4D912521A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Namn </a:t>
            </a:r>
            <a:r>
              <a:rPr lang="sv-SE" dirty="0" err="1"/>
              <a:t>Namnesson</a:t>
            </a:r>
            <a:br>
              <a:rPr lang="sv-SE" dirty="0"/>
            </a:br>
            <a:r>
              <a:rPr lang="sv-SE" dirty="0"/>
              <a:t>Titel</a:t>
            </a:r>
          </a:p>
          <a:p>
            <a:pPr lvl="0"/>
            <a:r>
              <a:rPr lang="sv-SE" dirty="0"/>
              <a:t>Datum</a:t>
            </a:r>
          </a:p>
        </p:txBody>
      </p:sp>
      <p:sp>
        <p:nvSpPr>
          <p:cNvPr id="7" name="Platshållare för bild 10">
            <a:extLst>
              <a:ext uri="{FF2B5EF4-FFF2-40B4-BE49-F238E27FC236}">
                <a16:creationId xmlns:a16="http://schemas.microsoft.com/office/drawing/2014/main" id="{2BA66C1B-5994-4ACD-AD12-24E33C487B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Rektangel: rundade hörn 7">
            <a:extLst>
              <a:ext uri="{FF2B5EF4-FFF2-40B4-BE49-F238E27FC236}">
                <a16:creationId xmlns:a16="http://schemas.microsoft.com/office/drawing/2014/main" id="{B3626ED7-6321-478E-8947-0F3935869315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197257793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text i figur -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742697A9-0313-4116-882D-2F00B124C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6E619D89-D876-4F51-B1D6-671905F9E8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8907" y="1447800"/>
            <a:ext cx="4464050" cy="3867150"/>
          </a:xfrm>
          <a:prstGeom prst="hexagon">
            <a:avLst/>
          </a:prstGeom>
          <a:solidFill>
            <a:srgbClr val="FFFFFF">
              <a:alpha val="80000"/>
            </a:srgbClr>
          </a:solidFill>
        </p:spPr>
        <p:txBody>
          <a:bodyPr anchor="ctr"/>
          <a:lstStyle>
            <a:lvl1pPr marL="0" indent="0" algn="ctr">
              <a:buNone/>
              <a:defRPr/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12" name="Platshållare för bild 10">
            <a:extLst>
              <a:ext uri="{FF2B5EF4-FFF2-40B4-BE49-F238E27FC236}">
                <a16:creationId xmlns:a16="http://schemas.microsoft.com/office/drawing/2014/main" id="{3D148F17-13AF-4C40-9087-DA7F3B070FB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D5678BBE-7A67-4AEE-B763-A65DD01737AA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238916030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text i figur -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742697A9-0313-4116-882D-2F00B124C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6E619D89-D876-4F51-B1D6-671905F9E8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8907" y="1447800"/>
            <a:ext cx="4464050" cy="3867150"/>
          </a:xfrm>
          <a:prstGeom prst="hexagon">
            <a:avLst/>
          </a:prstGeom>
          <a:solidFill>
            <a:srgbClr val="FFFFFF">
              <a:alpha val="80000"/>
            </a:srgbClr>
          </a:solidFill>
        </p:spPr>
        <p:txBody>
          <a:bodyPr anchor="ctr"/>
          <a:lstStyle>
            <a:lvl1pPr marL="0" indent="0" algn="ctr">
              <a:buNone/>
              <a:defRPr/>
            </a:lvl1pPr>
            <a:lvl2pPr marL="271462" indent="0">
              <a:buNone/>
              <a:defRPr/>
            </a:lvl2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D5678BBE-7A67-4AEE-B763-A65DD01737AA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  <p:sp>
        <p:nvSpPr>
          <p:cNvPr id="6" name="Platshållare för bild 10">
            <a:extLst>
              <a:ext uri="{FF2B5EF4-FFF2-40B4-BE49-F238E27FC236}">
                <a16:creationId xmlns:a16="http://schemas.microsoft.com/office/drawing/2014/main" id="{CD566EE3-75D9-4E00-9E54-09F600894F5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4275456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ä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8C60DCD-261B-490D-B3A4-701A00466BCF}"/>
              </a:ext>
            </a:extLst>
          </p:cNvPr>
          <p:cNvSpPr/>
          <p:nvPr userDrawn="1"/>
        </p:nvSpPr>
        <p:spPr>
          <a:xfrm>
            <a:off x="6096000" y="0"/>
            <a:ext cx="6096000" cy="3429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0A853BC8-B293-4F35-A125-5F1572EBE207}"/>
              </a:ext>
            </a:extLst>
          </p:cNvPr>
          <p:cNvSpPr/>
          <p:nvPr userDrawn="1"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rgbClr val="E5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B18A62A-A023-484F-89AF-42129BA6C713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F7E4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06F418A7-6BF2-42AF-9489-F08EBD3AE5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81454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ä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8C60DCD-261B-490D-B3A4-701A00466B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0A853BC8-B293-4F35-A125-5F1572EBE207}"/>
              </a:ext>
            </a:extLst>
          </p:cNvPr>
          <p:cNvSpPr/>
          <p:nvPr userDrawn="1"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rgbClr val="E5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B18A62A-A023-484F-89AF-42129BA6C713}"/>
              </a:ext>
            </a:extLst>
          </p:cNvPr>
          <p:cNvSpPr/>
          <p:nvPr userDrawn="1"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rgbClr val="F7E4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023358FC-B3BC-4DF1-8DBF-6E0CE8A7C2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5398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yra fä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8C60DCD-261B-490D-B3A4-701A00466BCF}"/>
              </a:ext>
            </a:extLst>
          </p:cNvPr>
          <p:cNvSpPr/>
          <p:nvPr userDrawn="1"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69E00A-44DE-458C-A5AB-003B511C5DA4}"/>
              </a:ext>
            </a:extLst>
          </p:cNvPr>
          <p:cNvSpPr/>
          <p:nvPr userDrawn="1"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rgbClr val="E5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0A853BC8-B293-4F35-A125-5F1572EBE207}"/>
              </a:ext>
            </a:extLst>
          </p:cNvPr>
          <p:cNvSpPr/>
          <p:nvPr userDrawn="1"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B18A62A-A023-484F-89AF-42129BA6C713}"/>
              </a:ext>
            </a:extLst>
          </p:cNvPr>
          <p:cNvSpPr/>
          <p:nvPr userDrawn="1"/>
        </p:nvSpPr>
        <p:spPr>
          <a:xfrm>
            <a:off x="6096000" y="0"/>
            <a:ext cx="6096000" cy="3429000"/>
          </a:xfrm>
          <a:prstGeom prst="rect">
            <a:avLst/>
          </a:prstGeom>
          <a:solidFill>
            <a:srgbClr val="F7E4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80E0DD7C-63F4-4A96-9728-26D858125C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73154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yra fä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 1">
            <a:extLst>
              <a:ext uri="{FF2B5EF4-FFF2-40B4-BE49-F238E27FC236}">
                <a16:creationId xmlns:a16="http://schemas.microsoft.com/office/drawing/2014/main" id="{F041DA1A-C1EC-4B7A-8CEB-C7C3766F14FD}"/>
              </a:ext>
            </a:extLst>
          </p:cNvPr>
          <p:cNvGrpSpPr/>
          <p:nvPr userDrawn="1"/>
        </p:nvGrpSpPr>
        <p:grpSpPr>
          <a:xfrm>
            <a:off x="0" y="3429000"/>
            <a:ext cx="12192000" cy="3429000"/>
            <a:chOff x="0" y="3429000"/>
            <a:chExt cx="11147079" cy="3429000"/>
          </a:xfrm>
        </p:grpSpPr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F8C60DCD-261B-490D-B3A4-701A00466BCF}"/>
                </a:ext>
              </a:extLst>
            </p:cNvPr>
            <p:cNvSpPr/>
            <p:nvPr userDrawn="1"/>
          </p:nvSpPr>
          <p:spPr>
            <a:xfrm>
              <a:off x="0" y="3429000"/>
              <a:ext cx="3715693" cy="3429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0A853BC8-B293-4F35-A125-5F1572EBE207}"/>
                </a:ext>
              </a:extLst>
            </p:cNvPr>
            <p:cNvSpPr/>
            <p:nvPr userDrawn="1"/>
          </p:nvSpPr>
          <p:spPr>
            <a:xfrm>
              <a:off x="7431386" y="3429000"/>
              <a:ext cx="3715693" cy="3429000"/>
            </a:xfrm>
            <a:prstGeom prst="rect">
              <a:avLst/>
            </a:prstGeom>
            <a:solidFill>
              <a:srgbClr val="E5ED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" name="Rektangel 5">
              <a:extLst>
                <a:ext uri="{FF2B5EF4-FFF2-40B4-BE49-F238E27FC236}">
                  <a16:creationId xmlns:a16="http://schemas.microsoft.com/office/drawing/2014/main" id="{CB18A62A-A023-484F-89AF-42129BA6C713}"/>
                </a:ext>
              </a:extLst>
            </p:cNvPr>
            <p:cNvSpPr/>
            <p:nvPr userDrawn="1"/>
          </p:nvSpPr>
          <p:spPr>
            <a:xfrm>
              <a:off x="3715693" y="3429000"/>
              <a:ext cx="3715693" cy="3429000"/>
            </a:xfrm>
            <a:prstGeom prst="rect">
              <a:avLst/>
            </a:prstGeom>
            <a:solidFill>
              <a:srgbClr val="F7E4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69E00A-44DE-458C-A5AB-003B511C5DA4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6D1A5460-A635-4EB6-8F12-2D7CD0A5ED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85545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0695267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96854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mö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67D922B1-182B-4078-A655-11FDCAD7B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A8881C00-8B57-4A24-99DC-27F5070F66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410482799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ä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8C60DCD-261B-490D-B3A4-701A00466BCF}"/>
              </a:ext>
            </a:extLst>
          </p:cNvPr>
          <p:cNvSpPr/>
          <p:nvPr userDrawn="1"/>
        </p:nvSpPr>
        <p:spPr>
          <a:xfrm>
            <a:off x="6096000" y="0"/>
            <a:ext cx="6096000" cy="3429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0A853BC8-B293-4F35-A125-5F1572EBE207}"/>
              </a:ext>
            </a:extLst>
          </p:cNvPr>
          <p:cNvSpPr/>
          <p:nvPr userDrawn="1"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rgbClr val="E5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B18A62A-A023-484F-89AF-42129BA6C713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F7E4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06F418A7-6BF2-42AF-9489-F08EBD3AE5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29611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ä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8C60DCD-261B-490D-B3A4-701A00466B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0A853BC8-B293-4F35-A125-5F1572EBE207}"/>
              </a:ext>
            </a:extLst>
          </p:cNvPr>
          <p:cNvSpPr/>
          <p:nvPr userDrawn="1"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rgbClr val="E5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B18A62A-A023-484F-89AF-42129BA6C713}"/>
              </a:ext>
            </a:extLst>
          </p:cNvPr>
          <p:cNvSpPr/>
          <p:nvPr userDrawn="1"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rgbClr val="F7E4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023358FC-B3BC-4DF1-8DBF-6E0CE8A7C2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1799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yra fä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8C60DCD-261B-490D-B3A4-701A00466BCF}"/>
              </a:ext>
            </a:extLst>
          </p:cNvPr>
          <p:cNvSpPr/>
          <p:nvPr userDrawn="1"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69E00A-44DE-458C-A5AB-003B511C5DA4}"/>
              </a:ext>
            </a:extLst>
          </p:cNvPr>
          <p:cNvSpPr/>
          <p:nvPr userDrawn="1"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rgbClr val="E5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0A853BC8-B293-4F35-A125-5F1572EBE207}"/>
              </a:ext>
            </a:extLst>
          </p:cNvPr>
          <p:cNvSpPr/>
          <p:nvPr userDrawn="1"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B18A62A-A023-484F-89AF-42129BA6C713}"/>
              </a:ext>
            </a:extLst>
          </p:cNvPr>
          <p:cNvSpPr/>
          <p:nvPr userDrawn="1"/>
        </p:nvSpPr>
        <p:spPr>
          <a:xfrm>
            <a:off x="6096000" y="0"/>
            <a:ext cx="6096000" cy="3429000"/>
          </a:xfrm>
          <a:prstGeom prst="rect">
            <a:avLst/>
          </a:prstGeom>
          <a:solidFill>
            <a:srgbClr val="F7E4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80E0DD7C-63F4-4A96-9728-26D858125C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47120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yra fä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 1">
            <a:extLst>
              <a:ext uri="{FF2B5EF4-FFF2-40B4-BE49-F238E27FC236}">
                <a16:creationId xmlns:a16="http://schemas.microsoft.com/office/drawing/2014/main" id="{F041DA1A-C1EC-4B7A-8CEB-C7C3766F14FD}"/>
              </a:ext>
            </a:extLst>
          </p:cNvPr>
          <p:cNvGrpSpPr/>
          <p:nvPr userDrawn="1"/>
        </p:nvGrpSpPr>
        <p:grpSpPr>
          <a:xfrm>
            <a:off x="0" y="3429000"/>
            <a:ext cx="12192000" cy="3429000"/>
            <a:chOff x="0" y="3429000"/>
            <a:chExt cx="11147079" cy="3429000"/>
          </a:xfrm>
        </p:grpSpPr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F8C60DCD-261B-490D-B3A4-701A00466BCF}"/>
                </a:ext>
              </a:extLst>
            </p:cNvPr>
            <p:cNvSpPr/>
            <p:nvPr userDrawn="1"/>
          </p:nvSpPr>
          <p:spPr>
            <a:xfrm>
              <a:off x="0" y="3429000"/>
              <a:ext cx="3715693" cy="3429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0A853BC8-B293-4F35-A125-5F1572EBE207}"/>
                </a:ext>
              </a:extLst>
            </p:cNvPr>
            <p:cNvSpPr/>
            <p:nvPr userDrawn="1"/>
          </p:nvSpPr>
          <p:spPr>
            <a:xfrm>
              <a:off x="7431386" y="3429000"/>
              <a:ext cx="3715693" cy="3429000"/>
            </a:xfrm>
            <a:prstGeom prst="rect">
              <a:avLst/>
            </a:prstGeom>
            <a:solidFill>
              <a:srgbClr val="E5ED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" name="Rektangel 5">
              <a:extLst>
                <a:ext uri="{FF2B5EF4-FFF2-40B4-BE49-F238E27FC236}">
                  <a16:creationId xmlns:a16="http://schemas.microsoft.com/office/drawing/2014/main" id="{CB18A62A-A023-484F-89AF-42129BA6C713}"/>
                </a:ext>
              </a:extLst>
            </p:cNvPr>
            <p:cNvSpPr/>
            <p:nvPr userDrawn="1"/>
          </p:nvSpPr>
          <p:spPr>
            <a:xfrm>
              <a:off x="3715693" y="3429000"/>
              <a:ext cx="3715693" cy="3429000"/>
            </a:xfrm>
            <a:prstGeom prst="rect">
              <a:avLst/>
            </a:prstGeom>
            <a:solidFill>
              <a:srgbClr val="F7E4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69E00A-44DE-458C-A5AB-003B511C5DA4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6D1A5460-A635-4EB6-8F12-2D7CD0A5ED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97024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11557910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mö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67D922B1-182B-4078-A655-11FDCAD7B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A8881C00-8B57-4A24-99DC-27F5070F66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3865657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3">
    <p:bg>
      <p:bgPr>
        <a:solidFill>
          <a:srgbClr val="9D9C9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B3DE43E-CD15-4F72-92CB-15F9868575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012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vmlDrawing" Target="../drawings/vmlDrawing4.vml"/><Relationship Id="rId10" Type="http://schemas.openxmlformats.org/officeDocument/2006/relationships/slideLayout" Target="../slideLayouts/slideLayout3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tags" Target="../tags/tag9.xml"/><Relationship Id="rId3" Type="http://schemas.openxmlformats.org/officeDocument/2006/relationships/slideLayout" Target="../slideLayouts/slideLayout37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36.xml"/><Relationship Id="rId16" Type="http://schemas.openxmlformats.org/officeDocument/2006/relationships/vmlDrawing" Target="../drawings/vmlDrawing5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44.xml"/><Relationship Id="rId19" Type="http://schemas.openxmlformats.org/officeDocument/2006/relationships/oleObject" Target="../embeddings/oleObject5.bin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51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tags" Target="../tags/tag11.xml"/><Relationship Id="rId2" Type="http://schemas.openxmlformats.org/officeDocument/2006/relationships/slideLayout" Target="../slideLayouts/slideLayout50.xml"/><Relationship Id="rId16" Type="http://schemas.openxmlformats.org/officeDocument/2006/relationships/vmlDrawing" Target="../drawings/vmlDrawing7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58.xml"/><Relationship Id="rId19" Type="http://schemas.openxmlformats.org/officeDocument/2006/relationships/oleObject" Target="../embeddings/oleObject7.bin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9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65.xml"/><Relationship Id="rId7" Type="http://schemas.openxmlformats.org/officeDocument/2006/relationships/theme" Target="../theme/theme5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oleObject" Target="../embeddings/oleObject9.bin"/><Relationship Id="rId5" Type="http://schemas.openxmlformats.org/officeDocument/2006/relationships/slideLayout" Target="../slideLayouts/slideLayout67.xml"/><Relationship Id="rId10" Type="http://schemas.openxmlformats.org/officeDocument/2006/relationships/tags" Target="../tags/tag15.xml"/><Relationship Id="rId4" Type="http://schemas.openxmlformats.org/officeDocument/2006/relationships/slideLayout" Target="../slideLayouts/slideLayout66.xml"/><Relationship Id="rId9" Type="http://schemas.openxmlformats.org/officeDocument/2006/relationships/tags" Target="../tags/tag1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71.xml"/><Relationship Id="rId7" Type="http://schemas.openxmlformats.org/officeDocument/2006/relationships/theme" Target="../theme/theme6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oleObject" Target="../embeddings/oleObject10.bin"/><Relationship Id="rId5" Type="http://schemas.openxmlformats.org/officeDocument/2006/relationships/slideLayout" Target="../slideLayouts/slideLayout73.xml"/><Relationship Id="rId10" Type="http://schemas.openxmlformats.org/officeDocument/2006/relationships/tags" Target="../tags/tag17.xml"/><Relationship Id="rId4" Type="http://schemas.openxmlformats.org/officeDocument/2006/relationships/slideLayout" Target="../slideLayouts/slideLayout72.xml"/><Relationship Id="rId9" Type="http://schemas.openxmlformats.org/officeDocument/2006/relationships/tags" Target="../tags/tag1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1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77.xml"/><Relationship Id="rId7" Type="http://schemas.openxmlformats.org/officeDocument/2006/relationships/theme" Target="../theme/theme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oleObject" Target="../embeddings/oleObject11.bin"/><Relationship Id="rId5" Type="http://schemas.openxmlformats.org/officeDocument/2006/relationships/slideLayout" Target="../slideLayouts/slideLayout79.xml"/><Relationship Id="rId10" Type="http://schemas.openxmlformats.org/officeDocument/2006/relationships/tags" Target="../tags/tag19.xml"/><Relationship Id="rId4" Type="http://schemas.openxmlformats.org/officeDocument/2006/relationships/slideLayout" Target="../slideLayouts/slideLayout78.xml"/><Relationship Id="rId9" Type="http://schemas.openxmlformats.org/officeDocument/2006/relationships/tags" Target="../tags/tag1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83.xml"/><Relationship Id="rId7" Type="http://schemas.openxmlformats.org/officeDocument/2006/relationships/theme" Target="../theme/theme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oleObject" Target="../embeddings/oleObject11.bin"/><Relationship Id="rId5" Type="http://schemas.openxmlformats.org/officeDocument/2006/relationships/slideLayout" Target="../slideLayouts/slideLayout85.xml"/><Relationship Id="rId10" Type="http://schemas.openxmlformats.org/officeDocument/2006/relationships/tags" Target="../tags/tag21.xml"/><Relationship Id="rId4" Type="http://schemas.openxmlformats.org/officeDocument/2006/relationships/slideLayout" Target="../slideLayouts/slideLayout84.xml"/><Relationship Id="rId9" Type="http://schemas.openxmlformats.org/officeDocument/2006/relationships/tags" Target="../tags/tag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1262A14-C18A-43AD-8174-EA6D5AC8AE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6055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think-cell Slide" r:id="rId26" imgW="498" imgH="499" progId="TCLayout.ActiveDocument.1">
                  <p:embed/>
                </p:oleObj>
              </mc:Choice>
              <mc:Fallback>
                <p:oleObj name="think-cell Slide" r:id="rId26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19D2BCF4-8713-4980-86F1-4C71D0C542E6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F488DB39-C14A-4AB7-AF50-C4F030BB96BF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1028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24/02/2022</a:t>
            </a:fld>
            <a:endParaRPr lang="en-GB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1626" y="6356350"/>
            <a:ext cx="1319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7355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763" r:id="rId4"/>
    <p:sldLayoutId id="2147483764" r:id="rId5"/>
    <p:sldLayoutId id="2147483654" r:id="rId6"/>
    <p:sldLayoutId id="2147483760" r:id="rId7"/>
    <p:sldLayoutId id="2147483661" r:id="rId8"/>
    <p:sldLayoutId id="2147483733" r:id="rId9"/>
    <p:sldLayoutId id="2147483651" r:id="rId10"/>
    <p:sldLayoutId id="2147483698" r:id="rId11"/>
    <p:sldLayoutId id="2147483707" r:id="rId12"/>
    <p:sldLayoutId id="2147483711" r:id="rId13"/>
    <p:sldLayoutId id="2147483699" r:id="rId14"/>
    <p:sldLayoutId id="2147483658" r:id="rId15"/>
    <p:sldLayoutId id="2147483762" r:id="rId16"/>
    <p:sldLayoutId id="2147483657" r:id="rId17"/>
    <p:sldLayoutId id="2147483656" r:id="rId18"/>
    <p:sldLayoutId id="2147483761" r:id="rId19"/>
    <p:sldLayoutId id="2147483750" r:id="rId20"/>
    <p:sldLayoutId id="2147483749" r:id="rId21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 userDrawn="1">
          <p15:clr>
            <a:srgbClr val="F26B43"/>
          </p15:clr>
        </p15:guide>
        <p15:guide id="2" pos="529" userDrawn="1">
          <p15:clr>
            <a:srgbClr val="F26B43"/>
          </p15:clr>
        </p15:guide>
        <p15:guide id="3" pos="7151" userDrawn="1">
          <p15:clr>
            <a:srgbClr val="F26B43"/>
          </p15:clr>
        </p15:guide>
        <p15:guide id="4" orient="horz" pos="1139" userDrawn="1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5ED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58B59F1-F599-42EA-B0AF-D694CD5566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20648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3" name="think-cell Slide" r:id="rId18" imgW="498" imgH="499" progId="TCLayout.ActiveDocument.1">
                  <p:embed/>
                </p:oleObj>
              </mc:Choice>
              <mc:Fallback>
                <p:oleObj name="think-cell Slide" r:id="rId18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B61D218C-849D-494C-AA25-56222077AB86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C5BF98D-74DA-45EB-8556-36CEC6EE7E32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886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765" r:id="rId3"/>
    <p:sldLayoutId id="2147483766" r:id="rId4"/>
    <p:sldLayoutId id="2147483667" r:id="rId5"/>
    <p:sldLayoutId id="2147483759" r:id="rId6"/>
    <p:sldLayoutId id="2147483669" r:id="rId7"/>
    <p:sldLayoutId id="2147483734" r:id="rId8"/>
    <p:sldLayoutId id="2147483680" r:id="rId9"/>
    <p:sldLayoutId id="2147483704" r:id="rId10"/>
    <p:sldLayoutId id="2147483708" r:id="rId11"/>
    <p:sldLayoutId id="2147483712" r:id="rId12"/>
    <p:sldLayoutId id="2147483700" r:id="rId13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rgbClr val="3A5776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9E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F55B9FB1-673E-4FA5-AEAD-234B05B540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03040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7" name="think-cell Slide" r:id="rId19" imgW="498" imgH="499" progId="TCLayout.ActiveDocument.1">
                  <p:embed/>
                </p:oleObj>
              </mc:Choice>
              <mc:Fallback>
                <p:oleObj name="think-cell Slide" r:id="rId19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DBE36DAA-5B8C-4FD8-9ADA-0B562E8D9672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F6234A4E-2E63-428D-8582-E187BE2192E6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10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767" r:id="rId3"/>
    <p:sldLayoutId id="2147483768" r:id="rId4"/>
    <p:sldLayoutId id="2147483685" r:id="rId5"/>
    <p:sldLayoutId id="2147483758" r:id="rId6"/>
    <p:sldLayoutId id="2147483687" r:id="rId7"/>
    <p:sldLayoutId id="2147483735" r:id="rId8"/>
    <p:sldLayoutId id="2147483688" r:id="rId9"/>
    <p:sldLayoutId id="2147483705" r:id="rId10"/>
    <p:sldLayoutId id="2147483709" r:id="rId11"/>
    <p:sldLayoutId id="2147483713" r:id="rId12"/>
    <p:sldLayoutId id="2147483701" r:id="rId13"/>
    <p:sldLayoutId id="2147483756" r:id="rId14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rgbClr val="36646B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7E4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4A3FDFF-44E2-4DA6-9568-D290BF6D02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158973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5" name="think-cell Slide" r:id="rId19" imgW="498" imgH="499" progId="TCLayout.ActiveDocument.1">
                  <p:embed/>
                </p:oleObj>
              </mc:Choice>
              <mc:Fallback>
                <p:oleObj name="think-cell Slide" r:id="rId19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DB8C408F-CA11-4557-97D3-0875DA17FC62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24/02/2022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2" y="6356350"/>
            <a:ext cx="19002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57A6DA15-5310-45AE-9C3A-6144A4E88348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681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769" r:id="rId3"/>
    <p:sldLayoutId id="2147483770" r:id="rId4"/>
    <p:sldLayoutId id="2147483693" r:id="rId5"/>
    <p:sldLayoutId id="2147483757" r:id="rId6"/>
    <p:sldLayoutId id="2147483695" r:id="rId7"/>
    <p:sldLayoutId id="2147483736" r:id="rId8"/>
    <p:sldLayoutId id="2147483696" r:id="rId9"/>
    <p:sldLayoutId id="2147483706" r:id="rId10"/>
    <p:sldLayoutId id="2147483710" r:id="rId11"/>
    <p:sldLayoutId id="2147483714" r:id="rId12"/>
    <p:sldLayoutId id="2147483702" r:id="rId13"/>
    <p:sldLayoutId id="2147483755" r:id="rId14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755514C-7FB5-4E02-9230-89025535B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02817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2" name="think-cell Slide" r:id="rId11" imgW="498" imgH="499" progId="TCLayout.ActiveDocument.1">
                  <p:embed/>
                </p:oleObj>
              </mc:Choice>
              <mc:Fallback>
                <p:oleObj name="think-cell Slide" r:id="rId11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25F98DF9-27EF-4B30-BAE6-286812BD8814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24/02/2022</a:t>
            </a:fld>
            <a:endParaRPr lang="en-GB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CD02E4AD-1E16-46A9-AEF5-671B55EA89D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639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51" r:id="rId5"/>
    <p:sldLayoutId id="2147483752" r:id="rId6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13B6D05-AFBD-40D4-9D39-D8FE6B7DAB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05223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6" name="think-cell Slide" r:id="rId11" imgW="498" imgH="499" progId="TCLayout.ActiveDocument.1">
                  <p:embed/>
                </p:oleObj>
              </mc:Choice>
              <mc:Fallback>
                <p:oleObj name="think-cell Slide" r:id="rId11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1A1DBC44-64F2-4BF5-89EB-3AAF3875D46E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051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24/02/2022</a:t>
            </a:fld>
            <a:endParaRPr lang="en-GB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25CC76DD-CCDD-4DDF-BA02-83CDDFB9D5BC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099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2" r:id="rId3"/>
    <p:sldLayoutId id="2147483747" r:id="rId4"/>
    <p:sldLayoutId id="2147483743" r:id="rId5"/>
    <p:sldLayoutId id="2147483748" r:id="rId6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702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755514C-7FB5-4E02-9230-89025535B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192925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" name="think-cell Slide" r:id="rId11" imgW="498" imgH="499" progId="TCLayout.ActiveDocument.1">
                  <p:embed/>
                </p:oleObj>
              </mc:Choice>
              <mc:Fallback>
                <p:oleObj name="think-cell Slide" r:id="rId11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755514C-7FB5-4E02-9230-89025535B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25F98DF9-27EF-4B30-BAE6-286812BD8814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24/02/2022</a:t>
            </a:fld>
            <a:endParaRPr lang="en-GB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CD02E4AD-1E16-46A9-AEF5-671B55EA89D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647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755514C-7FB5-4E02-9230-89025535B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076750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5" name="think-cell Slide" r:id="rId11" imgW="498" imgH="499" progId="TCLayout.ActiveDocument.1">
                  <p:embed/>
                </p:oleObj>
              </mc:Choice>
              <mc:Fallback>
                <p:oleObj name="think-cell Slide" r:id="rId11" imgW="498" imgH="49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755514C-7FB5-4E02-9230-89025535B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25F98DF9-27EF-4B30-BAE6-286812BD8814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24/02/2022</a:t>
            </a:fld>
            <a:endParaRPr lang="en-GB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CD02E4AD-1E16-46A9-AEF5-671B55EA89D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428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6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.png"/><Relationship Id="rId7" Type="http://schemas.openxmlformats.org/officeDocument/2006/relationships/image" Target="../media/image29.png"/><Relationship Id="rId12" Type="http://schemas.openxmlformats.org/officeDocument/2006/relationships/image" Target="../media/image34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5.xml"/><Relationship Id="rId6" Type="http://schemas.openxmlformats.org/officeDocument/2006/relationships/image" Target="../media/image28.sv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6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9.xml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2.png"/><Relationship Id="rId18" Type="http://schemas.openxmlformats.org/officeDocument/2006/relationships/image" Target="../media/image240.png"/><Relationship Id="rId26" Type="http://schemas.openxmlformats.org/officeDocument/2006/relationships/image" Target="../media/image46.png"/><Relationship Id="rId39" Type="http://schemas.openxmlformats.org/officeDocument/2006/relationships/image" Target="../media/image22.png"/><Relationship Id="rId21" Type="http://schemas.openxmlformats.org/officeDocument/2006/relationships/image" Target="../media/image250.png"/><Relationship Id="rId34" Type="http://schemas.openxmlformats.org/officeDocument/2006/relationships/slide" Target="slide9.xml"/><Relationship Id="rId7" Type="http://schemas.openxmlformats.org/officeDocument/2006/relationships/image" Target="../media/image40.png"/><Relationship Id="rId12" Type="http://schemas.openxmlformats.org/officeDocument/2006/relationships/image" Target="../media/image220.png"/><Relationship Id="rId17" Type="http://schemas.openxmlformats.org/officeDocument/2006/relationships/slide" Target="slide2.xml"/><Relationship Id="rId25" Type="http://schemas.openxmlformats.org/officeDocument/2006/relationships/image" Target="../media/image260.png"/><Relationship Id="rId33" Type="http://schemas.openxmlformats.org/officeDocument/2006/relationships/image" Target="../media/image50.png"/><Relationship Id="rId38" Type="http://schemas.openxmlformats.org/officeDocument/2006/relationships/image" Target="../media/image330.png"/><Relationship Id="rId2" Type="http://schemas.openxmlformats.org/officeDocument/2006/relationships/image" Target="../media/image37.png"/><Relationship Id="rId16" Type="http://schemas.openxmlformats.org/officeDocument/2006/relationships/image" Target="../media/image43.png"/><Relationship Id="rId20" Type="http://schemas.openxmlformats.org/officeDocument/2006/relationships/slide" Target="slide3.xml"/><Relationship Id="rId1" Type="http://schemas.openxmlformats.org/officeDocument/2006/relationships/slideLayout" Target="../slideLayouts/slideLayout67.xml"/><Relationship Id="rId6" Type="http://schemas.openxmlformats.org/officeDocument/2006/relationships/image" Target="../media/image200.png"/><Relationship Id="rId11" Type="http://schemas.openxmlformats.org/officeDocument/2006/relationships/slide" Target="slide7.xml"/><Relationship Id="rId24" Type="http://schemas.openxmlformats.org/officeDocument/2006/relationships/slide" Target="slide4.xml"/><Relationship Id="rId32" Type="http://schemas.openxmlformats.org/officeDocument/2006/relationships/image" Target="../media/image49.png"/><Relationship Id="rId37" Type="http://schemas.openxmlformats.org/officeDocument/2006/relationships/slide" Target="slide10.xml"/><Relationship Id="rId40" Type="http://schemas.openxmlformats.org/officeDocument/2006/relationships/image" Target="../media/image23.png"/><Relationship Id="rId5" Type="http://schemas.openxmlformats.org/officeDocument/2006/relationships/slide" Target="slide5.xml"/><Relationship Id="rId15" Type="http://schemas.openxmlformats.org/officeDocument/2006/relationships/image" Target="../media/image230.png"/><Relationship Id="rId28" Type="http://schemas.openxmlformats.org/officeDocument/2006/relationships/image" Target="../media/image48.png"/><Relationship Id="rId36" Type="http://schemas.openxmlformats.org/officeDocument/2006/relationships/image" Target="../media/image51.png"/><Relationship Id="rId10" Type="http://schemas.openxmlformats.org/officeDocument/2006/relationships/image" Target="../media/image41.png"/><Relationship Id="rId19" Type="http://schemas.openxmlformats.org/officeDocument/2006/relationships/image" Target="../media/image44.png"/><Relationship Id="rId31" Type="http://schemas.openxmlformats.org/officeDocument/2006/relationships/image" Target="../media/image30.png"/><Relationship Id="rId4" Type="http://schemas.openxmlformats.org/officeDocument/2006/relationships/image" Target="../media/image39.png"/><Relationship Id="rId9" Type="http://schemas.openxmlformats.org/officeDocument/2006/relationships/image" Target="../media/image210.png"/><Relationship Id="rId14" Type="http://schemas.openxmlformats.org/officeDocument/2006/relationships/slide" Target="slide8.xml"/><Relationship Id="rId22" Type="http://schemas.openxmlformats.org/officeDocument/2006/relationships/image" Target="../media/image45.png"/><Relationship Id="rId27" Type="http://schemas.openxmlformats.org/officeDocument/2006/relationships/image" Target="../media/image47.png"/><Relationship Id="rId30" Type="http://schemas.openxmlformats.org/officeDocument/2006/relationships/slide" Target="slide11.xml"/><Relationship Id="rId35" Type="http://schemas.openxmlformats.org/officeDocument/2006/relationships/image" Target="../media/image320.png"/><Relationship Id="rId8" Type="http://schemas.openxmlformats.org/officeDocument/2006/relationships/slide" Target="slide6.xml"/><Relationship Id="rId3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6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chart" Target="../charts/chart6.xml"/><Relationship Id="rId7" Type="http://schemas.openxmlformats.org/officeDocument/2006/relationships/image" Target="../media/image20.pn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67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6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6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6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8.xml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EFF06E5-5510-4A62-BAAF-EF7C4578E1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1192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C81567CE-BCB8-40DA-9E0C-233A3987389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solidFill>
            <a:schemeClr val="tx2"/>
          </a:solidFill>
        </p:spPr>
        <p:txBody>
          <a:bodyPr/>
          <a:lstStyle/>
          <a:p>
            <a:r>
              <a:rPr lang="sv-SE" dirty="0"/>
              <a:t>Peter Warda</a:t>
            </a:r>
          </a:p>
          <a:p>
            <a:r>
              <a:rPr lang="sv-SE" dirty="0"/>
              <a:t>Senior analytiker, PhD </a:t>
            </a:r>
          </a:p>
        </p:txBody>
      </p:sp>
      <p:sp>
        <p:nvSpPr>
          <p:cNvPr id="6" name="Rubrik 5">
            <a:extLst>
              <a:ext uri="{FF2B5EF4-FFF2-40B4-BE49-F238E27FC236}">
                <a16:creationId xmlns:a16="http://schemas.microsoft.com/office/drawing/2014/main" id="{CEC6C374-85FF-43D0-B037-1CBCD57B2C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1819046"/>
            <a:ext cx="6607816" cy="1655762"/>
          </a:xfrm>
        </p:spPr>
        <p:txBody>
          <a:bodyPr/>
          <a:lstStyle/>
          <a:p>
            <a:r>
              <a:rPr lang="sv-SE" dirty="0"/>
              <a:t>Konjunkturen</a:t>
            </a:r>
            <a:br>
              <a:rPr lang="sv-SE" dirty="0"/>
            </a:br>
            <a:r>
              <a:rPr lang="sv-SE" sz="2400" dirty="0"/>
              <a:t>i Göteborgsregionen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415292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Rak koppling 26">
            <a:extLst>
              <a:ext uri="{FF2B5EF4-FFF2-40B4-BE49-F238E27FC236}">
                <a16:creationId xmlns:a16="http://schemas.microsoft.com/office/drawing/2014/main" id="{6D947883-AA33-4A53-9B22-521EA3824D41}"/>
              </a:ext>
            </a:extLst>
          </p:cNvPr>
          <p:cNvCxnSpPr>
            <a:cxnSpLocks/>
          </p:cNvCxnSpPr>
          <p:nvPr/>
        </p:nvCxnSpPr>
        <p:spPr>
          <a:xfrm flipH="1" flipV="1">
            <a:off x="9295014" y="3855478"/>
            <a:ext cx="551702" cy="40617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ak koppling 27">
            <a:extLst>
              <a:ext uri="{FF2B5EF4-FFF2-40B4-BE49-F238E27FC236}">
                <a16:creationId xmlns:a16="http://schemas.microsoft.com/office/drawing/2014/main" id="{1FD9C91C-34C9-48C0-827B-314FA2FC7506}"/>
              </a:ext>
            </a:extLst>
          </p:cNvPr>
          <p:cNvCxnSpPr>
            <a:cxnSpLocks/>
            <a:stCxn id="30" idx="1"/>
          </p:cNvCxnSpPr>
          <p:nvPr/>
        </p:nvCxnSpPr>
        <p:spPr>
          <a:xfrm flipH="1" flipV="1">
            <a:off x="9570865" y="3345247"/>
            <a:ext cx="696556" cy="6371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ak koppling 33">
            <a:extLst>
              <a:ext uri="{FF2B5EF4-FFF2-40B4-BE49-F238E27FC236}">
                <a16:creationId xmlns:a16="http://schemas.microsoft.com/office/drawing/2014/main" id="{9ED8242E-3CE4-449B-BA7A-06E4BD84AD44}"/>
              </a:ext>
            </a:extLst>
          </p:cNvPr>
          <p:cNvCxnSpPr>
            <a:cxnSpLocks/>
          </p:cNvCxnSpPr>
          <p:nvPr/>
        </p:nvCxnSpPr>
        <p:spPr>
          <a:xfrm flipV="1">
            <a:off x="9570865" y="2485644"/>
            <a:ext cx="674279" cy="25336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Rak koppling 28">
            <a:extLst>
              <a:ext uri="{FF2B5EF4-FFF2-40B4-BE49-F238E27FC236}">
                <a16:creationId xmlns:a16="http://schemas.microsoft.com/office/drawing/2014/main" id="{D5BFA08A-DD35-43B9-8DCB-EB2206732245}"/>
              </a:ext>
            </a:extLst>
          </p:cNvPr>
          <p:cNvCxnSpPr>
            <a:cxnSpLocks/>
          </p:cNvCxnSpPr>
          <p:nvPr/>
        </p:nvCxnSpPr>
        <p:spPr>
          <a:xfrm flipH="1">
            <a:off x="9088337" y="1651917"/>
            <a:ext cx="482528" cy="60626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F721748B-E2FF-4FEB-BCF7-FBC011D9C04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2315144"/>
              </p:ext>
            </p:extLst>
          </p:nvPr>
        </p:nvGraphicFramePr>
        <p:xfrm>
          <a:off x="6265212" y="1028310"/>
          <a:ext cx="5905678" cy="40734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7" name="Rak koppling 16">
            <a:extLst>
              <a:ext uri="{FF2B5EF4-FFF2-40B4-BE49-F238E27FC236}">
                <a16:creationId xmlns:a16="http://schemas.microsoft.com/office/drawing/2014/main" id="{E4507304-E8CD-4BBC-A0ED-F436BB8CD504}"/>
              </a:ext>
            </a:extLst>
          </p:cNvPr>
          <p:cNvCxnSpPr>
            <a:cxnSpLocks/>
          </p:cNvCxnSpPr>
          <p:nvPr/>
        </p:nvCxnSpPr>
        <p:spPr>
          <a:xfrm flipH="1" flipV="1">
            <a:off x="4126721" y="3768274"/>
            <a:ext cx="551702" cy="40617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ak koppling 14">
            <a:extLst>
              <a:ext uri="{FF2B5EF4-FFF2-40B4-BE49-F238E27FC236}">
                <a16:creationId xmlns:a16="http://schemas.microsoft.com/office/drawing/2014/main" id="{8C5C7714-463A-461A-B024-71B3FB63DF8D}"/>
              </a:ext>
            </a:extLst>
          </p:cNvPr>
          <p:cNvCxnSpPr>
            <a:cxnSpLocks/>
          </p:cNvCxnSpPr>
          <p:nvPr/>
        </p:nvCxnSpPr>
        <p:spPr>
          <a:xfrm flipH="1">
            <a:off x="4297679" y="3203160"/>
            <a:ext cx="671324" cy="984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334BD66E-4ECA-4B7A-958B-52B3A63F959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9633781"/>
              </p:ext>
            </p:extLst>
          </p:nvPr>
        </p:nvGraphicFramePr>
        <p:xfrm>
          <a:off x="736716" y="988555"/>
          <a:ext cx="5907918" cy="40698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C92F6F36-3182-4468-84DB-7C0BF6A9D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ydlig minskning i konkurser och drabbade anställda</a:t>
            </a:r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DEA33565-1E41-48EC-B820-B4CA11C9DC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898049"/>
            <a:ext cx="2667600" cy="246221"/>
          </a:xfrm>
        </p:spPr>
        <p:txBody>
          <a:bodyPr/>
          <a:lstStyle/>
          <a:p>
            <a:r>
              <a:rPr lang="sv-SE" sz="1000" dirty="0"/>
              <a:t>Källa: SCB och Tillväxtanalys</a:t>
            </a:r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1B8BD3F5-904B-4540-9605-F04A2EA87DD9}"/>
              </a:ext>
            </a:extLst>
          </p:cNvPr>
          <p:cNvSpPr txBox="1"/>
          <p:nvPr/>
        </p:nvSpPr>
        <p:spPr>
          <a:xfrm>
            <a:off x="1534597" y="4828890"/>
            <a:ext cx="31089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dirty="0">
                <a:solidFill>
                  <a:schemeClr val="bg1"/>
                </a:solidFill>
              </a:rPr>
              <a:t>Antal konkurser</a:t>
            </a:r>
          </a:p>
          <a:p>
            <a:pPr algn="ctr"/>
            <a:r>
              <a:rPr lang="sv-SE" sz="1200" dirty="0">
                <a:solidFill>
                  <a:schemeClr val="bg1"/>
                </a:solidFill>
              </a:rPr>
              <a:t>Mars 2020 – December 2021</a:t>
            </a:r>
          </a:p>
          <a:p>
            <a:pPr algn="ctr"/>
            <a:r>
              <a:rPr lang="sv-SE" sz="1200" dirty="0">
                <a:solidFill>
                  <a:schemeClr val="bg1"/>
                </a:solidFill>
              </a:rPr>
              <a:t>(Mars 2019 – December 2020)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8750023E-664F-4909-84B0-81ABF78099E9}"/>
              </a:ext>
            </a:extLst>
          </p:cNvPr>
          <p:cNvSpPr txBox="1"/>
          <p:nvPr/>
        </p:nvSpPr>
        <p:spPr>
          <a:xfrm>
            <a:off x="6910954" y="4822989"/>
            <a:ext cx="31089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dirty="0">
                <a:solidFill>
                  <a:schemeClr val="bg1"/>
                </a:solidFill>
              </a:rPr>
              <a:t>Drabbade anställda</a:t>
            </a:r>
          </a:p>
          <a:p>
            <a:pPr algn="ctr"/>
            <a:r>
              <a:rPr lang="sv-SE" sz="1200" dirty="0">
                <a:solidFill>
                  <a:schemeClr val="bg1"/>
                </a:solidFill>
              </a:rPr>
              <a:t>Mars 2020 – December 2021</a:t>
            </a:r>
          </a:p>
          <a:p>
            <a:pPr algn="ctr"/>
            <a:r>
              <a:rPr lang="sv-SE" sz="1200" dirty="0">
                <a:solidFill>
                  <a:schemeClr val="bg1"/>
                </a:solidFill>
              </a:rPr>
              <a:t>(Mars 2019 – December 2020)</a:t>
            </a:r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4BFD662D-4772-4E3F-8B87-B8D5900A1E16}"/>
              </a:ext>
            </a:extLst>
          </p:cNvPr>
          <p:cNvSpPr txBox="1"/>
          <p:nvPr/>
        </p:nvSpPr>
        <p:spPr>
          <a:xfrm>
            <a:off x="3348572" y="2265006"/>
            <a:ext cx="1464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/>
              <a:t>Företagstjänster</a:t>
            </a:r>
          </a:p>
          <a:p>
            <a:r>
              <a:rPr lang="sv-SE" sz="1200" dirty="0"/>
              <a:t>209</a:t>
            </a:r>
          </a:p>
          <a:p>
            <a:r>
              <a:rPr lang="sv-SE" sz="1200" dirty="0"/>
              <a:t>16%</a:t>
            </a:r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1B89937E-3917-441C-824F-4FDC1931E6B1}"/>
              </a:ext>
            </a:extLst>
          </p:cNvPr>
          <p:cNvSpPr txBox="1"/>
          <p:nvPr/>
        </p:nvSpPr>
        <p:spPr>
          <a:xfrm>
            <a:off x="2447822" y="1572097"/>
            <a:ext cx="1464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/>
              <a:t>Byggindustri</a:t>
            </a:r>
          </a:p>
          <a:p>
            <a:r>
              <a:rPr lang="sv-SE" sz="1200" dirty="0"/>
              <a:t>221</a:t>
            </a:r>
          </a:p>
          <a:p>
            <a:r>
              <a:rPr lang="sv-SE" sz="1200" dirty="0"/>
              <a:t>17%</a:t>
            </a:r>
          </a:p>
        </p:txBody>
      </p:sp>
      <p:sp>
        <p:nvSpPr>
          <p:cNvPr id="14" name="textruta 13">
            <a:extLst>
              <a:ext uri="{FF2B5EF4-FFF2-40B4-BE49-F238E27FC236}">
                <a16:creationId xmlns:a16="http://schemas.microsoft.com/office/drawing/2014/main" id="{5AF6CBF7-B261-42F7-916D-4978F3BF6292}"/>
              </a:ext>
            </a:extLst>
          </p:cNvPr>
          <p:cNvSpPr txBox="1"/>
          <p:nvPr/>
        </p:nvSpPr>
        <p:spPr>
          <a:xfrm>
            <a:off x="4971243" y="2912411"/>
            <a:ext cx="14645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/>
                </a:solidFill>
              </a:rPr>
              <a:t>Hotell och restaurang</a:t>
            </a:r>
          </a:p>
          <a:p>
            <a:r>
              <a:rPr lang="sv-SE" sz="1200" dirty="0">
                <a:solidFill>
                  <a:schemeClr val="bg1"/>
                </a:solidFill>
              </a:rPr>
              <a:t>121</a:t>
            </a:r>
          </a:p>
          <a:p>
            <a:r>
              <a:rPr lang="sv-SE" sz="1200" dirty="0">
                <a:solidFill>
                  <a:schemeClr val="bg1"/>
                </a:solidFill>
              </a:rPr>
              <a:t>9%</a:t>
            </a:r>
          </a:p>
        </p:txBody>
      </p:sp>
      <p:sp>
        <p:nvSpPr>
          <p:cNvPr id="18" name="textruta 17">
            <a:extLst>
              <a:ext uri="{FF2B5EF4-FFF2-40B4-BE49-F238E27FC236}">
                <a16:creationId xmlns:a16="http://schemas.microsoft.com/office/drawing/2014/main" id="{1A3365BB-A444-4896-B4B1-F6865ED482F3}"/>
              </a:ext>
            </a:extLst>
          </p:cNvPr>
          <p:cNvSpPr txBox="1"/>
          <p:nvPr/>
        </p:nvSpPr>
        <p:spPr>
          <a:xfrm>
            <a:off x="4680663" y="3898723"/>
            <a:ext cx="14645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/>
                </a:solidFill>
              </a:rPr>
              <a:t>Transport och</a:t>
            </a:r>
            <a:br>
              <a:rPr lang="sv-SE" sz="1200" dirty="0">
                <a:solidFill>
                  <a:schemeClr val="bg1"/>
                </a:solidFill>
              </a:rPr>
            </a:br>
            <a:r>
              <a:rPr lang="sv-SE" sz="1200" dirty="0">
                <a:solidFill>
                  <a:schemeClr val="bg1"/>
                </a:solidFill>
              </a:rPr>
              <a:t>magasinering</a:t>
            </a:r>
          </a:p>
          <a:p>
            <a:r>
              <a:rPr lang="sv-SE" sz="1200" dirty="0">
                <a:solidFill>
                  <a:schemeClr val="bg1"/>
                </a:solidFill>
              </a:rPr>
              <a:t>70</a:t>
            </a:r>
          </a:p>
          <a:p>
            <a:r>
              <a:rPr lang="sv-SE" sz="1200" dirty="0">
                <a:solidFill>
                  <a:schemeClr val="bg1"/>
                </a:solidFill>
              </a:rPr>
              <a:t>6%</a:t>
            </a:r>
          </a:p>
        </p:txBody>
      </p:sp>
      <p:sp>
        <p:nvSpPr>
          <p:cNvPr id="22" name="textruta 21">
            <a:extLst>
              <a:ext uri="{FF2B5EF4-FFF2-40B4-BE49-F238E27FC236}">
                <a16:creationId xmlns:a16="http://schemas.microsoft.com/office/drawing/2014/main" id="{C04EE026-DE24-43DA-8F92-18A5698FEFAB}"/>
              </a:ext>
            </a:extLst>
          </p:cNvPr>
          <p:cNvSpPr txBox="1"/>
          <p:nvPr/>
        </p:nvSpPr>
        <p:spPr>
          <a:xfrm>
            <a:off x="2160510" y="3602585"/>
            <a:ext cx="1464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/>
              <a:t>Övriga branscher</a:t>
            </a:r>
          </a:p>
          <a:p>
            <a:r>
              <a:rPr lang="sv-SE" sz="1200" dirty="0"/>
              <a:t>405</a:t>
            </a:r>
          </a:p>
          <a:p>
            <a:r>
              <a:rPr lang="sv-SE" sz="1200" dirty="0"/>
              <a:t>32%</a:t>
            </a:r>
          </a:p>
        </p:txBody>
      </p:sp>
      <p:sp>
        <p:nvSpPr>
          <p:cNvPr id="23" name="textruta 22">
            <a:extLst>
              <a:ext uri="{FF2B5EF4-FFF2-40B4-BE49-F238E27FC236}">
                <a16:creationId xmlns:a16="http://schemas.microsoft.com/office/drawing/2014/main" id="{C18EF8E0-1C87-4147-9917-75CD54EE24CC}"/>
              </a:ext>
            </a:extLst>
          </p:cNvPr>
          <p:cNvSpPr txBox="1"/>
          <p:nvPr/>
        </p:nvSpPr>
        <p:spPr>
          <a:xfrm>
            <a:off x="1715537" y="2435481"/>
            <a:ext cx="1464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/>
                </a:solidFill>
              </a:rPr>
              <a:t>Handel</a:t>
            </a:r>
          </a:p>
          <a:p>
            <a:r>
              <a:rPr lang="sv-SE" sz="1200" dirty="0">
                <a:solidFill>
                  <a:schemeClr val="bg1"/>
                </a:solidFill>
              </a:rPr>
              <a:t>257</a:t>
            </a:r>
          </a:p>
          <a:p>
            <a:r>
              <a:rPr lang="sv-SE" sz="1200" dirty="0">
                <a:solidFill>
                  <a:schemeClr val="bg1"/>
                </a:solidFill>
              </a:rPr>
              <a:t>20%</a:t>
            </a:r>
          </a:p>
        </p:txBody>
      </p:sp>
      <p:sp>
        <p:nvSpPr>
          <p:cNvPr id="24" name="textruta 23">
            <a:extLst>
              <a:ext uri="{FF2B5EF4-FFF2-40B4-BE49-F238E27FC236}">
                <a16:creationId xmlns:a16="http://schemas.microsoft.com/office/drawing/2014/main" id="{9E51177A-D43B-4C23-9A8C-B035139E1490}"/>
              </a:ext>
            </a:extLst>
          </p:cNvPr>
          <p:cNvSpPr txBox="1"/>
          <p:nvPr/>
        </p:nvSpPr>
        <p:spPr>
          <a:xfrm>
            <a:off x="7534004" y="1720332"/>
            <a:ext cx="1464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/>
              <a:t>Byggindustri</a:t>
            </a:r>
          </a:p>
          <a:p>
            <a:r>
              <a:rPr lang="sv-SE" sz="1200" dirty="0"/>
              <a:t>866</a:t>
            </a:r>
          </a:p>
          <a:p>
            <a:r>
              <a:rPr lang="sv-SE" sz="1200" dirty="0"/>
              <a:t>22%</a:t>
            </a:r>
          </a:p>
        </p:txBody>
      </p:sp>
      <p:sp>
        <p:nvSpPr>
          <p:cNvPr id="25" name="textruta 24">
            <a:extLst>
              <a:ext uri="{FF2B5EF4-FFF2-40B4-BE49-F238E27FC236}">
                <a16:creationId xmlns:a16="http://schemas.microsoft.com/office/drawing/2014/main" id="{91229AE6-1DCA-437F-87AA-094308F0DC97}"/>
              </a:ext>
            </a:extLst>
          </p:cNvPr>
          <p:cNvSpPr txBox="1"/>
          <p:nvPr/>
        </p:nvSpPr>
        <p:spPr>
          <a:xfrm>
            <a:off x="7257706" y="3217993"/>
            <a:ext cx="9692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/>
              <a:t>Handel</a:t>
            </a:r>
          </a:p>
          <a:p>
            <a:r>
              <a:rPr lang="sv-SE" sz="1200" dirty="0"/>
              <a:t>1 681</a:t>
            </a:r>
          </a:p>
          <a:p>
            <a:r>
              <a:rPr lang="sv-SE" sz="1200" dirty="0"/>
              <a:t>42%</a:t>
            </a:r>
          </a:p>
        </p:txBody>
      </p:sp>
      <p:sp>
        <p:nvSpPr>
          <p:cNvPr id="26" name="textruta 25">
            <a:extLst>
              <a:ext uri="{FF2B5EF4-FFF2-40B4-BE49-F238E27FC236}">
                <a16:creationId xmlns:a16="http://schemas.microsoft.com/office/drawing/2014/main" id="{C419BC8C-639C-40DA-89A2-3C5E344EB9E7}"/>
              </a:ext>
            </a:extLst>
          </p:cNvPr>
          <p:cNvSpPr txBox="1"/>
          <p:nvPr/>
        </p:nvSpPr>
        <p:spPr>
          <a:xfrm>
            <a:off x="9847836" y="4123144"/>
            <a:ext cx="1464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/>
                </a:solidFill>
              </a:rPr>
              <a:t>Övriga branscher</a:t>
            </a:r>
          </a:p>
          <a:p>
            <a:r>
              <a:rPr lang="sv-SE" sz="1200" dirty="0">
                <a:solidFill>
                  <a:schemeClr val="bg1"/>
                </a:solidFill>
              </a:rPr>
              <a:t>460</a:t>
            </a:r>
          </a:p>
          <a:p>
            <a:r>
              <a:rPr lang="sv-SE" sz="1200" dirty="0">
                <a:solidFill>
                  <a:schemeClr val="bg1"/>
                </a:solidFill>
              </a:rPr>
              <a:t>12%</a:t>
            </a:r>
          </a:p>
        </p:txBody>
      </p:sp>
      <p:sp>
        <p:nvSpPr>
          <p:cNvPr id="30" name="textruta 29">
            <a:extLst>
              <a:ext uri="{FF2B5EF4-FFF2-40B4-BE49-F238E27FC236}">
                <a16:creationId xmlns:a16="http://schemas.microsoft.com/office/drawing/2014/main" id="{BC0CF1AA-64A1-44D4-95C2-AAB159E6C4E4}"/>
              </a:ext>
            </a:extLst>
          </p:cNvPr>
          <p:cNvSpPr txBox="1"/>
          <p:nvPr/>
        </p:nvSpPr>
        <p:spPr>
          <a:xfrm>
            <a:off x="10267421" y="2993466"/>
            <a:ext cx="14645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/>
                </a:solidFill>
              </a:rPr>
              <a:t>Transport och</a:t>
            </a:r>
            <a:br>
              <a:rPr lang="sv-SE" sz="1200" dirty="0">
                <a:solidFill>
                  <a:schemeClr val="bg1"/>
                </a:solidFill>
              </a:rPr>
            </a:br>
            <a:r>
              <a:rPr lang="sv-SE" sz="1200" dirty="0">
                <a:solidFill>
                  <a:schemeClr val="bg1"/>
                </a:solidFill>
              </a:rPr>
              <a:t>magasinering</a:t>
            </a:r>
          </a:p>
          <a:p>
            <a:r>
              <a:rPr lang="sv-SE" sz="1200" dirty="0">
                <a:solidFill>
                  <a:schemeClr val="bg1"/>
                </a:solidFill>
              </a:rPr>
              <a:t>197</a:t>
            </a:r>
          </a:p>
          <a:p>
            <a:r>
              <a:rPr lang="sv-SE" sz="1200" dirty="0">
                <a:solidFill>
                  <a:schemeClr val="bg1"/>
                </a:solidFill>
              </a:rPr>
              <a:t>5%</a:t>
            </a:r>
          </a:p>
        </p:txBody>
      </p:sp>
      <p:sp>
        <p:nvSpPr>
          <p:cNvPr id="33" name="textruta 32">
            <a:extLst>
              <a:ext uri="{FF2B5EF4-FFF2-40B4-BE49-F238E27FC236}">
                <a16:creationId xmlns:a16="http://schemas.microsoft.com/office/drawing/2014/main" id="{E1F5C669-FBFE-4B89-B7D2-BC08ACE81396}"/>
              </a:ext>
            </a:extLst>
          </p:cNvPr>
          <p:cNvSpPr txBox="1"/>
          <p:nvPr/>
        </p:nvSpPr>
        <p:spPr>
          <a:xfrm>
            <a:off x="10247384" y="2059737"/>
            <a:ext cx="14645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/>
                </a:solidFill>
              </a:rPr>
              <a:t>Hotell och restaurang</a:t>
            </a:r>
          </a:p>
          <a:p>
            <a:r>
              <a:rPr lang="sv-SE" sz="1200" dirty="0">
                <a:solidFill>
                  <a:schemeClr val="bg1"/>
                </a:solidFill>
              </a:rPr>
              <a:t>340</a:t>
            </a:r>
          </a:p>
          <a:p>
            <a:r>
              <a:rPr lang="sv-SE" sz="1200" dirty="0">
                <a:solidFill>
                  <a:schemeClr val="bg1"/>
                </a:solidFill>
              </a:rPr>
              <a:t>8%</a:t>
            </a:r>
          </a:p>
        </p:txBody>
      </p:sp>
      <p:sp>
        <p:nvSpPr>
          <p:cNvPr id="37" name="textruta 36">
            <a:extLst>
              <a:ext uri="{FF2B5EF4-FFF2-40B4-BE49-F238E27FC236}">
                <a16:creationId xmlns:a16="http://schemas.microsoft.com/office/drawing/2014/main" id="{7A278A43-F2BE-4620-BDAE-08F91355CF15}"/>
              </a:ext>
            </a:extLst>
          </p:cNvPr>
          <p:cNvSpPr txBox="1"/>
          <p:nvPr/>
        </p:nvSpPr>
        <p:spPr>
          <a:xfrm>
            <a:off x="9570165" y="1152861"/>
            <a:ext cx="1464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/>
                </a:solidFill>
              </a:rPr>
              <a:t>Företagstjänster</a:t>
            </a:r>
          </a:p>
          <a:p>
            <a:r>
              <a:rPr lang="sv-SE" sz="1200" dirty="0">
                <a:solidFill>
                  <a:schemeClr val="bg1"/>
                </a:solidFill>
              </a:rPr>
              <a:t>420</a:t>
            </a:r>
          </a:p>
          <a:p>
            <a:r>
              <a:rPr lang="sv-SE" sz="1200" dirty="0">
                <a:solidFill>
                  <a:schemeClr val="bg1"/>
                </a:solidFill>
              </a:rPr>
              <a:t>11%</a:t>
            </a:r>
          </a:p>
        </p:txBody>
      </p:sp>
      <p:sp>
        <p:nvSpPr>
          <p:cNvPr id="46" name="Pil: femhörning 45">
            <a:extLst>
              <a:ext uri="{FF2B5EF4-FFF2-40B4-BE49-F238E27FC236}">
                <a16:creationId xmlns:a16="http://schemas.microsoft.com/office/drawing/2014/main" id="{F70521D2-FACA-44D1-99BA-2FA830AFEDD5}"/>
              </a:ext>
            </a:extLst>
          </p:cNvPr>
          <p:cNvSpPr/>
          <p:nvPr/>
        </p:nvSpPr>
        <p:spPr>
          <a:xfrm>
            <a:off x="500941" y="4582580"/>
            <a:ext cx="1531420" cy="891698"/>
          </a:xfrm>
          <a:prstGeom prst="homePlat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200" dirty="0">
                <a:solidFill>
                  <a:schemeClr val="bg1"/>
                </a:solidFill>
              </a:rPr>
              <a:t>Totalt period</a:t>
            </a:r>
            <a:endParaRPr lang="sv-SE" dirty="0">
              <a:solidFill>
                <a:schemeClr val="bg1"/>
              </a:solidFill>
            </a:endParaRPr>
          </a:p>
          <a:p>
            <a:pPr algn="ctr"/>
            <a:r>
              <a:rPr lang="sv-SE" sz="1400" dirty="0">
                <a:solidFill>
                  <a:schemeClr val="bg1"/>
                </a:solidFill>
              </a:rPr>
              <a:t>1 283 (1 363)</a:t>
            </a:r>
          </a:p>
        </p:txBody>
      </p:sp>
      <p:sp>
        <p:nvSpPr>
          <p:cNvPr id="47" name="Pil: femhörning 46">
            <a:extLst>
              <a:ext uri="{FF2B5EF4-FFF2-40B4-BE49-F238E27FC236}">
                <a16:creationId xmlns:a16="http://schemas.microsoft.com/office/drawing/2014/main" id="{053FBE3F-D5F5-4432-A32F-37856B9B76A4}"/>
              </a:ext>
            </a:extLst>
          </p:cNvPr>
          <p:cNvSpPr/>
          <p:nvPr/>
        </p:nvSpPr>
        <p:spPr>
          <a:xfrm>
            <a:off x="5765665" y="4579411"/>
            <a:ext cx="1530000" cy="891698"/>
          </a:xfrm>
          <a:prstGeom prst="homePlat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200" dirty="0"/>
              <a:t>Totalt period</a:t>
            </a:r>
          </a:p>
          <a:p>
            <a:pPr algn="ctr"/>
            <a:r>
              <a:rPr lang="sv-SE" sz="1400" dirty="0"/>
              <a:t>3 964 (4 572)</a:t>
            </a:r>
          </a:p>
        </p:txBody>
      </p:sp>
      <p:sp>
        <p:nvSpPr>
          <p:cNvPr id="51" name="textruta 50">
            <a:extLst>
              <a:ext uri="{FF2B5EF4-FFF2-40B4-BE49-F238E27FC236}">
                <a16:creationId xmlns:a16="http://schemas.microsoft.com/office/drawing/2014/main" id="{EE4A0B29-606B-4111-BBB6-C41631DE19E5}"/>
              </a:ext>
            </a:extLst>
          </p:cNvPr>
          <p:cNvSpPr txBox="1"/>
          <p:nvPr/>
        </p:nvSpPr>
        <p:spPr>
          <a:xfrm>
            <a:off x="4844946" y="5534438"/>
            <a:ext cx="14645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dirty="0">
                <a:solidFill>
                  <a:schemeClr val="bg1"/>
                </a:solidFill>
              </a:rPr>
              <a:t>Jämförelseperiod</a:t>
            </a:r>
          </a:p>
        </p:txBody>
      </p:sp>
      <p:sp>
        <p:nvSpPr>
          <p:cNvPr id="7" name="Frihandsfigur: Form 6">
            <a:extLst>
              <a:ext uri="{FF2B5EF4-FFF2-40B4-BE49-F238E27FC236}">
                <a16:creationId xmlns:a16="http://schemas.microsoft.com/office/drawing/2014/main" id="{8517FDF4-6646-4D9D-A04E-CA0E5D1A324E}"/>
              </a:ext>
            </a:extLst>
          </p:cNvPr>
          <p:cNvSpPr/>
          <p:nvPr/>
        </p:nvSpPr>
        <p:spPr>
          <a:xfrm>
            <a:off x="6247593" y="5264375"/>
            <a:ext cx="438386" cy="413468"/>
          </a:xfrm>
          <a:custGeom>
            <a:avLst/>
            <a:gdLst>
              <a:gd name="connsiteX0" fmla="*/ 0 w 438386"/>
              <a:gd name="connsiteY0" fmla="*/ 413468 h 413468"/>
              <a:gd name="connsiteX1" fmla="*/ 381663 w 438386"/>
              <a:gd name="connsiteY1" fmla="*/ 214685 h 413468"/>
              <a:gd name="connsiteX2" fmla="*/ 429371 w 438386"/>
              <a:gd name="connsiteY2" fmla="*/ 0 h 413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8386" h="413468">
                <a:moveTo>
                  <a:pt x="0" y="413468"/>
                </a:moveTo>
                <a:cubicBezTo>
                  <a:pt x="155050" y="348532"/>
                  <a:pt x="310101" y="283596"/>
                  <a:pt x="381663" y="214685"/>
                </a:cubicBezTo>
                <a:cubicBezTo>
                  <a:pt x="453225" y="145774"/>
                  <a:pt x="441298" y="72887"/>
                  <a:pt x="429371" y="0"/>
                </a:cubicBezTo>
              </a:path>
            </a:pathLst>
          </a:custGeom>
          <a:noFill/>
          <a:ln cap="rnd">
            <a:solidFill>
              <a:schemeClr val="bg1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217561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C9D30B10-AE90-4AF0-ADB6-94109E2103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Vad ser vi nu? Fyra snabba om nuläget!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1D4B42B-D71C-40A1-A9DE-2C3CF12A8FC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198723" y="3963087"/>
            <a:ext cx="2314097" cy="1218513"/>
          </a:xfrm>
        </p:spPr>
        <p:txBody>
          <a:bodyPr tIns="144000"/>
          <a:lstStyle/>
          <a:p>
            <a:pPr marL="0" indent="0">
              <a:spcBef>
                <a:spcPts val="600"/>
              </a:spcBef>
              <a:buNone/>
            </a:pPr>
            <a:r>
              <a:rPr lang="sv-SE" sz="1600" dirty="0">
                <a:solidFill>
                  <a:schemeClr val="tx2"/>
                </a:solidFill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rPr>
              <a:t>Globalt</a:t>
            </a:r>
            <a:r>
              <a:rPr lang="sv-SE" sz="1600" dirty="0">
                <a:solidFill>
                  <a:schemeClr val="tx2"/>
                </a:solidFill>
                <a:latin typeface="Arial Rounded MT Bold" panose="020F0704030504030204" pitchFamily="34" charset="0"/>
              </a:rPr>
              <a:t>…</a:t>
            </a:r>
            <a:endParaRPr lang="sv-SE" dirty="0">
              <a:solidFill>
                <a:schemeClr val="tx2"/>
              </a:solidFill>
              <a:latin typeface="Arial Rounded MT Bold" panose="020F07040305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sv-SE" dirty="0"/>
              <a:t>Hyfsad tillväxt spås på</a:t>
            </a:r>
            <a:br>
              <a:rPr lang="sv-SE" dirty="0"/>
            </a:br>
            <a:r>
              <a:rPr lang="sv-SE" dirty="0"/>
              <a:t>den globala marknaden under 2022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59D7F504-2A2E-4C1E-919F-BB5D13D60A1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02" r="1"/>
          <a:stretch/>
        </p:blipFill>
        <p:spPr>
          <a:xfrm>
            <a:off x="1644042" y="1786408"/>
            <a:ext cx="1662060" cy="1944000"/>
          </a:xfrm>
          <a:prstGeom prst="rect">
            <a:avLst/>
          </a:prstGeom>
        </p:spPr>
      </p:pic>
      <p:sp>
        <p:nvSpPr>
          <p:cNvPr id="8" name="Frihandsfigur 17">
            <a:extLst>
              <a:ext uri="{FF2B5EF4-FFF2-40B4-BE49-F238E27FC236}">
                <a16:creationId xmlns:a16="http://schemas.microsoft.com/office/drawing/2014/main" id="{3DDAA078-DE8D-4127-8652-F7F46DC2BB06}"/>
              </a:ext>
            </a:extLst>
          </p:cNvPr>
          <p:cNvSpPr/>
          <p:nvPr/>
        </p:nvSpPr>
        <p:spPr>
          <a:xfrm>
            <a:off x="4330542" y="1786408"/>
            <a:ext cx="711730" cy="1626811"/>
          </a:xfrm>
          <a:custGeom>
            <a:avLst/>
            <a:gdLst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33680 w 3505200"/>
              <a:gd name="connsiteY69" fmla="*/ 6543040 h 8260080"/>
              <a:gd name="connsiteX70" fmla="*/ 152400 w 3505200"/>
              <a:gd name="connsiteY70" fmla="*/ 6776720 h 8260080"/>
              <a:gd name="connsiteX71" fmla="*/ 233680 w 3505200"/>
              <a:gd name="connsiteY71" fmla="*/ 6959600 h 8260080"/>
              <a:gd name="connsiteX72" fmla="*/ 304800 w 3505200"/>
              <a:gd name="connsiteY72" fmla="*/ 7020560 h 8260080"/>
              <a:gd name="connsiteX73" fmla="*/ 264160 w 3505200"/>
              <a:gd name="connsiteY73" fmla="*/ 7122160 h 8260080"/>
              <a:gd name="connsiteX74" fmla="*/ 335280 w 3505200"/>
              <a:gd name="connsiteY74" fmla="*/ 7193280 h 8260080"/>
              <a:gd name="connsiteX75" fmla="*/ 325120 w 3505200"/>
              <a:gd name="connsiteY75" fmla="*/ 7254240 h 8260080"/>
              <a:gd name="connsiteX76" fmla="*/ 325120 w 3505200"/>
              <a:gd name="connsiteY76" fmla="*/ 7254240 h 8260080"/>
              <a:gd name="connsiteX77" fmla="*/ 325120 w 3505200"/>
              <a:gd name="connsiteY77" fmla="*/ 7355840 h 8260080"/>
              <a:gd name="connsiteX78" fmla="*/ 447040 w 3505200"/>
              <a:gd name="connsiteY78" fmla="*/ 7366000 h 8260080"/>
              <a:gd name="connsiteX79" fmla="*/ 447040 w 3505200"/>
              <a:gd name="connsiteY79" fmla="*/ 7477760 h 8260080"/>
              <a:gd name="connsiteX80" fmla="*/ 558800 w 3505200"/>
              <a:gd name="connsiteY80" fmla="*/ 7528560 h 8260080"/>
              <a:gd name="connsiteX81" fmla="*/ 508000 w 3505200"/>
              <a:gd name="connsiteY81" fmla="*/ 7630160 h 8260080"/>
              <a:gd name="connsiteX82" fmla="*/ 436880 w 3505200"/>
              <a:gd name="connsiteY82" fmla="*/ 7609840 h 8260080"/>
              <a:gd name="connsiteX83" fmla="*/ 447040 w 3505200"/>
              <a:gd name="connsiteY83" fmla="*/ 7691120 h 8260080"/>
              <a:gd name="connsiteX84" fmla="*/ 518160 w 3505200"/>
              <a:gd name="connsiteY84" fmla="*/ 7741920 h 8260080"/>
              <a:gd name="connsiteX85" fmla="*/ 457200 w 3505200"/>
              <a:gd name="connsiteY85" fmla="*/ 7792720 h 8260080"/>
              <a:gd name="connsiteX86" fmla="*/ 396240 w 3505200"/>
              <a:gd name="connsiteY86" fmla="*/ 7701280 h 8260080"/>
              <a:gd name="connsiteX87" fmla="*/ 396240 w 3505200"/>
              <a:gd name="connsiteY87" fmla="*/ 7701280 h 8260080"/>
              <a:gd name="connsiteX88" fmla="*/ 436880 w 3505200"/>
              <a:gd name="connsiteY88" fmla="*/ 7874000 h 8260080"/>
              <a:gd name="connsiteX89" fmla="*/ 436880 w 3505200"/>
              <a:gd name="connsiteY89" fmla="*/ 7924800 h 8260080"/>
              <a:gd name="connsiteX90" fmla="*/ 548640 w 3505200"/>
              <a:gd name="connsiteY90" fmla="*/ 7965440 h 8260080"/>
              <a:gd name="connsiteX91" fmla="*/ 508000 w 3505200"/>
              <a:gd name="connsiteY91" fmla="*/ 8016240 h 8260080"/>
              <a:gd name="connsiteX92" fmla="*/ 589280 w 3505200"/>
              <a:gd name="connsiteY92" fmla="*/ 8056880 h 8260080"/>
              <a:gd name="connsiteX93" fmla="*/ 497840 w 3505200"/>
              <a:gd name="connsiteY93" fmla="*/ 8117840 h 8260080"/>
              <a:gd name="connsiteX94" fmla="*/ 518160 w 3505200"/>
              <a:gd name="connsiteY94" fmla="*/ 8209280 h 8260080"/>
              <a:gd name="connsiteX95" fmla="*/ 640080 w 3505200"/>
              <a:gd name="connsiteY95" fmla="*/ 8260080 h 8260080"/>
              <a:gd name="connsiteX96" fmla="*/ 731520 w 3505200"/>
              <a:gd name="connsiteY96" fmla="*/ 8219440 h 8260080"/>
              <a:gd name="connsiteX97" fmla="*/ 853440 w 3505200"/>
              <a:gd name="connsiteY97" fmla="*/ 8209280 h 8260080"/>
              <a:gd name="connsiteX98" fmla="*/ 955040 w 3505200"/>
              <a:gd name="connsiteY98" fmla="*/ 8260080 h 8260080"/>
              <a:gd name="connsiteX99" fmla="*/ 965200 w 3505200"/>
              <a:gd name="connsiteY99" fmla="*/ 8107680 h 8260080"/>
              <a:gd name="connsiteX100" fmla="*/ 894080 w 3505200"/>
              <a:gd name="connsiteY100" fmla="*/ 8026400 h 8260080"/>
              <a:gd name="connsiteX101" fmla="*/ 1016000 w 3505200"/>
              <a:gd name="connsiteY101" fmla="*/ 7863840 h 8260080"/>
              <a:gd name="connsiteX102" fmla="*/ 1107440 w 3505200"/>
              <a:gd name="connsiteY102" fmla="*/ 7894320 h 8260080"/>
              <a:gd name="connsiteX103" fmla="*/ 1127760 w 3505200"/>
              <a:gd name="connsiteY103" fmla="*/ 7853680 h 8260080"/>
              <a:gd name="connsiteX104" fmla="*/ 1066800 w 3505200"/>
              <a:gd name="connsiteY104" fmla="*/ 7813040 h 8260080"/>
              <a:gd name="connsiteX105" fmla="*/ 1137920 w 3505200"/>
              <a:gd name="connsiteY105" fmla="*/ 7762240 h 8260080"/>
              <a:gd name="connsiteX106" fmla="*/ 1330960 w 3505200"/>
              <a:gd name="connsiteY106" fmla="*/ 7802880 h 8260080"/>
              <a:gd name="connsiteX107" fmla="*/ 1361440 w 3505200"/>
              <a:gd name="connsiteY107" fmla="*/ 7772400 h 8260080"/>
              <a:gd name="connsiteX108" fmla="*/ 1483360 w 3505200"/>
              <a:gd name="connsiteY108" fmla="*/ 7823200 h 8260080"/>
              <a:gd name="connsiteX109" fmla="*/ 1554480 w 3505200"/>
              <a:gd name="connsiteY109" fmla="*/ 7731760 h 8260080"/>
              <a:gd name="connsiteX110" fmla="*/ 1524000 w 3505200"/>
              <a:gd name="connsiteY110" fmla="*/ 7640320 h 8260080"/>
              <a:gd name="connsiteX111" fmla="*/ 1645920 w 3505200"/>
              <a:gd name="connsiteY111" fmla="*/ 7437120 h 8260080"/>
              <a:gd name="connsiteX112" fmla="*/ 1635760 w 3505200"/>
              <a:gd name="connsiteY112" fmla="*/ 7335520 h 8260080"/>
              <a:gd name="connsiteX113" fmla="*/ 1696720 w 3505200"/>
              <a:gd name="connsiteY113" fmla="*/ 7223760 h 8260080"/>
              <a:gd name="connsiteX114" fmla="*/ 1625600 w 3505200"/>
              <a:gd name="connsiteY114" fmla="*/ 7172960 h 8260080"/>
              <a:gd name="connsiteX115" fmla="*/ 1747520 w 3505200"/>
              <a:gd name="connsiteY115" fmla="*/ 6990080 h 8260080"/>
              <a:gd name="connsiteX116" fmla="*/ 1666240 w 3505200"/>
              <a:gd name="connsiteY116" fmla="*/ 6939280 h 8260080"/>
              <a:gd name="connsiteX117" fmla="*/ 1737360 w 3505200"/>
              <a:gd name="connsiteY117" fmla="*/ 6888480 h 8260080"/>
              <a:gd name="connsiteX118" fmla="*/ 1645920 w 3505200"/>
              <a:gd name="connsiteY118" fmla="*/ 6776720 h 8260080"/>
              <a:gd name="connsiteX119" fmla="*/ 1808480 w 3505200"/>
              <a:gd name="connsiteY119" fmla="*/ 6715760 h 8260080"/>
              <a:gd name="connsiteX120" fmla="*/ 1727200 w 3505200"/>
              <a:gd name="connsiteY120" fmla="*/ 6614160 h 8260080"/>
              <a:gd name="connsiteX121" fmla="*/ 1686560 w 3505200"/>
              <a:gd name="connsiteY121" fmla="*/ 6421120 h 8260080"/>
              <a:gd name="connsiteX122" fmla="*/ 1889760 w 3505200"/>
              <a:gd name="connsiteY122" fmla="*/ 6299200 h 8260080"/>
              <a:gd name="connsiteX123" fmla="*/ 1940560 w 3505200"/>
              <a:gd name="connsiteY123" fmla="*/ 6228080 h 8260080"/>
              <a:gd name="connsiteX124" fmla="*/ 2032000 w 3505200"/>
              <a:gd name="connsiteY124" fmla="*/ 6136640 h 8260080"/>
              <a:gd name="connsiteX125" fmla="*/ 2011680 w 3505200"/>
              <a:gd name="connsiteY125" fmla="*/ 6014720 h 8260080"/>
              <a:gd name="connsiteX126" fmla="*/ 2123440 w 3505200"/>
              <a:gd name="connsiteY126" fmla="*/ 6065520 h 8260080"/>
              <a:gd name="connsiteX127" fmla="*/ 2092960 w 3505200"/>
              <a:gd name="connsiteY127" fmla="*/ 6167120 h 8260080"/>
              <a:gd name="connsiteX128" fmla="*/ 2286000 w 3505200"/>
              <a:gd name="connsiteY128" fmla="*/ 5933440 h 8260080"/>
              <a:gd name="connsiteX129" fmla="*/ 2255520 w 3505200"/>
              <a:gd name="connsiteY129" fmla="*/ 5801360 h 8260080"/>
              <a:gd name="connsiteX130" fmla="*/ 2448560 w 3505200"/>
              <a:gd name="connsiteY130" fmla="*/ 5598160 h 8260080"/>
              <a:gd name="connsiteX131" fmla="*/ 2357120 w 3505200"/>
              <a:gd name="connsiteY131" fmla="*/ 5435600 h 8260080"/>
              <a:gd name="connsiteX132" fmla="*/ 2225040 w 3505200"/>
              <a:gd name="connsiteY132" fmla="*/ 5415280 h 8260080"/>
              <a:gd name="connsiteX133" fmla="*/ 2103120 w 3505200"/>
              <a:gd name="connsiteY133" fmla="*/ 5222240 h 8260080"/>
              <a:gd name="connsiteX134" fmla="*/ 2092960 w 3505200"/>
              <a:gd name="connsiteY134" fmla="*/ 5110480 h 8260080"/>
              <a:gd name="connsiteX135" fmla="*/ 2052320 w 3505200"/>
              <a:gd name="connsiteY135" fmla="*/ 5151120 h 8260080"/>
              <a:gd name="connsiteX136" fmla="*/ 2042160 w 3505200"/>
              <a:gd name="connsiteY136" fmla="*/ 5242560 h 8260080"/>
              <a:gd name="connsiteX137" fmla="*/ 1981200 w 3505200"/>
              <a:gd name="connsiteY137" fmla="*/ 5191760 h 8260080"/>
              <a:gd name="connsiteX138" fmla="*/ 2011680 w 3505200"/>
              <a:gd name="connsiteY138" fmla="*/ 5120640 h 8260080"/>
              <a:gd name="connsiteX139" fmla="*/ 1930400 w 3505200"/>
              <a:gd name="connsiteY139" fmla="*/ 5100320 h 8260080"/>
              <a:gd name="connsiteX140" fmla="*/ 1859280 w 3505200"/>
              <a:gd name="connsiteY140" fmla="*/ 4917440 h 8260080"/>
              <a:gd name="connsiteX141" fmla="*/ 1828800 w 3505200"/>
              <a:gd name="connsiteY141" fmla="*/ 4622800 h 8260080"/>
              <a:gd name="connsiteX142" fmla="*/ 1910080 w 3505200"/>
              <a:gd name="connsiteY142" fmla="*/ 4419600 h 8260080"/>
              <a:gd name="connsiteX143" fmla="*/ 1920240 w 3505200"/>
              <a:gd name="connsiteY143" fmla="*/ 4277360 h 8260080"/>
              <a:gd name="connsiteX144" fmla="*/ 1971040 w 3505200"/>
              <a:gd name="connsiteY144" fmla="*/ 4124960 h 8260080"/>
              <a:gd name="connsiteX145" fmla="*/ 1879600 w 3505200"/>
              <a:gd name="connsiteY145" fmla="*/ 4023360 h 8260080"/>
              <a:gd name="connsiteX146" fmla="*/ 2072640 w 3505200"/>
              <a:gd name="connsiteY146" fmla="*/ 4003040 h 8260080"/>
              <a:gd name="connsiteX147" fmla="*/ 2092960 w 3505200"/>
              <a:gd name="connsiteY147" fmla="*/ 3850640 h 8260080"/>
              <a:gd name="connsiteX148" fmla="*/ 2001520 w 3505200"/>
              <a:gd name="connsiteY148" fmla="*/ 3728720 h 8260080"/>
              <a:gd name="connsiteX149" fmla="*/ 2164080 w 3505200"/>
              <a:gd name="connsiteY149" fmla="*/ 3769360 h 8260080"/>
              <a:gd name="connsiteX150" fmla="*/ 2265680 w 3505200"/>
              <a:gd name="connsiteY150" fmla="*/ 3566160 h 8260080"/>
              <a:gd name="connsiteX151" fmla="*/ 2336800 w 3505200"/>
              <a:gd name="connsiteY151" fmla="*/ 3515360 h 8260080"/>
              <a:gd name="connsiteX152" fmla="*/ 2367280 w 3505200"/>
              <a:gd name="connsiteY152" fmla="*/ 3362960 h 8260080"/>
              <a:gd name="connsiteX153" fmla="*/ 2489200 w 3505200"/>
              <a:gd name="connsiteY153" fmla="*/ 3423920 h 8260080"/>
              <a:gd name="connsiteX154" fmla="*/ 2560320 w 3505200"/>
              <a:gd name="connsiteY154" fmla="*/ 3302000 h 8260080"/>
              <a:gd name="connsiteX155" fmla="*/ 2743200 w 3505200"/>
              <a:gd name="connsiteY155" fmla="*/ 3149600 h 8260080"/>
              <a:gd name="connsiteX156" fmla="*/ 2844800 w 3505200"/>
              <a:gd name="connsiteY156" fmla="*/ 3088640 h 8260080"/>
              <a:gd name="connsiteX157" fmla="*/ 2804160 w 3505200"/>
              <a:gd name="connsiteY157" fmla="*/ 2966720 h 8260080"/>
              <a:gd name="connsiteX158" fmla="*/ 2976880 w 3505200"/>
              <a:gd name="connsiteY158" fmla="*/ 2763520 h 8260080"/>
              <a:gd name="connsiteX159" fmla="*/ 2794000 w 3505200"/>
              <a:gd name="connsiteY159" fmla="*/ 2621280 h 8260080"/>
              <a:gd name="connsiteX160" fmla="*/ 2946400 w 3505200"/>
              <a:gd name="connsiteY160" fmla="*/ 2377440 h 8260080"/>
              <a:gd name="connsiteX161" fmla="*/ 2854960 w 3505200"/>
              <a:gd name="connsiteY161" fmla="*/ 2255520 h 8260080"/>
              <a:gd name="connsiteX162" fmla="*/ 3027680 w 3505200"/>
              <a:gd name="connsiteY162" fmla="*/ 2113280 h 8260080"/>
              <a:gd name="connsiteX163" fmla="*/ 3119120 w 3505200"/>
              <a:gd name="connsiteY163" fmla="*/ 2021840 h 8260080"/>
              <a:gd name="connsiteX164" fmla="*/ 3027680 w 3505200"/>
              <a:gd name="connsiteY164" fmla="*/ 1960880 h 8260080"/>
              <a:gd name="connsiteX165" fmla="*/ 3139440 w 3505200"/>
              <a:gd name="connsiteY165" fmla="*/ 1869440 h 8260080"/>
              <a:gd name="connsiteX166" fmla="*/ 3281680 w 3505200"/>
              <a:gd name="connsiteY166" fmla="*/ 1950720 h 8260080"/>
              <a:gd name="connsiteX167" fmla="*/ 3403600 w 3505200"/>
              <a:gd name="connsiteY167" fmla="*/ 1889760 h 8260080"/>
              <a:gd name="connsiteX168" fmla="*/ 3505200 w 3505200"/>
              <a:gd name="connsiteY168" fmla="*/ 1910080 h 8260080"/>
              <a:gd name="connsiteX169" fmla="*/ 3444240 w 3505200"/>
              <a:gd name="connsiteY169" fmla="*/ 1656080 h 8260080"/>
              <a:gd name="connsiteX170" fmla="*/ 3373120 w 3505200"/>
              <a:gd name="connsiteY170" fmla="*/ 1635760 h 8260080"/>
              <a:gd name="connsiteX171" fmla="*/ 3352800 w 3505200"/>
              <a:gd name="connsiteY171" fmla="*/ 1503680 h 8260080"/>
              <a:gd name="connsiteX172" fmla="*/ 3444240 w 3505200"/>
              <a:gd name="connsiteY172" fmla="*/ 1412240 h 8260080"/>
              <a:gd name="connsiteX173" fmla="*/ 3393440 w 3505200"/>
              <a:gd name="connsiteY173" fmla="*/ 1280160 h 8260080"/>
              <a:gd name="connsiteX174" fmla="*/ 3434080 w 3505200"/>
              <a:gd name="connsiteY174" fmla="*/ 1249680 h 8260080"/>
              <a:gd name="connsiteX175" fmla="*/ 3281680 w 3505200"/>
              <a:gd name="connsiteY175" fmla="*/ 1066800 h 8260080"/>
              <a:gd name="connsiteX176" fmla="*/ 3383280 w 3505200"/>
              <a:gd name="connsiteY176" fmla="*/ 975360 h 8260080"/>
              <a:gd name="connsiteX177" fmla="*/ 3302000 w 3505200"/>
              <a:gd name="connsiteY177" fmla="*/ 924560 h 8260080"/>
              <a:gd name="connsiteX178" fmla="*/ 3190240 w 3505200"/>
              <a:gd name="connsiteY178" fmla="*/ 944880 h 8260080"/>
              <a:gd name="connsiteX179" fmla="*/ 3281680 w 3505200"/>
              <a:gd name="connsiteY179" fmla="*/ 792480 h 8260080"/>
              <a:gd name="connsiteX180" fmla="*/ 3210560 w 3505200"/>
              <a:gd name="connsiteY180" fmla="*/ 650240 h 8260080"/>
              <a:gd name="connsiteX181" fmla="*/ 3302000 w 3505200"/>
              <a:gd name="connsiteY181" fmla="*/ 568960 h 8260080"/>
              <a:gd name="connsiteX182" fmla="*/ 3190240 w 3505200"/>
              <a:gd name="connsiteY182" fmla="*/ 487680 h 8260080"/>
              <a:gd name="connsiteX183" fmla="*/ 3108960 w 3505200"/>
              <a:gd name="connsiteY183" fmla="*/ 528320 h 8260080"/>
              <a:gd name="connsiteX184" fmla="*/ 3108960 w 3505200"/>
              <a:gd name="connsiteY184" fmla="*/ 406400 h 8260080"/>
              <a:gd name="connsiteX185" fmla="*/ 2926080 w 3505200"/>
              <a:gd name="connsiteY185" fmla="*/ 314960 h 8260080"/>
              <a:gd name="connsiteX186" fmla="*/ 2834640 w 3505200"/>
              <a:gd name="connsiteY186" fmla="*/ 355600 h 8260080"/>
              <a:gd name="connsiteX187" fmla="*/ 2682240 w 3505200"/>
              <a:gd name="connsiteY187" fmla="*/ 111760 h 8260080"/>
              <a:gd name="connsiteX188" fmla="*/ 2590800 w 3505200"/>
              <a:gd name="connsiteY188" fmla="*/ 121920 h 8260080"/>
              <a:gd name="connsiteX189" fmla="*/ 2611120 w 3505200"/>
              <a:gd name="connsiteY189" fmla="*/ 0 h 8260080"/>
              <a:gd name="connsiteX190" fmla="*/ 2438400 w 3505200"/>
              <a:gd name="connsiteY19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152400 w 3505200"/>
              <a:gd name="connsiteY70" fmla="*/ 6776720 h 8260080"/>
              <a:gd name="connsiteX71" fmla="*/ 233680 w 3505200"/>
              <a:gd name="connsiteY71" fmla="*/ 6959600 h 8260080"/>
              <a:gd name="connsiteX72" fmla="*/ 304800 w 3505200"/>
              <a:gd name="connsiteY72" fmla="*/ 7020560 h 8260080"/>
              <a:gd name="connsiteX73" fmla="*/ 264160 w 3505200"/>
              <a:gd name="connsiteY73" fmla="*/ 7122160 h 8260080"/>
              <a:gd name="connsiteX74" fmla="*/ 335280 w 3505200"/>
              <a:gd name="connsiteY74" fmla="*/ 7193280 h 8260080"/>
              <a:gd name="connsiteX75" fmla="*/ 325120 w 3505200"/>
              <a:gd name="connsiteY75" fmla="*/ 7254240 h 8260080"/>
              <a:gd name="connsiteX76" fmla="*/ 325120 w 3505200"/>
              <a:gd name="connsiteY76" fmla="*/ 7254240 h 8260080"/>
              <a:gd name="connsiteX77" fmla="*/ 325120 w 3505200"/>
              <a:gd name="connsiteY77" fmla="*/ 7355840 h 8260080"/>
              <a:gd name="connsiteX78" fmla="*/ 447040 w 3505200"/>
              <a:gd name="connsiteY78" fmla="*/ 7366000 h 8260080"/>
              <a:gd name="connsiteX79" fmla="*/ 447040 w 3505200"/>
              <a:gd name="connsiteY79" fmla="*/ 7477760 h 8260080"/>
              <a:gd name="connsiteX80" fmla="*/ 558800 w 3505200"/>
              <a:gd name="connsiteY80" fmla="*/ 7528560 h 8260080"/>
              <a:gd name="connsiteX81" fmla="*/ 508000 w 3505200"/>
              <a:gd name="connsiteY81" fmla="*/ 7630160 h 8260080"/>
              <a:gd name="connsiteX82" fmla="*/ 436880 w 3505200"/>
              <a:gd name="connsiteY82" fmla="*/ 7609840 h 8260080"/>
              <a:gd name="connsiteX83" fmla="*/ 447040 w 3505200"/>
              <a:gd name="connsiteY83" fmla="*/ 7691120 h 8260080"/>
              <a:gd name="connsiteX84" fmla="*/ 518160 w 3505200"/>
              <a:gd name="connsiteY84" fmla="*/ 7741920 h 8260080"/>
              <a:gd name="connsiteX85" fmla="*/ 457200 w 3505200"/>
              <a:gd name="connsiteY85" fmla="*/ 7792720 h 8260080"/>
              <a:gd name="connsiteX86" fmla="*/ 396240 w 3505200"/>
              <a:gd name="connsiteY86" fmla="*/ 7701280 h 8260080"/>
              <a:gd name="connsiteX87" fmla="*/ 396240 w 3505200"/>
              <a:gd name="connsiteY87" fmla="*/ 7701280 h 8260080"/>
              <a:gd name="connsiteX88" fmla="*/ 436880 w 3505200"/>
              <a:gd name="connsiteY88" fmla="*/ 7874000 h 8260080"/>
              <a:gd name="connsiteX89" fmla="*/ 436880 w 3505200"/>
              <a:gd name="connsiteY89" fmla="*/ 7924800 h 8260080"/>
              <a:gd name="connsiteX90" fmla="*/ 548640 w 3505200"/>
              <a:gd name="connsiteY90" fmla="*/ 7965440 h 8260080"/>
              <a:gd name="connsiteX91" fmla="*/ 508000 w 3505200"/>
              <a:gd name="connsiteY91" fmla="*/ 8016240 h 8260080"/>
              <a:gd name="connsiteX92" fmla="*/ 589280 w 3505200"/>
              <a:gd name="connsiteY92" fmla="*/ 8056880 h 8260080"/>
              <a:gd name="connsiteX93" fmla="*/ 497840 w 3505200"/>
              <a:gd name="connsiteY93" fmla="*/ 8117840 h 8260080"/>
              <a:gd name="connsiteX94" fmla="*/ 518160 w 3505200"/>
              <a:gd name="connsiteY94" fmla="*/ 8209280 h 8260080"/>
              <a:gd name="connsiteX95" fmla="*/ 640080 w 3505200"/>
              <a:gd name="connsiteY95" fmla="*/ 8260080 h 8260080"/>
              <a:gd name="connsiteX96" fmla="*/ 731520 w 3505200"/>
              <a:gd name="connsiteY96" fmla="*/ 8219440 h 8260080"/>
              <a:gd name="connsiteX97" fmla="*/ 853440 w 3505200"/>
              <a:gd name="connsiteY97" fmla="*/ 8209280 h 8260080"/>
              <a:gd name="connsiteX98" fmla="*/ 955040 w 3505200"/>
              <a:gd name="connsiteY98" fmla="*/ 8260080 h 8260080"/>
              <a:gd name="connsiteX99" fmla="*/ 965200 w 3505200"/>
              <a:gd name="connsiteY99" fmla="*/ 8107680 h 8260080"/>
              <a:gd name="connsiteX100" fmla="*/ 894080 w 3505200"/>
              <a:gd name="connsiteY100" fmla="*/ 8026400 h 8260080"/>
              <a:gd name="connsiteX101" fmla="*/ 1016000 w 3505200"/>
              <a:gd name="connsiteY101" fmla="*/ 7863840 h 8260080"/>
              <a:gd name="connsiteX102" fmla="*/ 1107440 w 3505200"/>
              <a:gd name="connsiteY102" fmla="*/ 7894320 h 8260080"/>
              <a:gd name="connsiteX103" fmla="*/ 1127760 w 3505200"/>
              <a:gd name="connsiteY103" fmla="*/ 7853680 h 8260080"/>
              <a:gd name="connsiteX104" fmla="*/ 1066800 w 3505200"/>
              <a:gd name="connsiteY104" fmla="*/ 7813040 h 8260080"/>
              <a:gd name="connsiteX105" fmla="*/ 1137920 w 3505200"/>
              <a:gd name="connsiteY105" fmla="*/ 7762240 h 8260080"/>
              <a:gd name="connsiteX106" fmla="*/ 1330960 w 3505200"/>
              <a:gd name="connsiteY106" fmla="*/ 7802880 h 8260080"/>
              <a:gd name="connsiteX107" fmla="*/ 1361440 w 3505200"/>
              <a:gd name="connsiteY107" fmla="*/ 7772400 h 8260080"/>
              <a:gd name="connsiteX108" fmla="*/ 1483360 w 3505200"/>
              <a:gd name="connsiteY108" fmla="*/ 7823200 h 8260080"/>
              <a:gd name="connsiteX109" fmla="*/ 1554480 w 3505200"/>
              <a:gd name="connsiteY109" fmla="*/ 7731760 h 8260080"/>
              <a:gd name="connsiteX110" fmla="*/ 1524000 w 3505200"/>
              <a:gd name="connsiteY110" fmla="*/ 7640320 h 8260080"/>
              <a:gd name="connsiteX111" fmla="*/ 1645920 w 3505200"/>
              <a:gd name="connsiteY111" fmla="*/ 7437120 h 8260080"/>
              <a:gd name="connsiteX112" fmla="*/ 1635760 w 3505200"/>
              <a:gd name="connsiteY112" fmla="*/ 7335520 h 8260080"/>
              <a:gd name="connsiteX113" fmla="*/ 1696720 w 3505200"/>
              <a:gd name="connsiteY113" fmla="*/ 7223760 h 8260080"/>
              <a:gd name="connsiteX114" fmla="*/ 1625600 w 3505200"/>
              <a:gd name="connsiteY114" fmla="*/ 7172960 h 8260080"/>
              <a:gd name="connsiteX115" fmla="*/ 1747520 w 3505200"/>
              <a:gd name="connsiteY115" fmla="*/ 6990080 h 8260080"/>
              <a:gd name="connsiteX116" fmla="*/ 1666240 w 3505200"/>
              <a:gd name="connsiteY116" fmla="*/ 6939280 h 8260080"/>
              <a:gd name="connsiteX117" fmla="*/ 1737360 w 3505200"/>
              <a:gd name="connsiteY117" fmla="*/ 6888480 h 8260080"/>
              <a:gd name="connsiteX118" fmla="*/ 1645920 w 3505200"/>
              <a:gd name="connsiteY118" fmla="*/ 6776720 h 8260080"/>
              <a:gd name="connsiteX119" fmla="*/ 1808480 w 3505200"/>
              <a:gd name="connsiteY119" fmla="*/ 6715760 h 8260080"/>
              <a:gd name="connsiteX120" fmla="*/ 1727200 w 3505200"/>
              <a:gd name="connsiteY120" fmla="*/ 6614160 h 8260080"/>
              <a:gd name="connsiteX121" fmla="*/ 1686560 w 3505200"/>
              <a:gd name="connsiteY121" fmla="*/ 6421120 h 8260080"/>
              <a:gd name="connsiteX122" fmla="*/ 1889760 w 3505200"/>
              <a:gd name="connsiteY122" fmla="*/ 6299200 h 8260080"/>
              <a:gd name="connsiteX123" fmla="*/ 1940560 w 3505200"/>
              <a:gd name="connsiteY123" fmla="*/ 6228080 h 8260080"/>
              <a:gd name="connsiteX124" fmla="*/ 2032000 w 3505200"/>
              <a:gd name="connsiteY124" fmla="*/ 6136640 h 8260080"/>
              <a:gd name="connsiteX125" fmla="*/ 2011680 w 3505200"/>
              <a:gd name="connsiteY125" fmla="*/ 6014720 h 8260080"/>
              <a:gd name="connsiteX126" fmla="*/ 2123440 w 3505200"/>
              <a:gd name="connsiteY126" fmla="*/ 6065520 h 8260080"/>
              <a:gd name="connsiteX127" fmla="*/ 2092960 w 3505200"/>
              <a:gd name="connsiteY127" fmla="*/ 6167120 h 8260080"/>
              <a:gd name="connsiteX128" fmla="*/ 2286000 w 3505200"/>
              <a:gd name="connsiteY128" fmla="*/ 5933440 h 8260080"/>
              <a:gd name="connsiteX129" fmla="*/ 2255520 w 3505200"/>
              <a:gd name="connsiteY129" fmla="*/ 5801360 h 8260080"/>
              <a:gd name="connsiteX130" fmla="*/ 2448560 w 3505200"/>
              <a:gd name="connsiteY130" fmla="*/ 5598160 h 8260080"/>
              <a:gd name="connsiteX131" fmla="*/ 2357120 w 3505200"/>
              <a:gd name="connsiteY131" fmla="*/ 5435600 h 8260080"/>
              <a:gd name="connsiteX132" fmla="*/ 2225040 w 3505200"/>
              <a:gd name="connsiteY132" fmla="*/ 5415280 h 8260080"/>
              <a:gd name="connsiteX133" fmla="*/ 2103120 w 3505200"/>
              <a:gd name="connsiteY133" fmla="*/ 5222240 h 8260080"/>
              <a:gd name="connsiteX134" fmla="*/ 2092960 w 3505200"/>
              <a:gd name="connsiteY134" fmla="*/ 5110480 h 8260080"/>
              <a:gd name="connsiteX135" fmla="*/ 2052320 w 3505200"/>
              <a:gd name="connsiteY135" fmla="*/ 5151120 h 8260080"/>
              <a:gd name="connsiteX136" fmla="*/ 2042160 w 3505200"/>
              <a:gd name="connsiteY136" fmla="*/ 5242560 h 8260080"/>
              <a:gd name="connsiteX137" fmla="*/ 1981200 w 3505200"/>
              <a:gd name="connsiteY137" fmla="*/ 5191760 h 8260080"/>
              <a:gd name="connsiteX138" fmla="*/ 2011680 w 3505200"/>
              <a:gd name="connsiteY138" fmla="*/ 5120640 h 8260080"/>
              <a:gd name="connsiteX139" fmla="*/ 1930400 w 3505200"/>
              <a:gd name="connsiteY139" fmla="*/ 5100320 h 8260080"/>
              <a:gd name="connsiteX140" fmla="*/ 1859280 w 3505200"/>
              <a:gd name="connsiteY140" fmla="*/ 4917440 h 8260080"/>
              <a:gd name="connsiteX141" fmla="*/ 1828800 w 3505200"/>
              <a:gd name="connsiteY141" fmla="*/ 4622800 h 8260080"/>
              <a:gd name="connsiteX142" fmla="*/ 1910080 w 3505200"/>
              <a:gd name="connsiteY142" fmla="*/ 4419600 h 8260080"/>
              <a:gd name="connsiteX143" fmla="*/ 1920240 w 3505200"/>
              <a:gd name="connsiteY143" fmla="*/ 4277360 h 8260080"/>
              <a:gd name="connsiteX144" fmla="*/ 1971040 w 3505200"/>
              <a:gd name="connsiteY144" fmla="*/ 4124960 h 8260080"/>
              <a:gd name="connsiteX145" fmla="*/ 1879600 w 3505200"/>
              <a:gd name="connsiteY145" fmla="*/ 4023360 h 8260080"/>
              <a:gd name="connsiteX146" fmla="*/ 2072640 w 3505200"/>
              <a:gd name="connsiteY146" fmla="*/ 4003040 h 8260080"/>
              <a:gd name="connsiteX147" fmla="*/ 2092960 w 3505200"/>
              <a:gd name="connsiteY147" fmla="*/ 3850640 h 8260080"/>
              <a:gd name="connsiteX148" fmla="*/ 2001520 w 3505200"/>
              <a:gd name="connsiteY148" fmla="*/ 3728720 h 8260080"/>
              <a:gd name="connsiteX149" fmla="*/ 2164080 w 3505200"/>
              <a:gd name="connsiteY149" fmla="*/ 3769360 h 8260080"/>
              <a:gd name="connsiteX150" fmla="*/ 2265680 w 3505200"/>
              <a:gd name="connsiteY150" fmla="*/ 3566160 h 8260080"/>
              <a:gd name="connsiteX151" fmla="*/ 2336800 w 3505200"/>
              <a:gd name="connsiteY151" fmla="*/ 3515360 h 8260080"/>
              <a:gd name="connsiteX152" fmla="*/ 2367280 w 3505200"/>
              <a:gd name="connsiteY152" fmla="*/ 3362960 h 8260080"/>
              <a:gd name="connsiteX153" fmla="*/ 2489200 w 3505200"/>
              <a:gd name="connsiteY153" fmla="*/ 3423920 h 8260080"/>
              <a:gd name="connsiteX154" fmla="*/ 2560320 w 3505200"/>
              <a:gd name="connsiteY154" fmla="*/ 3302000 h 8260080"/>
              <a:gd name="connsiteX155" fmla="*/ 2743200 w 3505200"/>
              <a:gd name="connsiteY155" fmla="*/ 3149600 h 8260080"/>
              <a:gd name="connsiteX156" fmla="*/ 2844800 w 3505200"/>
              <a:gd name="connsiteY156" fmla="*/ 3088640 h 8260080"/>
              <a:gd name="connsiteX157" fmla="*/ 2804160 w 3505200"/>
              <a:gd name="connsiteY157" fmla="*/ 2966720 h 8260080"/>
              <a:gd name="connsiteX158" fmla="*/ 2976880 w 3505200"/>
              <a:gd name="connsiteY158" fmla="*/ 2763520 h 8260080"/>
              <a:gd name="connsiteX159" fmla="*/ 2794000 w 3505200"/>
              <a:gd name="connsiteY159" fmla="*/ 2621280 h 8260080"/>
              <a:gd name="connsiteX160" fmla="*/ 2946400 w 3505200"/>
              <a:gd name="connsiteY160" fmla="*/ 2377440 h 8260080"/>
              <a:gd name="connsiteX161" fmla="*/ 2854960 w 3505200"/>
              <a:gd name="connsiteY161" fmla="*/ 2255520 h 8260080"/>
              <a:gd name="connsiteX162" fmla="*/ 3027680 w 3505200"/>
              <a:gd name="connsiteY162" fmla="*/ 2113280 h 8260080"/>
              <a:gd name="connsiteX163" fmla="*/ 3119120 w 3505200"/>
              <a:gd name="connsiteY163" fmla="*/ 2021840 h 8260080"/>
              <a:gd name="connsiteX164" fmla="*/ 3027680 w 3505200"/>
              <a:gd name="connsiteY164" fmla="*/ 1960880 h 8260080"/>
              <a:gd name="connsiteX165" fmla="*/ 3139440 w 3505200"/>
              <a:gd name="connsiteY165" fmla="*/ 1869440 h 8260080"/>
              <a:gd name="connsiteX166" fmla="*/ 3281680 w 3505200"/>
              <a:gd name="connsiteY166" fmla="*/ 1950720 h 8260080"/>
              <a:gd name="connsiteX167" fmla="*/ 3403600 w 3505200"/>
              <a:gd name="connsiteY167" fmla="*/ 1889760 h 8260080"/>
              <a:gd name="connsiteX168" fmla="*/ 3505200 w 3505200"/>
              <a:gd name="connsiteY168" fmla="*/ 1910080 h 8260080"/>
              <a:gd name="connsiteX169" fmla="*/ 3444240 w 3505200"/>
              <a:gd name="connsiteY169" fmla="*/ 1656080 h 8260080"/>
              <a:gd name="connsiteX170" fmla="*/ 3373120 w 3505200"/>
              <a:gd name="connsiteY170" fmla="*/ 1635760 h 8260080"/>
              <a:gd name="connsiteX171" fmla="*/ 3352800 w 3505200"/>
              <a:gd name="connsiteY171" fmla="*/ 1503680 h 8260080"/>
              <a:gd name="connsiteX172" fmla="*/ 3444240 w 3505200"/>
              <a:gd name="connsiteY172" fmla="*/ 1412240 h 8260080"/>
              <a:gd name="connsiteX173" fmla="*/ 3393440 w 3505200"/>
              <a:gd name="connsiteY173" fmla="*/ 1280160 h 8260080"/>
              <a:gd name="connsiteX174" fmla="*/ 3434080 w 3505200"/>
              <a:gd name="connsiteY174" fmla="*/ 1249680 h 8260080"/>
              <a:gd name="connsiteX175" fmla="*/ 3281680 w 3505200"/>
              <a:gd name="connsiteY175" fmla="*/ 1066800 h 8260080"/>
              <a:gd name="connsiteX176" fmla="*/ 3383280 w 3505200"/>
              <a:gd name="connsiteY176" fmla="*/ 975360 h 8260080"/>
              <a:gd name="connsiteX177" fmla="*/ 3302000 w 3505200"/>
              <a:gd name="connsiteY177" fmla="*/ 924560 h 8260080"/>
              <a:gd name="connsiteX178" fmla="*/ 3190240 w 3505200"/>
              <a:gd name="connsiteY178" fmla="*/ 944880 h 8260080"/>
              <a:gd name="connsiteX179" fmla="*/ 3281680 w 3505200"/>
              <a:gd name="connsiteY179" fmla="*/ 792480 h 8260080"/>
              <a:gd name="connsiteX180" fmla="*/ 3210560 w 3505200"/>
              <a:gd name="connsiteY180" fmla="*/ 650240 h 8260080"/>
              <a:gd name="connsiteX181" fmla="*/ 3302000 w 3505200"/>
              <a:gd name="connsiteY181" fmla="*/ 568960 h 8260080"/>
              <a:gd name="connsiteX182" fmla="*/ 3190240 w 3505200"/>
              <a:gd name="connsiteY182" fmla="*/ 487680 h 8260080"/>
              <a:gd name="connsiteX183" fmla="*/ 3108960 w 3505200"/>
              <a:gd name="connsiteY183" fmla="*/ 528320 h 8260080"/>
              <a:gd name="connsiteX184" fmla="*/ 3108960 w 3505200"/>
              <a:gd name="connsiteY184" fmla="*/ 406400 h 8260080"/>
              <a:gd name="connsiteX185" fmla="*/ 2926080 w 3505200"/>
              <a:gd name="connsiteY185" fmla="*/ 314960 h 8260080"/>
              <a:gd name="connsiteX186" fmla="*/ 2834640 w 3505200"/>
              <a:gd name="connsiteY186" fmla="*/ 355600 h 8260080"/>
              <a:gd name="connsiteX187" fmla="*/ 2682240 w 3505200"/>
              <a:gd name="connsiteY187" fmla="*/ 111760 h 8260080"/>
              <a:gd name="connsiteX188" fmla="*/ 2590800 w 3505200"/>
              <a:gd name="connsiteY188" fmla="*/ 121920 h 8260080"/>
              <a:gd name="connsiteX189" fmla="*/ 2611120 w 3505200"/>
              <a:gd name="connsiteY189" fmla="*/ 0 h 8260080"/>
              <a:gd name="connsiteX190" fmla="*/ 2438400 w 3505200"/>
              <a:gd name="connsiteY19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152400 w 3505200"/>
              <a:gd name="connsiteY70" fmla="*/ 6776720 h 8260080"/>
              <a:gd name="connsiteX71" fmla="*/ 233680 w 3505200"/>
              <a:gd name="connsiteY71" fmla="*/ 6959600 h 8260080"/>
              <a:gd name="connsiteX72" fmla="*/ 304800 w 3505200"/>
              <a:gd name="connsiteY72" fmla="*/ 7020560 h 8260080"/>
              <a:gd name="connsiteX73" fmla="*/ 264160 w 3505200"/>
              <a:gd name="connsiteY73" fmla="*/ 7122160 h 8260080"/>
              <a:gd name="connsiteX74" fmla="*/ 335280 w 3505200"/>
              <a:gd name="connsiteY74" fmla="*/ 7193280 h 8260080"/>
              <a:gd name="connsiteX75" fmla="*/ 325120 w 3505200"/>
              <a:gd name="connsiteY75" fmla="*/ 7254240 h 8260080"/>
              <a:gd name="connsiteX76" fmla="*/ 325120 w 3505200"/>
              <a:gd name="connsiteY76" fmla="*/ 7254240 h 8260080"/>
              <a:gd name="connsiteX77" fmla="*/ 325120 w 3505200"/>
              <a:gd name="connsiteY77" fmla="*/ 7355840 h 8260080"/>
              <a:gd name="connsiteX78" fmla="*/ 447040 w 3505200"/>
              <a:gd name="connsiteY78" fmla="*/ 7366000 h 8260080"/>
              <a:gd name="connsiteX79" fmla="*/ 447040 w 3505200"/>
              <a:gd name="connsiteY79" fmla="*/ 7477760 h 8260080"/>
              <a:gd name="connsiteX80" fmla="*/ 558800 w 3505200"/>
              <a:gd name="connsiteY80" fmla="*/ 7528560 h 8260080"/>
              <a:gd name="connsiteX81" fmla="*/ 508000 w 3505200"/>
              <a:gd name="connsiteY81" fmla="*/ 7630160 h 8260080"/>
              <a:gd name="connsiteX82" fmla="*/ 436880 w 3505200"/>
              <a:gd name="connsiteY82" fmla="*/ 7609840 h 8260080"/>
              <a:gd name="connsiteX83" fmla="*/ 447040 w 3505200"/>
              <a:gd name="connsiteY83" fmla="*/ 7691120 h 8260080"/>
              <a:gd name="connsiteX84" fmla="*/ 518160 w 3505200"/>
              <a:gd name="connsiteY84" fmla="*/ 7741920 h 8260080"/>
              <a:gd name="connsiteX85" fmla="*/ 457200 w 3505200"/>
              <a:gd name="connsiteY85" fmla="*/ 7792720 h 8260080"/>
              <a:gd name="connsiteX86" fmla="*/ 396240 w 3505200"/>
              <a:gd name="connsiteY86" fmla="*/ 7701280 h 8260080"/>
              <a:gd name="connsiteX87" fmla="*/ 396240 w 3505200"/>
              <a:gd name="connsiteY87" fmla="*/ 7701280 h 8260080"/>
              <a:gd name="connsiteX88" fmla="*/ 436880 w 3505200"/>
              <a:gd name="connsiteY88" fmla="*/ 7874000 h 8260080"/>
              <a:gd name="connsiteX89" fmla="*/ 436880 w 3505200"/>
              <a:gd name="connsiteY89" fmla="*/ 7924800 h 8260080"/>
              <a:gd name="connsiteX90" fmla="*/ 548640 w 3505200"/>
              <a:gd name="connsiteY90" fmla="*/ 7965440 h 8260080"/>
              <a:gd name="connsiteX91" fmla="*/ 508000 w 3505200"/>
              <a:gd name="connsiteY91" fmla="*/ 8016240 h 8260080"/>
              <a:gd name="connsiteX92" fmla="*/ 589280 w 3505200"/>
              <a:gd name="connsiteY92" fmla="*/ 8056880 h 8260080"/>
              <a:gd name="connsiteX93" fmla="*/ 497840 w 3505200"/>
              <a:gd name="connsiteY93" fmla="*/ 8117840 h 8260080"/>
              <a:gd name="connsiteX94" fmla="*/ 518160 w 3505200"/>
              <a:gd name="connsiteY94" fmla="*/ 8209280 h 8260080"/>
              <a:gd name="connsiteX95" fmla="*/ 640080 w 3505200"/>
              <a:gd name="connsiteY95" fmla="*/ 8260080 h 8260080"/>
              <a:gd name="connsiteX96" fmla="*/ 731520 w 3505200"/>
              <a:gd name="connsiteY96" fmla="*/ 8219440 h 8260080"/>
              <a:gd name="connsiteX97" fmla="*/ 853440 w 3505200"/>
              <a:gd name="connsiteY97" fmla="*/ 8209280 h 8260080"/>
              <a:gd name="connsiteX98" fmla="*/ 955040 w 3505200"/>
              <a:gd name="connsiteY98" fmla="*/ 8260080 h 8260080"/>
              <a:gd name="connsiteX99" fmla="*/ 965200 w 3505200"/>
              <a:gd name="connsiteY99" fmla="*/ 8107680 h 8260080"/>
              <a:gd name="connsiteX100" fmla="*/ 894080 w 3505200"/>
              <a:gd name="connsiteY100" fmla="*/ 8026400 h 8260080"/>
              <a:gd name="connsiteX101" fmla="*/ 1016000 w 3505200"/>
              <a:gd name="connsiteY101" fmla="*/ 7863840 h 8260080"/>
              <a:gd name="connsiteX102" fmla="*/ 1107440 w 3505200"/>
              <a:gd name="connsiteY102" fmla="*/ 7894320 h 8260080"/>
              <a:gd name="connsiteX103" fmla="*/ 1127760 w 3505200"/>
              <a:gd name="connsiteY103" fmla="*/ 7853680 h 8260080"/>
              <a:gd name="connsiteX104" fmla="*/ 1066800 w 3505200"/>
              <a:gd name="connsiteY104" fmla="*/ 7813040 h 8260080"/>
              <a:gd name="connsiteX105" fmla="*/ 1137920 w 3505200"/>
              <a:gd name="connsiteY105" fmla="*/ 7762240 h 8260080"/>
              <a:gd name="connsiteX106" fmla="*/ 1330960 w 3505200"/>
              <a:gd name="connsiteY106" fmla="*/ 7802880 h 8260080"/>
              <a:gd name="connsiteX107" fmla="*/ 1361440 w 3505200"/>
              <a:gd name="connsiteY107" fmla="*/ 7772400 h 8260080"/>
              <a:gd name="connsiteX108" fmla="*/ 1483360 w 3505200"/>
              <a:gd name="connsiteY108" fmla="*/ 7823200 h 8260080"/>
              <a:gd name="connsiteX109" fmla="*/ 1554480 w 3505200"/>
              <a:gd name="connsiteY109" fmla="*/ 7731760 h 8260080"/>
              <a:gd name="connsiteX110" fmla="*/ 1524000 w 3505200"/>
              <a:gd name="connsiteY110" fmla="*/ 7640320 h 8260080"/>
              <a:gd name="connsiteX111" fmla="*/ 1645920 w 3505200"/>
              <a:gd name="connsiteY111" fmla="*/ 7437120 h 8260080"/>
              <a:gd name="connsiteX112" fmla="*/ 1635760 w 3505200"/>
              <a:gd name="connsiteY112" fmla="*/ 7335520 h 8260080"/>
              <a:gd name="connsiteX113" fmla="*/ 1696720 w 3505200"/>
              <a:gd name="connsiteY113" fmla="*/ 7223760 h 8260080"/>
              <a:gd name="connsiteX114" fmla="*/ 1625600 w 3505200"/>
              <a:gd name="connsiteY114" fmla="*/ 7172960 h 8260080"/>
              <a:gd name="connsiteX115" fmla="*/ 1747520 w 3505200"/>
              <a:gd name="connsiteY115" fmla="*/ 6990080 h 8260080"/>
              <a:gd name="connsiteX116" fmla="*/ 1666240 w 3505200"/>
              <a:gd name="connsiteY116" fmla="*/ 6939280 h 8260080"/>
              <a:gd name="connsiteX117" fmla="*/ 1737360 w 3505200"/>
              <a:gd name="connsiteY117" fmla="*/ 6888480 h 8260080"/>
              <a:gd name="connsiteX118" fmla="*/ 1645920 w 3505200"/>
              <a:gd name="connsiteY118" fmla="*/ 6776720 h 8260080"/>
              <a:gd name="connsiteX119" fmla="*/ 1808480 w 3505200"/>
              <a:gd name="connsiteY119" fmla="*/ 6715760 h 8260080"/>
              <a:gd name="connsiteX120" fmla="*/ 1727200 w 3505200"/>
              <a:gd name="connsiteY120" fmla="*/ 6614160 h 8260080"/>
              <a:gd name="connsiteX121" fmla="*/ 1686560 w 3505200"/>
              <a:gd name="connsiteY121" fmla="*/ 6421120 h 8260080"/>
              <a:gd name="connsiteX122" fmla="*/ 1889760 w 3505200"/>
              <a:gd name="connsiteY122" fmla="*/ 6299200 h 8260080"/>
              <a:gd name="connsiteX123" fmla="*/ 1940560 w 3505200"/>
              <a:gd name="connsiteY123" fmla="*/ 6228080 h 8260080"/>
              <a:gd name="connsiteX124" fmla="*/ 2032000 w 3505200"/>
              <a:gd name="connsiteY124" fmla="*/ 6136640 h 8260080"/>
              <a:gd name="connsiteX125" fmla="*/ 2011680 w 3505200"/>
              <a:gd name="connsiteY125" fmla="*/ 6014720 h 8260080"/>
              <a:gd name="connsiteX126" fmla="*/ 2123440 w 3505200"/>
              <a:gd name="connsiteY126" fmla="*/ 6065520 h 8260080"/>
              <a:gd name="connsiteX127" fmla="*/ 2092960 w 3505200"/>
              <a:gd name="connsiteY127" fmla="*/ 6167120 h 8260080"/>
              <a:gd name="connsiteX128" fmla="*/ 2286000 w 3505200"/>
              <a:gd name="connsiteY128" fmla="*/ 5933440 h 8260080"/>
              <a:gd name="connsiteX129" fmla="*/ 2255520 w 3505200"/>
              <a:gd name="connsiteY129" fmla="*/ 5801360 h 8260080"/>
              <a:gd name="connsiteX130" fmla="*/ 2448560 w 3505200"/>
              <a:gd name="connsiteY130" fmla="*/ 5598160 h 8260080"/>
              <a:gd name="connsiteX131" fmla="*/ 2357120 w 3505200"/>
              <a:gd name="connsiteY131" fmla="*/ 5435600 h 8260080"/>
              <a:gd name="connsiteX132" fmla="*/ 2225040 w 3505200"/>
              <a:gd name="connsiteY132" fmla="*/ 5415280 h 8260080"/>
              <a:gd name="connsiteX133" fmla="*/ 2103120 w 3505200"/>
              <a:gd name="connsiteY133" fmla="*/ 5222240 h 8260080"/>
              <a:gd name="connsiteX134" fmla="*/ 2092960 w 3505200"/>
              <a:gd name="connsiteY134" fmla="*/ 5110480 h 8260080"/>
              <a:gd name="connsiteX135" fmla="*/ 2052320 w 3505200"/>
              <a:gd name="connsiteY135" fmla="*/ 5151120 h 8260080"/>
              <a:gd name="connsiteX136" fmla="*/ 2042160 w 3505200"/>
              <a:gd name="connsiteY136" fmla="*/ 5242560 h 8260080"/>
              <a:gd name="connsiteX137" fmla="*/ 1981200 w 3505200"/>
              <a:gd name="connsiteY137" fmla="*/ 5191760 h 8260080"/>
              <a:gd name="connsiteX138" fmla="*/ 2011680 w 3505200"/>
              <a:gd name="connsiteY138" fmla="*/ 5120640 h 8260080"/>
              <a:gd name="connsiteX139" fmla="*/ 1930400 w 3505200"/>
              <a:gd name="connsiteY139" fmla="*/ 5100320 h 8260080"/>
              <a:gd name="connsiteX140" fmla="*/ 1859280 w 3505200"/>
              <a:gd name="connsiteY140" fmla="*/ 4917440 h 8260080"/>
              <a:gd name="connsiteX141" fmla="*/ 1828800 w 3505200"/>
              <a:gd name="connsiteY141" fmla="*/ 4622800 h 8260080"/>
              <a:gd name="connsiteX142" fmla="*/ 1910080 w 3505200"/>
              <a:gd name="connsiteY142" fmla="*/ 4419600 h 8260080"/>
              <a:gd name="connsiteX143" fmla="*/ 1920240 w 3505200"/>
              <a:gd name="connsiteY143" fmla="*/ 4277360 h 8260080"/>
              <a:gd name="connsiteX144" fmla="*/ 1971040 w 3505200"/>
              <a:gd name="connsiteY144" fmla="*/ 4124960 h 8260080"/>
              <a:gd name="connsiteX145" fmla="*/ 1879600 w 3505200"/>
              <a:gd name="connsiteY145" fmla="*/ 4023360 h 8260080"/>
              <a:gd name="connsiteX146" fmla="*/ 2072640 w 3505200"/>
              <a:gd name="connsiteY146" fmla="*/ 4003040 h 8260080"/>
              <a:gd name="connsiteX147" fmla="*/ 2092960 w 3505200"/>
              <a:gd name="connsiteY147" fmla="*/ 3850640 h 8260080"/>
              <a:gd name="connsiteX148" fmla="*/ 2001520 w 3505200"/>
              <a:gd name="connsiteY148" fmla="*/ 3728720 h 8260080"/>
              <a:gd name="connsiteX149" fmla="*/ 2164080 w 3505200"/>
              <a:gd name="connsiteY149" fmla="*/ 3769360 h 8260080"/>
              <a:gd name="connsiteX150" fmla="*/ 2265680 w 3505200"/>
              <a:gd name="connsiteY150" fmla="*/ 3566160 h 8260080"/>
              <a:gd name="connsiteX151" fmla="*/ 2336800 w 3505200"/>
              <a:gd name="connsiteY151" fmla="*/ 3515360 h 8260080"/>
              <a:gd name="connsiteX152" fmla="*/ 2367280 w 3505200"/>
              <a:gd name="connsiteY152" fmla="*/ 3362960 h 8260080"/>
              <a:gd name="connsiteX153" fmla="*/ 2489200 w 3505200"/>
              <a:gd name="connsiteY153" fmla="*/ 3423920 h 8260080"/>
              <a:gd name="connsiteX154" fmla="*/ 2560320 w 3505200"/>
              <a:gd name="connsiteY154" fmla="*/ 3302000 h 8260080"/>
              <a:gd name="connsiteX155" fmla="*/ 2743200 w 3505200"/>
              <a:gd name="connsiteY155" fmla="*/ 3149600 h 8260080"/>
              <a:gd name="connsiteX156" fmla="*/ 2844800 w 3505200"/>
              <a:gd name="connsiteY156" fmla="*/ 3088640 h 8260080"/>
              <a:gd name="connsiteX157" fmla="*/ 2804160 w 3505200"/>
              <a:gd name="connsiteY157" fmla="*/ 2966720 h 8260080"/>
              <a:gd name="connsiteX158" fmla="*/ 2976880 w 3505200"/>
              <a:gd name="connsiteY158" fmla="*/ 2763520 h 8260080"/>
              <a:gd name="connsiteX159" fmla="*/ 2794000 w 3505200"/>
              <a:gd name="connsiteY159" fmla="*/ 2621280 h 8260080"/>
              <a:gd name="connsiteX160" fmla="*/ 2946400 w 3505200"/>
              <a:gd name="connsiteY160" fmla="*/ 2377440 h 8260080"/>
              <a:gd name="connsiteX161" fmla="*/ 2854960 w 3505200"/>
              <a:gd name="connsiteY161" fmla="*/ 2255520 h 8260080"/>
              <a:gd name="connsiteX162" fmla="*/ 3027680 w 3505200"/>
              <a:gd name="connsiteY162" fmla="*/ 2113280 h 8260080"/>
              <a:gd name="connsiteX163" fmla="*/ 3119120 w 3505200"/>
              <a:gd name="connsiteY163" fmla="*/ 2021840 h 8260080"/>
              <a:gd name="connsiteX164" fmla="*/ 3027680 w 3505200"/>
              <a:gd name="connsiteY164" fmla="*/ 1960880 h 8260080"/>
              <a:gd name="connsiteX165" fmla="*/ 3139440 w 3505200"/>
              <a:gd name="connsiteY165" fmla="*/ 1869440 h 8260080"/>
              <a:gd name="connsiteX166" fmla="*/ 3281680 w 3505200"/>
              <a:gd name="connsiteY166" fmla="*/ 1950720 h 8260080"/>
              <a:gd name="connsiteX167" fmla="*/ 3403600 w 3505200"/>
              <a:gd name="connsiteY167" fmla="*/ 1889760 h 8260080"/>
              <a:gd name="connsiteX168" fmla="*/ 3505200 w 3505200"/>
              <a:gd name="connsiteY168" fmla="*/ 1910080 h 8260080"/>
              <a:gd name="connsiteX169" fmla="*/ 3444240 w 3505200"/>
              <a:gd name="connsiteY169" fmla="*/ 1656080 h 8260080"/>
              <a:gd name="connsiteX170" fmla="*/ 3373120 w 3505200"/>
              <a:gd name="connsiteY170" fmla="*/ 1635760 h 8260080"/>
              <a:gd name="connsiteX171" fmla="*/ 3352800 w 3505200"/>
              <a:gd name="connsiteY171" fmla="*/ 1503680 h 8260080"/>
              <a:gd name="connsiteX172" fmla="*/ 3444240 w 3505200"/>
              <a:gd name="connsiteY172" fmla="*/ 1412240 h 8260080"/>
              <a:gd name="connsiteX173" fmla="*/ 3393440 w 3505200"/>
              <a:gd name="connsiteY173" fmla="*/ 1280160 h 8260080"/>
              <a:gd name="connsiteX174" fmla="*/ 3434080 w 3505200"/>
              <a:gd name="connsiteY174" fmla="*/ 1249680 h 8260080"/>
              <a:gd name="connsiteX175" fmla="*/ 3281680 w 3505200"/>
              <a:gd name="connsiteY175" fmla="*/ 1066800 h 8260080"/>
              <a:gd name="connsiteX176" fmla="*/ 3383280 w 3505200"/>
              <a:gd name="connsiteY176" fmla="*/ 975360 h 8260080"/>
              <a:gd name="connsiteX177" fmla="*/ 3302000 w 3505200"/>
              <a:gd name="connsiteY177" fmla="*/ 924560 h 8260080"/>
              <a:gd name="connsiteX178" fmla="*/ 3190240 w 3505200"/>
              <a:gd name="connsiteY178" fmla="*/ 944880 h 8260080"/>
              <a:gd name="connsiteX179" fmla="*/ 3281680 w 3505200"/>
              <a:gd name="connsiteY179" fmla="*/ 792480 h 8260080"/>
              <a:gd name="connsiteX180" fmla="*/ 3210560 w 3505200"/>
              <a:gd name="connsiteY180" fmla="*/ 650240 h 8260080"/>
              <a:gd name="connsiteX181" fmla="*/ 3302000 w 3505200"/>
              <a:gd name="connsiteY181" fmla="*/ 568960 h 8260080"/>
              <a:gd name="connsiteX182" fmla="*/ 3190240 w 3505200"/>
              <a:gd name="connsiteY182" fmla="*/ 487680 h 8260080"/>
              <a:gd name="connsiteX183" fmla="*/ 3108960 w 3505200"/>
              <a:gd name="connsiteY183" fmla="*/ 528320 h 8260080"/>
              <a:gd name="connsiteX184" fmla="*/ 3108960 w 3505200"/>
              <a:gd name="connsiteY184" fmla="*/ 406400 h 8260080"/>
              <a:gd name="connsiteX185" fmla="*/ 2926080 w 3505200"/>
              <a:gd name="connsiteY185" fmla="*/ 314960 h 8260080"/>
              <a:gd name="connsiteX186" fmla="*/ 2834640 w 3505200"/>
              <a:gd name="connsiteY186" fmla="*/ 355600 h 8260080"/>
              <a:gd name="connsiteX187" fmla="*/ 2682240 w 3505200"/>
              <a:gd name="connsiteY187" fmla="*/ 111760 h 8260080"/>
              <a:gd name="connsiteX188" fmla="*/ 2590800 w 3505200"/>
              <a:gd name="connsiteY188" fmla="*/ 121920 h 8260080"/>
              <a:gd name="connsiteX189" fmla="*/ 2611120 w 3505200"/>
              <a:gd name="connsiteY189" fmla="*/ 0 h 8260080"/>
              <a:gd name="connsiteX190" fmla="*/ 2438400 w 3505200"/>
              <a:gd name="connsiteY19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150019 w 3505200"/>
              <a:gd name="connsiteY70" fmla="*/ 6767195 h 8260080"/>
              <a:gd name="connsiteX71" fmla="*/ 233680 w 3505200"/>
              <a:gd name="connsiteY71" fmla="*/ 6959600 h 8260080"/>
              <a:gd name="connsiteX72" fmla="*/ 304800 w 3505200"/>
              <a:gd name="connsiteY72" fmla="*/ 7020560 h 8260080"/>
              <a:gd name="connsiteX73" fmla="*/ 264160 w 3505200"/>
              <a:gd name="connsiteY73" fmla="*/ 7122160 h 8260080"/>
              <a:gd name="connsiteX74" fmla="*/ 335280 w 3505200"/>
              <a:gd name="connsiteY74" fmla="*/ 7193280 h 8260080"/>
              <a:gd name="connsiteX75" fmla="*/ 325120 w 3505200"/>
              <a:gd name="connsiteY75" fmla="*/ 7254240 h 8260080"/>
              <a:gd name="connsiteX76" fmla="*/ 325120 w 3505200"/>
              <a:gd name="connsiteY76" fmla="*/ 7254240 h 8260080"/>
              <a:gd name="connsiteX77" fmla="*/ 325120 w 3505200"/>
              <a:gd name="connsiteY77" fmla="*/ 7355840 h 8260080"/>
              <a:gd name="connsiteX78" fmla="*/ 447040 w 3505200"/>
              <a:gd name="connsiteY78" fmla="*/ 7366000 h 8260080"/>
              <a:gd name="connsiteX79" fmla="*/ 447040 w 3505200"/>
              <a:gd name="connsiteY79" fmla="*/ 7477760 h 8260080"/>
              <a:gd name="connsiteX80" fmla="*/ 558800 w 3505200"/>
              <a:gd name="connsiteY80" fmla="*/ 7528560 h 8260080"/>
              <a:gd name="connsiteX81" fmla="*/ 508000 w 3505200"/>
              <a:gd name="connsiteY81" fmla="*/ 7630160 h 8260080"/>
              <a:gd name="connsiteX82" fmla="*/ 436880 w 3505200"/>
              <a:gd name="connsiteY82" fmla="*/ 7609840 h 8260080"/>
              <a:gd name="connsiteX83" fmla="*/ 447040 w 3505200"/>
              <a:gd name="connsiteY83" fmla="*/ 7691120 h 8260080"/>
              <a:gd name="connsiteX84" fmla="*/ 518160 w 3505200"/>
              <a:gd name="connsiteY84" fmla="*/ 7741920 h 8260080"/>
              <a:gd name="connsiteX85" fmla="*/ 457200 w 3505200"/>
              <a:gd name="connsiteY85" fmla="*/ 7792720 h 8260080"/>
              <a:gd name="connsiteX86" fmla="*/ 396240 w 3505200"/>
              <a:gd name="connsiteY86" fmla="*/ 7701280 h 8260080"/>
              <a:gd name="connsiteX87" fmla="*/ 396240 w 3505200"/>
              <a:gd name="connsiteY87" fmla="*/ 7701280 h 8260080"/>
              <a:gd name="connsiteX88" fmla="*/ 436880 w 3505200"/>
              <a:gd name="connsiteY88" fmla="*/ 7874000 h 8260080"/>
              <a:gd name="connsiteX89" fmla="*/ 436880 w 3505200"/>
              <a:gd name="connsiteY89" fmla="*/ 7924800 h 8260080"/>
              <a:gd name="connsiteX90" fmla="*/ 548640 w 3505200"/>
              <a:gd name="connsiteY90" fmla="*/ 7965440 h 8260080"/>
              <a:gd name="connsiteX91" fmla="*/ 508000 w 3505200"/>
              <a:gd name="connsiteY91" fmla="*/ 8016240 h 8260080"/>
              <a:gd name="connsiteX92" fmla="*/ 589280 w 3505200"/>
              <a:gd name="connsiteY92" fmla="*/ 8056880 h 8260080"/>
              <a:gd name="connsiteX93" fmla="*/ 497840 w 3505200"/>
              <a:gd name="connsiteY93" fmla="*/ 8117840 h 8260080"/>
              <a:gd name="connsiteX94" fmla="*/ 518160 w 3505200"/>
              <a:gd name="connsiteY94" fmla="*/ 8209280 h 8260080"/>
              <a:gd name="connsiteX95" fmla="*/ 640080 w 3505200"/>
              <a:gd name="connsiteY95" fmla="*/ 8260080 h 8260080"/>
              <a:gd name="connsiteX96" fmla="*/ 731520 w 3505200"/>
              <a:gd name="connsiteY96" fmla="*/ 8219440 h 8260080"/>
              <a:gd name="connsiteX97" fmla="*/ 853440 w 3505200"/>
              <a:gd name="connsiteY97" fmla="*/ 8209280 h 8260080"/>
              <a:gd name="connsiteX98" fmla="*/ 955040 w 3505200"/>
              <a:gd name="connsiteY98" fmla="*/ 8260080 h 8260080"/>
              <a:gd name="connsiteX99" fmla="*/ 965200 w 3505200"/>
              <a:gd name="connsiteY99" fmla="*/ 8107680 h 8260080"/>
              <a:gd name="connsiteX100" fmla="*/ 894080 w 3505200"/>
              <a:gd name="connsiteY100" fmla="*/ 8026400 h 8260080"/>
              <a:gd name="connsiteX101" fmla="*/ 1016000 w 3505200"/>
              <a:gd name="connsiteY101" fmla="*/ 7863840 h 8260080"/>
              <a:gd name="connsiteX102" fmla="*/ 1107440 w 3505200"/>
              <a:gd name="connsiteY102" fmla="*/ 7894320 h 8260080"/>
              <a:gd name="connsiteX103" fmla="*/ 1127760 w 3505200"/>
              <a:gd name="connsiteY103" fmla="*/ 7853680 h 8260080"/>
              <a:gd name="connsiteX104" fmla="*/ 1066800 w 3505200"/>
              <a:gd name="connsiteY104" fmla="*/ 7813040 h 8260080"/>
              <a:gd name="connsiteX105" fmla="*/ 1137920 w 3505200"/>
              <a:gd name="connsiteY105" fmla="*/ 7762240 h 8260080"/>
              <a:gd name="connsiteX106" fmla="*/ 1330960 w 3505200"/>
              <a:gd name="connsiteY106" fmla="*/ 7802880 h 8260080"/>
              <a:gd name="connsiteX107" fmla="*/ 1361440 w 3505200"/>
              <a:gd name="connsiteY107" fmla="*/ 7772400 h 8260080"/>
              <a:gd name="connsiteX108" fmla="*/ 1483360 w 3505200"/>
              <a:gd name="connsiteY108" fmla="*/ 7823200 h 8260080"/>
              <a:gd name="connsiteX109" fmla="*/ 1554480 w 3505200"/>
              <a:gd name="connsiteY109" fmla="*/ 7731760 h 8260080"/>
              <a:gd name="connsiteX110" fmla="*/ 1524000 w 3505200"/>
              <a:gd name="connsiteY110" fmla="*/ 7640320 h 8260080"/>
              <a:gd name="connsiteX111" fmla="*/ 1645920 w 3505200"/>
              <a:gd name="connsiteY111" fmla="*/ 7437120 h 8260080"/>
              <a:gd name="connsiteX112" fmla="*/ 1635760 w 3505200"/>
              <a:gd name="connsiteY112" fmla="*/ 7335520 h 8260080"/>
              <a:gd name="connsiteX113" fmla="*/ 1696720 w 3505200"/>
              <a:gd name="connsiteY113" fmla="*/ 7223760 h 8260080"/>
              <a:gd name="connsiteX114" fmla="*/ 1625600 w 3505200"/>
              <a:gd name="connsiteY114" fmla="*/ 7172960 h 8260080"/>
              <a:gd name="connsiteX115" fmla="*/ 1747520 w 3505200"/>
              <a:gd name="connsiteY115" fmla="*/ 6990080 h 8260080"/>
              <a:gd name="connsiteX116" fmla="*/ 1666240 w 3505200"/>
              <a:gd name="connsiteY116" fmla="*/ 6939280 h 8260080"/>
              <a:gd name="connsiteX117" fmla="*/ 1737360 w 3505200"/>
              <a:gd name="connsiteY117" fmla="*/ 6888480 h 8260080"/>
              <a:gd name="connsiteX118" fmla="*/ 1645920 w 3505200"/>
              <a:gd name="connsiteY118" fmla="*/ 6776720 h 8260080"/>
              <a:gd name="connsiteX119" fmla="*/ 1808480 w 3505200"/>
              <a:gd name="connsiteY119" fmla="*/ 6715760 h 8260080"/>
              <a:gd name="connsiteX120" fmla="*/ 1727200 w 3505200"/>
              <a:gd name="connsiteY120" fmla="*/ 6614160 h 8260080"/>
              <a:gd name="connsiteX121" fmla="*/ 1686560 w 3505200"/>
              <a:gd name="connsiteY121" fmla="*/ 6421120 h 8260080"/>
              <a:gd name="connsiteX122" fmla="*/ 1889760 w 3505200"/>
              <a:gd name="connsiteY122" fmla="*/ 6299200 h 8260080"/>
              <a:gd name="connsiteX123" fmla="*/ 1940560 w 3505200"/>
              <a:gd name="connsiteY123" fmla="*/ 6228080 h 8260080"/>
              <a:gd name="connsiteX124" fmla="*/ 2032000 w 3505200"/>
              <a:gd name="connsiteY124" fmla="*/ 6136640 h 8260080"/>
              <a:gd name="connsiteX125" fmla="*/ 2011680 w 3505200"/>
              <a:gd name="connsiteY125" fmla="*/ 6014720 h 8260080"/>
              <a:gd name="connsiteX126" fmla="*/ 2123440 w 3505200"/>
              <a:gd name="connsiteY126" fmla="*/ 6065520 h 8260080"/>
              <a:gd name="connsiteX127" fmla="*/ 2092960 w 3505200"/>
              <a:gd name="connsiteY127" fmla="*/ 6167120 h 8260080"/>
              <a:gd name="connsiteX128" fmla="*/ 2286000 w 3505200"/>
              <a:gd name="connsiteY128" fmla="*/ 5933440 h 8260080"/>
              <a:gd name="connsiteX129" fmla="*/ 2255520 w 3505200"/>
              <a:gd name="connsiteY129" fmla="*/ 5801360 h 8260080"/>
              <a:gd name="connsiteX130" fmla="*/ 2448560 w 3505200"/>
              <a:gd name="connsiteY130" fmla="*/ 5598160 h 8260080"/>
              <a:gd name="connsiteX131" fmla="*/ 2357120 w 3505200"/>
              <a:gd name="connsiteY131" fmla="*/ 5435600 h 8260080"/>
              <a:gd name="connsiteX132" fmla="*/ 2225040 w 3505200"/>
              <a:gd name="connsiteY132" fmla="*/ 5415280 h 8260080"/>
              <a:gd name="connsiteX133" fmla="*/ 2103120 w 3505200"/>
              <a:gd name="connsiteY133" fmla="*/ 5222240 h 8260080"/>
              <a:gd name="connsiteX134" fmla="*/ 2092960 w 3505200"/>
              <a:gd name="connsiteY134" fmla="*/ 5110480 h 8260080"/>
              <a:gd name="connsiteX135" fmla="*/ 2052320 w 3505200"/>
              <a:gd name="connsiteY135" fmla="*/ 5151120 h 8260080"/>
              <a:gd name="connsiteX136" fmla="*/ 2042160 w 3505200"/>
              <a:gd name="connsiteY136" fmla="*/ 5242560 h 8260080"/>
              <a:gd name="connsiteX137" fmla="*/ 1981200 w 3505200"/>
              <a:gd name="connsiteY137" fmla="*/ 5191760 h 8260080"/>
              <a:gd name="connsiteX138" fmla="*/ 2011680 w 3505200"/>
              <a:gd name="connsiteY138" fmla="*/ 5120640 h 8260080"/>
              <a:gd name="connsiteX139" fmla="*/ 1930400 w 3505200"/>
              <a:gd name="connsiteY139" fmla="*/ 5100320 h 8260080"/>
              <a:gd name="connsiteX140" fmla="*/ 1859280 w 3505200"/>
              <a:gd name="connsiteY140" fmla="*/ 4917440 h 8260080"/>
              <a:gd name="connsiteX141" fmla="*/ 1828800 w 3505200"/>
              <a:gd name="connsiteY141" fmla="*/ 4622800 h 8260080"/>
              <a:gd name="connsiteX142" fmla="*/ 1910080 w 3505200"/>
              <a:gd name="connsiteY142" fmla="*/ 4419600 h 8260080"/>
              <a:gd name="connsiteX143" fmla="*/ 1920240 w 3505200"/>
              <a:gd name="connsiteY143" fmla="*/ 4277360 h 8260080"/>
              <a:gd name="connsiteX144" fmla="*/ 1971040 w 3505200"/>
              <a:gd name="connsiteY144" fmla="*/ 4124960 h 8260080"/>
              <a:gd name="connsiteX145" fmla="*/ 1879600 w 3505200"/>
              <a:gd name="connsiteY145" fmla="*/ 4023360 h 8260080"/>
              <a:gd name="connsiteX146" fmla="*/ 2072640 w 3505200"/>
              <a:gd name="connsiteY146" fmla="*/ 4003040 h 8260080"/>
              <a:gd name="connsiteX147" fmla="*/ 2092960 w 3505200"/>
              <a:gd name="connsiteY147" fmla="*/ 3850640 h 8260080"/>
              <a:gd name="connsiteX148" fmla="*/ 2001520 w 3505200"/>
              <a:gd name="connsiteY148" fmla="*/ 3728720 h 8260080"/>
              <a:gd name="connsiteX149" fmla="*/ 2164080 w 3505200"/>
              <a:gd name="connsiteY149" fmla="*/ 3769360 h 8260080"/>
              <a:gd name="connsiteX150" fmla="*/ 2265680 w 3505200"/>
              <a:gd name="connsiteY150" fmla="*/ 3566160 h 8260080"/>
              <a:gd name="connsiteX151" fmla="*/ 2336800 w 3505200"/>
              <a:gd name="connsiteY151" fmla="*/ 3515360 h 8260080"/>
              <a:gd name="connsiteX152" fmla="*/ 2367280 w 3505200"/>
              <a:gd name="connsiteY152" fmla="*/ 3362960 h 8260080"/>
              <a:gd name="connsiteX153" fmla="*/ 2489200 w 3505200"/>
              <a:gd name="connsiteY153" fmla="*/ 3423920 h 8260080"/>
              <a:gd name="connsiteX154" fmla="*/ 2560320 w 3505200"/>
              <a:gd name="connsiteY154" fmla="*/ 3302000 h 8260080"/>
              <a:gd name="connsiteX155" fmla="*/ 2743200 w 3505200"/>
              <a:gd name="connsiteY155" fmla="*/ 3149600 h 8260080"/>
              <a:gd name="connsiteX156" fmla="*/ 2844800 w 3505200"/>
              <a:gd name="connsiteY156" fmla="*/ 3088640 h 8260080"/>
              <a:gd name="connsiteX157" fmla="*/ 2804160 w 3505200"/>
              <a:gd name="connsiteY157" fmla="*/ 2966720 h 8260080"/>
              <a:gd name="connsiteX158" fmla="*/ 2976880 w 3505200"/>
              <a:gd name="connsiteY158" fmla="*/ 2763520 h 8260080"/>
              <a:gd name="connsiteX159" fmla="*/ 2794000 w 3505200"/>
              <a:gd name="connsiteY159" fmla="*/ 2621280 h 8260080"/>
              <a:gd name="connsiteX160" fmla="*/ 2946400 w 3505200"/>
              <a:gd name="connsiteY160" fmla="*/ 2377440 h 8260080"/>
              <a:gd name="connsiteX161" fmla="*/ 2854960 w 3505200"/>
              <a:gd name="connsiteY161" fmla="*/ 2255520 h 8260080"/>
              <a:gd name="connsiteX162" fmla="*/ 3027680 w 3505200"/>
              <a:gd name="connsiteY162" fmla="*/ 2113280 h 8260080"/>
              <a:gd name="connsiteX163" fmla="*/ 3119120 w 3505200"/>
              <a:gd name="connsiteY163" fmla="*/ 2021840 h 8260080"/>
              <a:gd name="connsiteX164" fmla="*/ 3027680 w 3505200"/>
              <a:gd name="connsiteY164" fmla="*/ 1960880 h 8260080"/>
              <a:gd name="connsiteX165" fmla="*/ 3139440 w 3505200"/>
              <a:gd name="connsiteY165" fmla="*/ 1869440 h 8260080"/>
              <a:gd name="connsiteX166" fmla="*/ 3281680 w 3505200"/>
              <a:gd name="connsiteY166" fmla="*/ 1950720 h 8260080"/>
              <a:gd name="connsiteX167" fmla="*/ 3403600 w 3505200"/>
              <a:gd name="connsiteY167" fmla="*/ 1889760 h 8260080"/>
              <a:gd name="connsiteX168" fmla="*/ 3505200 w 3505200"/>
              <a:gd name="connsiteY168" fmla="*/ 1910080 h 8260080"/>
              <a:gd name="connsiteX169" fmla="*/ 3444240 w 3505200"/>
              <a:gd name="connsiteY169" fmla="*/ 1656080 h 8260080"/>
              <a:gd name="connsiteX170" fmla="*/ 3373120 w 3505200"/>
              <a:gd name="connsiteY170" fmla="*/ 1635760 h 8260080"/>
              <a:gd name="connsiteX171" fmla="*/ 3352800 w 3505200"/>
              <a:gd name="connsiteY171" fmla="*/ 1503680 h 8260080"/>
              <a:gd name="connsiteX172" fmla="*/ 3444240 w 3505200"/>
              <a:gd name="connsiteY172" fmla="*/ 1412240 h 8260080"/>
              <a:gd name="connsiteX173" fmla="*/ 3393440 w 3505200"/>
              <a:gd name="connsiteY173" fmla="*/ 1280160 h 8260080"/>
              <a:gd name="connsiteX174" fmla="*/ 3434080 w 3505200"/>
              <a:gd name="connsiteY174" fmla="*/ 1249680 h 8260080"/>
              <a:gd name="connsiteX175" fmla="*/ 3281680 w 3505200"/>
              <a:gd name="connsiteY175" fmla="*/ 1066800 h 8260080"/>
              <a:gd name="connsiteX176" fmla="*/ 3383280 w 3505200"/>
              <a:gd name="connsiteY176" fmla="*/ 975360 h 8260080"/>
              <a:gd name="connsiteX177" fmla="*/ 3302000 w 3505200"/>
              <a:gd name="connsiteY177" fmla="*/ 924560 h 8260080"/>
              <a:gd name="connsiteX178" fmla="*/ 3190240 w 3505200"/>
              <a:gd name="connsiteY178" fmla="*/ 944880 h 8260080"/>
              <a:gd name="connsiteX179" fmla="*/ 3281680 w 3505200"/>
              <a:gd name="connsiteY179" fmla="*/ 792480 h 8260080"/>
              <a:gd name="connsiteX180" fmla="*/ 3210560 w 3505200"/>
              <a:gd name="connsiteY180" fmla="*/ 650240 h 8260080"/>
              <a:gd name="connsiteX181" fmla="*/ 3302000 w 3505200"/>
              <a:gd name="connsiteY181" fmla="*/ 568960 h 8260080"/>
              <a:gd name="connsiteX182" fmla="*/ 3190240 w 3505200"/>
              <a:gd name="connsiteY182" fmla="*/ 487680 h 8260080"/>
              <a:gd name="connsiteX183" fmla="*/ 3108960 w 3505200"/>
              <a:gd name="connsiteY183" fmla="*/ 528320 h 8260080"/>
              <a:gd name="connsiteX184" fmla="*/ 3108960 w 3505200"/>
              <a:gd name="connsiteY184" fmla="*/ 406400 h 8260080"/>
              <a:gd name="connsiteX185" fmla="*/ 2926080 w 3505200"/>
              <a:gd name="connsiteY185" fmla="*/ 314960 h 8260080"/>
              <a:gd name="connsiteX186" fmla="*/ 2834640 w 3505200"/>
              <a:gd name="connsiteY186" fmla="*/ 355600 h 8260080"/>
              <a:gd name="connsiteX187" fmla="*/ 2682240 w 3505200"/>
              <a:gd name="connsiteY187" fmla="*/ 111760 h 8260080"/>
              <a:gd name="connsiteX188" fmla="*/ 2590800 w 3505200"/>
              <a:gd name="connsiteY188" fmla="*/ 121920 h 8260080"/>
              <a:gd name="connsiteX189" fmla="*/ 2611120 w 3505200"/>
              <a:gd name="connsiteY189" fmla="*/ 0 h 8260080"/>
              <a:gd name="connsiteX190" fmla="*/ 2438400 w 3505200"/>
              <a:gd name="connsiteY19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150019 w 3505200"/>
              <a:gd name="connsiteY70" fmla="*/ 6767195 h 8260080"/>
              <a:gd name="connsiteX71" fmla="*/ 233680 w 3505200"/>
              <a:gd name="connsiteY71" fmla="*/ 6959600 h 8260080"/>
              <a:gd name="connsiteX72" fmla="*/ 304800 w 3505200"/>
              <a:gd name="connsiteY72" fmla="*/ 7020560 h 8260080"/>
              <a:gd name="connsiteX73" fmla="*/ 264160 w 3505200"/>
              <a:gd name="connsiteY73" fmla="*/ 7122160 h 8260080"/>
              <a:gd name="connsiteX74" fmla="*/ 335280 w 3505200"/>
              <a:gd name="connsiteY74" fmla="*/ 7193280 h 8260080"/>
              <a:gd name="connsiteX75" fmla="*/ 325120 w 3505200"/>
              <a:gd name="connsiteY75" fmla="*/ 7254240 h 8260080"/>
              <a:gd name="connsiteX76" fmla="*/ 325120 w 3505200"/>
              <a:gd name="connsiteY76" fmla="*/ 7254240 h 8260080"/>
              <a:gd name="connsiteX77" fmla="*/ 325120 w 3505200"/>
              <a:gd name="connsiteY77" fmla="*/ 7355840 h 8260080"/>
              <a:gd name="connsiteX78" fmla="*/ 447040 w 3505200"/>
              <a:gd name="connsiteY78" fmla="*/ 7366000 h 8260080"/>
              <a:gd name="connsiteX79" fmla="*/ 447040 w 3505200"/>
              <a:gd name="connsiteY79" fmla="*/ 7477760 h 8260080"/>
              <a:gd name="connsiteX80" fmla="*/ 558800 w 3505200"/>
              <a:gd name="connsiteY80" fmla="*/ 7528560 h 8260080"/>
              <a:gd name="connsiteX81" fmla="*/ 508000 w 3505200"/>
              <a:gd name="connsiteY81" fmla="*/ 7630160 h 8260080"/>
              <a:gd name="connsiteX82" fmla="*/ 436880 w 3505200"/>
              <a:gd name="connsiteY82" fmla="*/ 7609840 h 8260080"/>
              <a:gd name="connsiteX83" fmla="*/ 447040 w 3505200"/>
              <a:gd name="connsiteY83" fmla="*/ 7691120 h 8260080"/>
              <a:gd name="connsiteX84" fmla="*/ 518160 w 3505200"/>
              <a:gd name="connsiteY84" fmla="*/ 7741920 h 8260080"/>
              <a:gd name="connsiteX85" fmla="*/ 457200 w 3505200"/>
              <a:gd name="connsiteY85" fmla="*/ 7792720 h 8260080"/>
              <a:gd name="connsiteX86" fmla="*/ 396240 w 3505200"/>
              <a:gd name="connsiteY86" fmla="*/ 7701280 h 8260080"/>
              <a:gd name="connsiteX87" fmla="*/ 396240 w 3505200"/>
              <a:gd name="connsiteY87" fmla="*/ 7701280 h 8260080"/>
              <a:gd name="connsiteX88" fmla="*/ 436880 w 3505200"/>
              <a:gd name="connsiteY88" fmla="*/ 7874000 h 8260080"/>
              <a:gd name="connsiteX89" fmla="*/ 436880 w 3505200"/>
              <a:gd name="connsiteY89" fmla="*/ 7924800 h 8260080"/>
              <a:gd name="connsiteX90" fmla="*/ 548640 w 3505200"/>
              <a:gd name="connsiteY90" fmla="*/ 7965440 h 8260080"/>
              <a:gd name="connsiteX91" fmla="*/ 508000 w 3505200"/>
              <a:gd name="connsiteY91" fmla="*/ 8016240 h 8260080"/>
              <a:gd name="connsiteX92" fmla="*/ 589280 w 3505200"/>
              <a:gd name="connsiteY92" fmla="*/ 8056880 h 8260080"/>
              <a:gd name="connsiteX93" fmla="*/ 497840 w 3505200"/>
              <a:gd name="connsiteY93" fmla="*/ 8117840 h 8260080"/>
              <a:gd name="connsiteX94" fmla="*/ 518160 w 3505200"/>
              <a:gd name="connsiteY94" fmla="*/ 8209280 h 8260080"/>
              <a:gd name="connsiteX95" fmla="*/ 640080 w 3505200"/>
              <a:gd name="connsiteY95" fmla="*/ 8260080 h 8260080"/>
              <a:gd name="connsiteX96" fmla="*/ 731520 w 3505200"/>
              <a:gd name="connsiteY96" fmla="*/ 8219440 h 8260080"/>
              <a:gd name="connsiteX97" fmla="*/ 853440 w 3505200"/>
              <a:gd name="connsiteY97" fmla="*/ 8209280 h 8260080"/>
              <a:gd name="connsiteX98" fmla="*/ 955040 w 3505200"/>
              <a:gd name="connsiteY98" fmla="*/ 8260080 h 8260080"/>
              <a:gd name="connsiteX99" fmla="*/ 965200 w 3505200"/>
              <a:gd name="connsiteY99" fmla="*/ 8107680 h 8260080"/>
              <a:gd name="connsiteX100" fmla="*/ 894080 w 3505200"/>
              <a:gd name="connsiteY100" fmla="*/ 8026400 h 8260080"/>
              <a:gd name="connsiteX101" fmla="*/ 1016000 w 3505200"/>
              <a:gd name="connsiteY101" fmla="*/ 7863840 h 8260080"/>
              <a:gd name="connsiteX102" fmla="*/ 1107440 w 3505200"/>
              <a:gd name="connsiteY102" fmla="*/ 7894320 h 8260080"/>
              <a:gd name="connsiteX103" fmla="*/ 1127760 w 3505200"/>
              <a:gd name="connsiteY103" fmla="*/ 7853680 h 8260080"/>
              <a:gd name="connsiteX104" fmla="*/ 1066800 w 3505200"/>
              <a:gd name="connsiteY104" fmla="*/ 7813040 h 8260080"/>
              <a:gd name="connsiteX105" fmla="*/ 1137920 w 3505200"/>
              <a:gd name="connsiteY105" fmla="*/ 7762240 h 8260080"/>
              <a:gd name="connsiteX106" fmla="*/ 1330960 w 3505200"/>
              <a:gd name="connsiteY106" fmla="*/ 7802880 h 8260080"/>
              <a:gd name="connsiteX107" fmla="*/ 1361440 w 3505200"/>
              <a:gd name="connsiteY107" fmla="*/ 7772400 h 8260080"/>
              <a:gd name="connsiteX108" fmla="*/ 1483360 w 3505200"/>
              <a:gd name="connsiteY108" fmla="*/ 7823200 h 8260080"/>
              <a:gd name="connsiteX109" fmla="*/ 1554480 w 3505200"/>
              <a:gd name="connsiteY109" fmla="*/ 7731760 h 8260080"/>
              <a:gd name="connsiteX110" fmla="*/ 1524000 w 3505200"/>
              <a:gd name="connsiteY110" fmla="*/ 7640320 h 8260080"/>
              <a:gd name="connsiteX111" fmla="*/ 1645920 w 3505200"/>
              <a:gd name="connsiteY111" fmla="*/ 7437120 h 8260080"/>
              <a:gd name="connsiteX112" fmla="*/ 1635760 w 3505200"/>
              <a:gd name="connsiteY112" fmla="*/ 7335520 h 8260080"/>
              <a:gd name="connsiteX113" fmla="*/ 1696720 w 3505200"/>
              <a:gd name="connsiteY113" fmla="*/ 7223760 h 8260080"/>
              <a:gd name="connsiteX114" fmla="*/ 1625600 w 3505200"/>
              <a:gd name="connsiteY114" fmla="*/ 7172960 h 8260080"/>
              <a:gd name="connsiteX115" fmla="*/ 1747520 w 3505200"/>
              <a:gd name="connsiteY115" fmla="*/ 6990080 h 8260080"/>
              <a:gd name="connsiteX116" fmla="*/ 1666240 w 3505200"/>
              <a:gd name="connsiteY116" fmla="*/ 6939280 h 8260080"/>
              <a:gd name="connsiteX117" fmla="*/ 1737360 w 3505200"/>
              <a:gd name="connsiteY117" fmla="*/ 6888480 h 8260080"/>
              <a:gd name="connsiteX118" fmla="*/ 1645920 w 3505200"/>
              <a:gd name="connsiteY118" fmla="*/ 6776720 h 8260080"/>
              <a:gd name="connsiteX119" fmla="*/ 1808480 w 3505200"/>
              <a:gd name="connsiteY119" fmla="*/ 6715760 h 8260080"/>
              <a:gd name="connsiteX120" fmla="*/ 1727200 w 3505200"/>
              <a:gd name="connsiteY120" fmla="*/ 6614160 h 8260080"/>
              <a:gd name="connsiteX121" fmla="*/ 1686560 w 3505200"/>
              <a:gd name="connsiteY121" fmla="*/ 6421120 h 8260080"/>
              <a:gd name="connsiteX122" fmla="*/ 1889760 w 3505200"/>
              <a:gd name="connsiteY122" fmla="*/ 6299200 h 8260080"/>
              <a:gd name="connsiteX123" fmla="*/ 1940560 w 3505200"/>
              <a:gd name="connsiteY123" fmla="*/ 6228080 h 8260080"/>
              <a:gd name="connsiteX124" fmla="*/ 2032000 w 3505200"/>
              <a:gd name="connsiteY124" fmla="*/ 6136640 h 8260080"/>
              <a:gd name="connsiteX125" fmla="*/ 2011680 w 3505200"/>
              <a:gd name="connsiteY125" fmla="*/ 6014720 h 8260080"/>
              <a:gd name="connsiteX126" fmla="*/ 2123440 w 3505200"/>
              <a:gd name="connsiteY126" fmla="*/ 6065520 h 8260080"/>
              <a:gd name="connsiteX127" fmla="*/ 2092960 w 3505200"/>
              <a:gd name="connsiteY127" fmla="*/ 6167120 h 8260080"/>
              <a:gd name="connsiteX128" fmla="*/ 2286000 w 3505200"/>
              <a:gd name="connsiteY128" fmla="*/ 5933440 h 8260080"/>
              <a:gd name="connsiteX129" fmla="*/ 2255520 w 3505200"/>
              <a:gd name="connsiteY129" fmla="*/ 5801360 h 8260080"/>
              <a:gd name="connsiteX130" fmla="*/ 2448560 w 3505200"/>
              <a:gd name="connsiteY130" fmla="*/ 5598160 h 8260080"/>
              <a:gd name="connsiteX131" fmla="*/ 2357120 w 3505200"/>
              <a:gd name="connsiteY131" fmla="*/ 5435600 h 8260080"/>
              <a:gd name="connsiteX132" fmla="*/ 2225040 w 3505200"/>
              <a:gd name="connsiteY132" fmla="*/ 5415280 h 8260080"/>
              <a:gd name="connsiteX133" fmla="*/ 2103120 w 3505200"/>
              <a:gd name="connsiteY133" fmla="*/ 5222240 h 8260080"/>
              <a:gd name="connsiteX134" fmla="*/ 2092960 w 3505200"/>
              <a:gd name="connsiteY134" fmla="*/ 5110480 h 8260080"/>
              <a:gd name="connsiteX135" fmla="*/ 2052320 w 3505200"/>
              <a:gd name="connsiteY135" fmla="*/ 5151120 h 8260080"/>
              <a:gd name="connsiteX136" fmla="*/ 2042160 w 3505200"/>
              <a:gd name="connsiteY136" fmla="*/ 5242560 h 8260080"/>
              <a:gd name="connsiteX137" fmla="*/ 1981200 w 3505200"/>
              <a:gd name="connsiteY137" fmla="*/ 5191760 h 8260080"/>
              <a:gd name="connsiteX138" fmla="*/ 2011680 w 3505200"/>
              <a:gd name="connsiteY138" fmla="*/ 5120640 h 8260080"/>
              <a:gd name="connsiteX139" fmla="*/ 1930400 w 3505200"/>
              <a:gd name="connsiteY139" fmla="*/ 5100320 h 8260080"/>
              <a:gd name="connsiteX140" fmla="*/ 1859280 w 3505200"/>
              <a:gd name="connsiteY140" fmla="*/ 4917440 h 8260080"/>
              <a:gd name="connsiteX141" fmla="*/ 1828800 w 3505200"/>
              <a:gd name="connsiteY141" fmla="*/ 4622800 h 8260080"/>
              <a:gd name="connsiteX142" fmla="*/ 1910080 w 3505200"/>
              <a:gd name="connsiteY142" fmla="*/ 4419600 h 8260080"/>
              <a:gd name="connsiteX143" fmla="*/ 1920240 w 3505200"/>
              <a:gd name="connsiteY143" fmla="*/ 4277360 h 8260080"/>
              <a:gd name="connsiteX144" fmla="*/ 1971040 w 3505200"/>
              <a:gd name="connsiteY144" fmla="*/ 4124960 h 8260080"/>
              <a:gd name="connsiteX145" fmla="*/ 1879600 w 3505200"/>
              <a:gd name="connsiteY145" fmla="*/ 4023360 h 8260080"/>
              <a:gd name="connsiteX146" fmla="*/ 2072640 w 3505200"/>
              <a:gd name="connsiteY146" fmla="*/ 4003040 h 8260080"/>
              <a:gd name="connsiteX147" fmla="*/ 2092960 w 3505200"/>
              <a:gd name="connsiteY147" fmla="*/ 3850640 h 8260080"/>
              <a:gd name="connsiteX148" fmla="*/ 2001520 w 3505200"/>
              <a:gd name="connsiteY148" fmla="*/ 3728720 h 8260080"/>
              <a:gd name="connsiteX149" fmla="*/ 2164080 w 3505200"/>
              <a:gd name="connsiteY149" fmla="*/ 3769360 h 8260080"/>
              <a:gd name="connsiteX150" fmla="*/ 2265680 w 3505200"/>
              <a:gd name="connsiteY150" fmla="*/ 3566160 h 8260080"/>
              <a:gd name="connsiteX151" fmla="*/ 2336800 w 3505200"/>
              <a:gd name="connsiteY151" fmla="*/ 3515360 h 8260080"/>
              <a:gd name="connsiteX152" fmla="*/ 2367280 w 3505200"/>
              <a:gd name="connsiteY152" fmla="*/ 3362960 h 8260080"/>
              <a:gd name="connsiteX153" fmla="*/ 2489200 w 3505200"/>
              <a:gd name="connsiteY153" fmla="*/ 3423920 h 8260080"/>
              <a:gd name="connsiteX154" fmla="*/ 2560320 w 3505200"/>
              <a:gd name="connsiteY154" fmla="*/ 3302000 h 8260080"/>
              <a:gd name="connsiteX155" fmla="*/ 2743200 w 3505200"/>
              <a:gd name="connsiteY155" fmla="*/ 3149600 h 8260080"/>
              <a:gd name="connsiteX156" fmla="*/ 2844800 w 3505200"/>
              <a:gd name="connsiteY156" fmla="*/ 3088640 h 8260080"/>
              <a:gd name="connsiteX157" fmla="*/ 2804160 w 3505200"/>
              <a:gd name="connsiteY157" fmla="*/ 2966720 h 8260080"/>
              <a:gd name="connsiteX158" fmla="*/ 2976880 w 3505200"/>
              <a:gd name="connsiteY158" fmla="*/ 2763520 h 8260080"/>
              <a:gd name="connsiteX159" fmla="*/ 2794000 w 3505200"/>
              <a:gd name="connsiteY159" fmla="*/ 2621280 h 8260080"/>
              <a:gd name="connsiteX160" fmla="*/ 2946400 w 3505200"/>
              <a:gd name="connsiteY160" fmla="*/ 2377440 h 8260080"/>
              <a:gd name="connsiteX161" fmla="*/ 2854960 w 3505200"/>
              <a:gd name="connsiteY161" fmla="*/ 2255520 h 8260080"/>
              <a:gd name="connsiteX162" fmla="*/ 3027680 w 3505200"/>
              <a:gd name="connsiteY162" fmla="*/ 2113280 h 8260080"/>
              <a:gd name="connsiteX163" fmla="*/ 3119120 w 3505200"/>
              <a:gd name="connsiteY163" fmla="*/ 2021840 h 8260080"/>
              <a:gd name="connsiteX164" fmla="*/ 3027680 w 3505200"/>
              <a:gd name="connsiteY164" fmla="*/ 1960880 h 8260080"/>
              <a:gd name="connsiteX165" fmla="*/ 3139440 w 3505200"/>
              <a:gd name="connsiteY165" fmla="*/ 1869440 h 8260080"/>
              <a:gd name="connsiteX166" fmla="*/ 3281680 w 3505200"/>
              <a:gd name="connsiteY166" fmla="*/ 1950720 h 8260080"/>
              <a:gd name="connsiteX167" fmla="*/ 3403600 w 3505200"/>
              <a:gd name="connsiteY167" fmla="*/ 1889760 h 8260080"/>
              <a:gd name="connsiteX168" fmla="*/ 3505200 w 3505200"/>
              <a:gd name="connsiteY168" fmla="*/ 1910080 h 8260080"/>
              <a:gd name="connsiteX169" fmla="*/ 3444240 w 3505200"/>
              <a:gd name="connsiteY169" fmla="*/ 1656080 h 8260080"/>
              <a:gd name="connsiteX170" fmla="*/ 3373120 w 3505200"/>
              <a:gd name="connsiteY170" fmla="*/ 1635760 h 8260080"/>
              <a:gd name="connsiteX171" fmla="*/ 3352800 w 3505200"/>
              <a:gd name="connsiteY171" fmla="*/ 1503680 h 8260080"/>
              <a:gd name="connsiteX172" fmla="*/ 3444240 w 3505200"/>
              <a:gd name="connsiteY172" fmla="*/ 1412240 h 8260080"/>
              <a:gd name="connsiteX173" fmla="*/ 3393440 w 3505200"/>
              <a:gd name="connsiteY173" fmla="*/ 1280160 h 8260080"/>
              <a:gd name="connsiteX174" fmla="*/ 3434080 w 3505200"/>
              <a:gd name="connsiteY174" fmla="*/ 1249680 h 8260080"/>
              <a:gd name="connsiteX175" fmla="*/ 3281680 w 3505200"/>
              <a:gd name="connsiteY175" fmla="*/ 1066800 h 8260080"/>
              <a:gd name="connsiteX176" fmla="*/ 3383280 w 3505200"/>
              <a:gd name="connsiteY176" fmla="*/ 975360 h 8260080"/>
              <a:gd name="connsiteX177" fmla="*/ 3302000 w 3505200"/>
              <a:gd name="connsiteY177" fmla="*/ 924560 h 8260080"/>
              <a:gd name="connsiteX178" fmla="*/ 3190240 w 3505200"/>
              <a:gd name="connsiteY178" fmla="*/ 944880 h 8260080"/>
              <a:gd name="connsiteX179" fmla="*/ 3281680 w 3505200"/>
              <a:gd name="connsiteY179" fmla="*/ 792480 h 8260080"/>
              <a:gd name="connsiteX180" fmla="*/ 3210560 w 3505200"/>
              <a:gd name="connsiteY180" fmla="*/ 650240 h 8260080"/>
              <a:gd name="connsiteX181" fmla="*/ 3302000 w 3505200"/>
              <a:gd name="connsiteY181" fmla="*/ 568960 h 8260080"/>
              <a:gd name="connsiteX182" fmla="*/ 3190240 w 3505200"/>
              <a:gd name="connsiteY182" fmla="*/ 487680 h 8260080"/>
              <a:gd name="connsiteX183" fmla="*/ 3108960 w 3505200"/>
              <a:gd name="connsiteY183" fmla="*/ 528320 h 8260080"/>
              <a:gd name="connsiteX184" fmla="*/ 3108960 w 3505200"/>
              <a:gd name="connsiteY184" fmla="*/ 406400 h 8260080"/>
              <a:gd name="connsiteX185" fmla="*/ 2926080 w 3505200"/>
              <a:gd name="connsiteY185" fmla="*/ 314960 h 8260080"/>
              <a:gd name="connsiteX186" fmla="*/ 2834640 w 3505200"/>
              <a:gd name="connsiteY186" fmla="*/ 355600 h 8260080"/>
              <a:gd name="connsiteX187" fmla="*/ 2682240 w 3505200"/>
              <a:gd name="connsiteY187" fmla="*/ 111760 h 8260080"/>
              <a:gd name="connsiteX188" fmla="*/ 2590800 w 3505200"/>
              <a:gd name="connsiteY188" fmla="*/ 121920 h 8260080"/>
              <a:gd name="connsiteX189" fmla="*/ 2611120 w 3505200"/>
              <a:gd name="connsiteY189" fmla="*/ 0 h 8260080"/>
              <a:gd name="connsiteX190" fmla="*/ 2438400 w 3505200"/>
              <a:gd name="connsiteY19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190574 w 3505200"/>
              <a:gd name="connsiteY70" fmla="*/ 6693346 h 8260080"/>
              <a:gd name="connsiteX71" fmla="*/ 150019 w 3505200"/>
              <a:gd name="connsiteY71" fmla="*/ 6767195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0019 w 3505200"/>
              <a:gd name="connsiteY71" fmla="*/ 6767195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0019 w 3505200"/>
              <a:gd name="connsiteY71" fmla="*/ 6767195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0019 w 3505200"/>
              <a:gd name="connsiteY71" fmla="*/ 6767195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7163 w 3505200"/>
              <a:gd name="connsiteY71" fmla="*/ 6779101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26536 w 3505200"/>
              <a:gd name="connsiteY72" fmla="*/ 6973887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26536 w 3505200"/>
              <a:gd name="connsiteY72" fmla="*/ 6973887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56077 w 3505200"/>
              <a:gd name="connsiteY76" fmla="*/ 7270909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56077 w 3505200"/>
              <a:gd name="connsiteY76" fmla="*/ 7270909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56077 w 3505200"/>
              <a:gd name="connsiteY76" fmla="*/ 7270909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282892 w 3505200"/>
              <a:gd name="connsiteY75" fmla="*/ 7300436 h 8260080"/>
              <a:gd name="connsiteX76" fmla="*/ 356077 w 3505200"/>
              <a:gd name="connsiteY76" fmla="*/ 7270909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282892 w 3505200"/>
              <a:gd name="connsiteY75" fmla="*/ 7300436 h 8260080"/>
              <a:gd name="connsiteX76" fmla="*/ 334645 w 3505200"/>
              <a:gd name="connsiteY76" fmla="*/ 7194709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282892 w 3505200"/>
              <a:gd name="connsiteY75" fmla="*/ 7300436 h 8260080"/>
              <a:gd name="connsiteX76" fmla="*/ 334645 w 3505200"/>
              <a:gd name="connsiteY76" fmla="*/ 7194709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282892 w 3505200"/>
              <a:gd name="connsiteY75" fmla="*/ 7300436 h 8260080"/>
              <a:gd name="connsiteX76" fmla="*/ 334645 w 3505200"/>
              <a:gd name="connsiteY76" fmla="*/ 7194709 h 8260080"/>
              <a:gd name="connsiteX77" fmla="*/ 337026 w 3505200"/>
              <a:gd name="connsiteY77" fmla="*/ 7316154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282892 w 3505200"/>
              <a:gd name="connsiteY75" fmla="*/ 7300436 h 8260080"/>
              <a:gd name="connsiteX76" fmla="*/ 334645 w 3505200"/>
              <a:gd name="connsiteY76" fmla="*/ 7194709 h 8260080"/>
              <a:gd name="connsiteX77" fmla="*/ 354881 w 3505200"/>
              <a:gd name="connsiteY77" fmla="*/ 7257702 h 8260080"/>
              <a:gd name="connsiteX78" fmla="*/ 337026 w 3505200"/>
              <a:gd name="connsiteY78" fmla="*/ 7316154 h 8260080"/>
              <a:gd name="connsiteX79" fmla="*/ 370364 w 3505200"/>
              <a:gd name="connsiteY79" fmla="*/ 7360602 h 8260080"/>
              <a:gd name="connsiteX80" fmla="*/ 447040 w 3505200"/>
              <a:gd name="connsiteY80" fmla="*/ 7366000 h 8260080"/>
              <a:gd name="connsiteX81" fmla="*/ 447040 w 3505200"/>
              <a:gd name="connsiteY81" fmla="*/ 7477760 h 8260080"/>
              <a:gd name="connsiteX82" fmla="*/ 558800 w 3505200"/>
              <a:gd name="connsiteY82" fmla="*/ 7528560 h 8260080"/>
              <a:gd name="connsiteX83" fmla="*/ 508000 w 3505200"/>
              <a:gd name="connsiteY83" fmla="*/ 7630160 h 8260080"/>
              <a:gd name="connsiteX84" fmla="*/ 436880 w 3505200"/>
              <a:gd name="connsiteY84" fmla="*/ 7609840 h 8260080"/>
              <a:gd name="connsiteX85" fmla="*/ 447040 w 3505200"/>
              <a:gd name="connsiteY85" fmla="*/ 7691120 h 8260080"/>
              <a:gd name="connsiteX86" fmla="*/ 518160 w 3505200"/>
              <a:gd name="connsiteY86" fmla="*/ 7741920 h 8260080"/>
              <a:gd name="connsiteX87" fmla="*/ 457200 w 3505200"/>
              <a:gd name="connsiteY87" fmla="*/ 7792720 h 8260080"/>
              <a:gd name="connsiteX88" fmla="*/ 396240 w 3505200"/>
              <a:gd name="connsiteY88" fmla="*/ 7701280 h 8260080"/>
              <a:gd name="connsiteX89" fmla="*/ 396240 w 3505200"/>
              <a:gd name="connsiteY89" fmla="*/ 7701280 h 8260080"/>
              <a:gd name="connsiteX90" fmla="*/ 436880 w 3505200"/>
              <a:gd name="connsiteY90" fmla="*/ 7874000 h 8260080"/>
              <a:gd name="connsiteX91" fmla="*/ 436880 w 3505200"/>
              <a:gd name="connsiteY91" fmla="*/ 7924800 h 8260080"/>
              <a:gd name="connsiteX92" fmla="*/ 548640 w 3505200"/>
              <a:gd name="connsiteY92" fmla="*/ 7965440 h 8260080"/>
              <a:gd name="connsiteX93" fmla="*/ 508000 w 3505200"/>
              <a:gd name="connsiteY93" fmla="*/ 8016240 h 8260080"/>
              <a:gd name="connsiteX94" fmla="*/ 589280 w 3505200"/>
              <a:gd name="connsiteY94" fmla="*/ 8056880 h 8260080"/>
              <a:gd name="connsiteX95" fmla="*/ 497840 w 3505200"/>
              <a:gd name="connsiteY95" fmla="*/ 8117840 h 8260080"/>
              <a:gd name="connsiteX96" fmla="*/ 518160 w 3505200"/>
              <a:gd name="connsiteY96" fmla="*/ 8209280 h 8260080"/>
              <a:gd name="connsiteX97" fmla="*/ 640080 w 3505200"/>
              <a:gd name="connsiteY97" fmla="*/ 8260080 h 8260080"/>
              <a:gd name="connsiteX98" fmla="*/ 731520 w 3505200"/>
              <a:gd name="connsiteY98" fmla="*/ 8219440 h 8260080"/>
              <a:gd name="connsiteX99" fmla="*/ 853440 w 3505200"/>
              <a:gd name="connsiteY99" fmla="*/ 8209280 h 8260080"/>
              <a:gd name="connsiteX100" fmla="*/ 955040 w 3505200"/>
              <a:gd name="connsiteY100" fmla="*/ 8260080 h 8260080"/>
              <a:gd name="connsiteX101" fmla="*/ 965200 w 3505200"/>
              <a:gd name="connsiteY101" fmla="*/ 8107680 h 8260080"/>
              <a:gd name="connsiteX102" fmla="*/ 894080 w 3505200"/>
              <a:gd name="connsiteY102" fmla="*/ 8026400 h 8260080"/>
              <a:gd name="connsiteX103" fmla="*/ 1016000 w 3505200"/>
              <a:gd name="connsiteY103" fmla="*/ 7863840 h 8260080"/>
              <a:gd name="connsiteX104" fmla="*/ 1107440 w 3505200"/>
              <a:gd name="connsiteY104" fmla="*/ 7894320 h 8260080"/>
              <a:gd name="connsiteX105" fmla="*/ 1127760 w 3505200"/>
              <a:gd name="connsiteY105" fmla="*/ 7853680 h 8260080"/>
              <a:gd name="connsiteX106" fmla="*/ 1066800 w 3505200"/>
              <a:gd name="connsiteY106" fmla="*/ 7813040 h 8260080"/>
              <a:gd name="connsiteX107" fmla="*/ 1137920 w 3505200"/>
              <a:gd name="connsiteY107" fmla="*/ 7762240 h 8260080"/>
              <a:gd name="connsiteX108" fmla="*/ 1330960 w 3505200"/>
              <a:gd name="connsiteY108" fmla="*/ 7802880 h 8260080"/>
              <a:gd name="connsiteX109" fmla="*/ 1361440 w 3505200"/>
              <a:gd name="connsiteY109" fmla="*/ 7772400 h 8260080"/>
              <a:gd name="connsiteX110" fmla="*/ 1483360 w 3505200"/>
              <a:gd name="connsiteY110" fmla="*/ 7823200 h 8260080"/>
              <a:gd name="connsiteX111" fmla="*/ 1554480 w 3505200"/>
              <a:gd name="connsiteY111" fmla="*/ 7731760 h 8260080"/>
              <a:gd name="connsiteX112" fmla="*/ 1524000 w 3505200"/>
              <a:gd name="connsiteY112" fmla="*/ 7640320 h 8260080"/>
              <a:gd name="connsiteX113" fmla="*/ 1645920 w 3505200"/>
              <a:gd name="connsiteY113" fmla="*/ 7437120 h 8260080"/>
              <a:gd name="connsiteX114" fmla="*/ 1635760 w 3505200"/>
              <a:gd name="connsiteY114" fmla="*/ 7335520 h 8260080"/>
              <a:gd name="connsiteX115" fmla="*/ 1696720 w 3505200"/>
              <a:gd name="connsiteY115" fmla="*/ 7223760 h 8260080"/>
              <a:gd name="connsiteX116" fmla="*/ 1625600 w 3505200"/>
              <a:gd name="connsiteY116" fmla="*/ 7172960 h 8260080"/>
              <a:gd name="connsiteX117" fmla="*/ 1747520 w 3505200"/>
              <a:gd name="connsiteY117" fmla="*/ 6990080 h 8260080"/>
              <a:gd name="connsiteX118" fmla="*/ 1666240 w 3505200"/>
              <a:gd name="connsiteY118" fmla="*/ 6939280 h 8260080"/>
              <a:gd name="connsiteX119" fmla="*/ 1737360 w 3505200"/>
              <a:gd name="connsiteY119" fmla="*/ 6888480 h 8260080"/>
              <a:gd name="connsiteX120" fmla="*/ 1645920 w 3505200"/>
              <a:gd name="connsiteY120" fmla="*/ 6776720 h 8260080"/>
              <a:gd name="connsiteX121" fmla="*/ 1808480 w 3505200"/>
              <a:gd name="connsiteY121" fmla="*/ 6715760 h 8260080"/>
              <a:gd name="connsiteX122" fmla="*/ 1727200 w 3505200"/>
              <a:gd name="connsiteY122" fmla="*/ 6614160 h 8260080"/>
              <a:gd name="connsiteX123" fmla="*/ 1686560 w 3505200"/>
              <a:gd name="connsiteY123" fmla="*/ 6421120 h 8260080"/>
              <a:gd name="connsiteX124" fmla="*/ 1889760 w 3505200"/>
              <a:gd name="connsiteY124" fmla="*/ 6299200 h 8260080"/>
              <a:gd name="connsiteX125" fmla="*/ 1940560 w 3505200"/>
              <a:gd name="connsiteY125" fmla="*/ 6228080 h 8260080"/>
              <a:gd name="connsiteX126" fmla="*/ 2032000 w 3505200"/>
              <a:gd name="connsiteY126" fmla="*/ 6136640 h 8260080"/>
              <a:gd name="connsiteX127" fmla="*/ 2011680 w 3505200"/>
              <a:gd name="connsiteY127" fmla="*/ 6014720 h 8260080"/>
              <a:gd name="connsiteX128" fmla="*/ 2123440 w 3505200"/>
              <a:gd name="connsiteY128" fmla="*/ 6065520 h 8260080"/>
              <a:gd name="connsiteX129" fmla="*/ 2092960 w 3505200"/>
              <a:gd name="connsiteY129" fmla="*/ 6167120 h 8260080"/>
              <a:gd name="connsiteX130" fmla="*/ 2286000 w 3505200"/>
              <a:gd name="connsiteY130" fmla="*/ 5933440 h 8260080"/>
              <a:gd name="connsiteX131" fmla="*/ 2255520 w 3505200"/>
              <a:gd name="connsiteY131" fmla="*/ 5801360 h 8260080"/>
              <a:gd name="connsiteX132" fmla="*/ 2448560 w 3505200"/>
              <a:gd name="connsiteY132" fmla="*/ 5598160 h 8260080"/>
              <a:gd name="connsiteX133" fmla="*/ 2357120 w 3505200"/>
              <a:gd name="connsiteY133" fmla="*/ 5435600 h 8260080"/>
              <a:gd name="connsiteX134" fmla="*/ 2225040 w 3505200"/>
              <a:gd name="connsiteY134" fmla="*/ 5415280 h 8260080"/>
              <a:gd name="connsiteX135" fmla="*/ 2103120 w 3505200"/>
              <a:gd name="connsiteY135" fmla="*/ 5222240 h 8260080"/>
              <a:gd name="connsiteX136" fmla="*/ 2092960 w 3505200"/>
              <a:gd name="connsiteY136" fmla="*/ 5110480 h 8260080"/>
              <a:gd name="connsiteX137" fmla="*/ 2052320 w 3505200"/>
              <a:gd name="connsiteY137" fmla="*/ 5151120 h 8260080"/>
              <a:gd name="connsiteX138" fmla="*/ 2042160 w 3505200"/>
              <a:gd name="connsiteY138" fmla="*/ 5242560 h 8260080"/>
              <a:gd name="connsiteX139" fmla="*/ 1981200 w 3505200"/>
              <a:gd name="connsiteY139" fmla="*/ 5191760 h 8260080"/>
              <a:gd name="connsiteX140" fmla="*/ 2011680 w 3505200"/>
              <a:gd name="connsiteY140" fmla="*/ 5120640 h 8260080"/>
              <a:gd name="connsiteX141" fmla="*/ 1930400 w 3505200"/>
              <a:gd name="connsiteY141" fmla="*/ 5100320 h 8260080"/>
              <a:gd name="connsiteX142" fmla="*/ 1859280 w 3505200"/>
              <a:gd name="connsiteY142" fmla="*/ 4917440 h 8260080"/>
              <a:gd name="connsiteX143" fmla="*/ 1828800 w 3505200"/>
              <a:gd name="connsiteY143" fmla="*/ 4622800 h 8260080"/>
              <a:gd name="connsiteX144" fmla="*/ 1910080 w 3505200"/>
              <a:gd name="connsiteY144" fmla="*/ 4419600 h 8260080"/>
              <a:gd name="connsiteX145" fmla="*/ 1920240 w 3505200"/>
              <a:gd name="connsiteY145" fmla="*/ 4277360 h 8260080"/>
              <a:gd name="connsiteX146" fmla="*/ 1971040 w 3505200"/>
              <a:gd name="connsiteY146" fmla="*/ 4124960 h 8260080"/>
              <a:gd name="connsiteX147" fmla="*/ 1879600 w 3505200"/>
              <a:gd name="connsiteY147" fmla="*/ 4023360 h 8260080"/>
              <a:gd name="connsiteX148" fmla="*/ 2072640 w 3505200"/>
              <a:gd name="connsiteY148" fmla="*/ 4003040 h 8260080"/>
              <a:gd name="connsiteX149" fmla="*/ 2092960 w 3505200"/>
              <a:gd name="connsiteY149" fmla="*/ 3850640 h 8260080"/>
              <a:gd name="connsiteX150" fmla="*/ 2001520 w 3505200"/>
              <a:gd name="connsiteY150" fmla="*/ 3728720 h 8260080"/>
              <a:gd name="connsiteX151" fmla="*/ 2164080 w 3505200"/>
              <a:gd name="connsiteY151" fmla="*/ 3769360 h 8260080"/>
              <a:gd name="connsiteX152" fmla="*/ 2265680 w 3505200"/>
              <a:gd name="connsiteY152" fmla="*/ 3566160 h 8260080"/>
              <a:gd name="connsiteX153" fmla="*/ 2336800 w 3505200"/>
              <a:gd name="connsiteY153" fmla="*/ 3515360 h 8260080"/>
              <a:gd name="connsiteX154" fmla="*/ 2367280 w 3505200"/>
              <a:gd name="connsiteY154" fmla="*/ 3362960 h 8260080"/>
              <a:gd name="connsiteX155" fmla="*/ 2489200 w 3505200"/>
              <a:gd name="connsiteY155" fmla="*/ 3423920 h 8260080"/>
              <a:gd name="connsiteX156" fmla="*/ 2560320 w 3505200"/>
              <a:gd name="connsiteY156" fmla="*/ 3302000 h 8260080"/>
              <a:gd name="connsiteX157" fmla="*/ 2743200 w 3505200"/>
              <a:gd name="connsiteY157" fmla="*/ 3149600 h 8260080"/>
              <a:gd name="connsiteX158" fmla="*/ 2844800 w 3505200"/>
              <a:gd name="connsiteY158" fmla="*/ 3088640 h 8260080"/>
              <a:gd name="connsiteX159" fmla="*/ 2804160 w 3505200"/>
              <a:gd name="connsiteY159" fmla="*/ 2966720 h 8260080"/>
              <a:gd name="connsiteX160" fmla="*/ 2976880 w 3505200"/>
              <a:gd name="connsiteY160" fmla="*/ 2763520 h 8260080"/>
              <a:gd name="connsiteX161" fmla="*/ 2794000 w 3505200"/>
              <a:gd name="connsiteY161" fmla="*/ 2621280 h 8260080"/>
              <a:gd name="connsiteX162" fmla="*/ 2946400 w 3505200"/>
              <a:gd name="connsiteY162" fmla="*/ 2377440 h 8260080"/>
              <a:gd name="connsiteX163" fmla="*/ 2854960 w 3505200"/>
              <a:gd name="connsiteY163" fmla="*/ 2255520 h 8260080"/>
              <a:gd name="connsiteX164" fmla="*/ 3027680 w 3505200"/>
              <a:gd name="connsiteY164" fmla="*/ 2113280 h 8260080"/>
              <a:gd name="connsiteX165" fmla="*/ 3119120 w 3505200"/>
              <a:gd name="connsiteY165" fmla="*/ 2021840 h 8260080"/>
              <a:gd name="connsiteX166" fmla="*/ 3027680 w 3505200"/>
              <a:gd name="connsiteY166" fmla="*/ 1960880 h 8260080"/>
              <a:gd name="connsiteX167" fmla="*/ 3139440 w 3505200"/>
              <a:gd name="connsiteY167" fmla="*/ 1869440 h 8260080"/>
              <a:gd name="connsiteX168" fmla="*/ 3281680 w 3505200"/>
              <a:gd name="connsiteY168" fmla="*/ 1950720 h 8260080"/>
              <a:gd name="connsiteX169" fmla="*/ 3403600 w 3505200"/>
              <a:gd name="connsiteY169" fmla="*/ 1889760 h 8260080"/>
              <a:gd name="connsiteX170" fmla="*/ 3505200 w 3505200"/>
              <a:gd name="connsiteY170" fmla="*/ 1910080 h 8260080"/>
              <a:gd name="connsiteX171" fmla="*/ 3444240 w 3505200"/>
              <a:gd name="connsiteY171" fmla="*/ 1656080 h 8260080"/>
              <a:gd name="connsiteX172" fmla="*/ 3373120 w 3505200"/>
              <a:gd name="connsiteY172" fmla="*/ 1635760 h 8260080"/>
              <a:gd name="connsiteX173" fmla="*/ 3352800 w 3505200"/>
              <a:gd name="connsiteY173" fmla="*/ 1503680 h 8260080"/>
              <a:gd name="connsiteX174" fmla="*/ 3444240 w 3505200"/>
              <a:gd name="connsiteY174" fmla="*/ 1412240 h 8260080"/>
              <a:gd name="connsiteX175" fmla="*/ 3393440 w 3505200"/>
              <a:gd name="connsiteY175" fmla="*/ 1280160 h 8260080"/>
              <a:gd name="connsiteX176" fmla="*/ 3434080 w 3505200"/>
              <a:gd name="connsiteY176" fmla="*/ 1249680 h 8260080"/>
              <a:gd name="connsiteX177" fmla="*/ 3281680 w 3505200"/>
              <a:gd name="connsiteY177" fmla="*/ 1066800 h 8260080"/>
              <a:gd name="connsiteX178" fmla="*/ 3383280 w 3505200"/>
              <a:gd name="connsiteY178" fmla="*/ 975360 h 8260080"/>
              <a:gd name="connsiteX179" fmla="*/ 3302000 w 3505200"/>
              <a:gd name="connsiteY179" fmla="*/ 924560 h 8260080"/>
              <a:gd name="connsiteX180" fmla="*/ 3190240 w 3505200"/>
              <a:gd name="connsiteY180" fmla="*/ 944880 h 8260080"/>
              <a:gd name="connsiteX181" fmla="*/ 3281680 w 3505200"/>
              <a:gd name="connsiteY181" fmla="*/ 792480 h 8260080"/>
              <a:gd name="connsiteX182" fmla="*/ 3210560 w 3505200"/>
              <a:gd name="connsiteY182" fmla="*/ 650240 h 8260080"/>
              <a:gd name="connsiteX183" fmla="*/ 3302000 w 3505200"/>
              <a:gd name="connsiteY183" fmla="*/ 568960 h 8260080"/>
              <a:gd name="connsiteX184" fmla="*/ 3190240 w 3505200"/>
              <a:gd name="connsiteY184" fmla="*/ 487680 h 8260080"/>
              <a:gd name="connsiteX185" fmla="*/ 3108960 w 3505200"/>
              <a:gd name="connsiteY185" fmla="*/ 528320 h 8260080"/>
              <a:gd name="connsiteX186" fmla="*/ 3108960 w 3505200"/>
              <a:gd name="connsiteY186" fmla="*/ 406400 h 8260080"/>
              <a:gd name="connsiteX187" fmla="*/ 2926080 w 3505200"/>
              <a:gd name="connsiteY187" fmla="*/ 314960 h 8260080"/>
              <a:gd name="connsiteX188" fmla="*/ 2834640 w 3505200"/>
              <a:gd name="connsiteY188" fmla="*/ 355600 h 8260080"/>
              <a:gd name="connsiteX189" fmla="*/ 2682240 w 3505200"/>
              <a:gd name="connsiteY189" fmla="*/ 111760 h 8260080"/>
              <a:gd name="connsiteX190" fmla="*/ 2590800 w 3505200"/>
              <a:gd name="connsiteY190" fmla="*/ 121920 h 8260080"/>
              <a:gd name="connsiteX191" fmla="*/ 2611120 w 3505200"/>
              <a:gd name="connsiteY191" fmla="*/ 0 h 8260080"/>
              <a:gd name="connsiteX192" fmla="*/ 2438400 w 3505200"/>
              <a:gd name="connsiteY19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9624 w 3505200"/>
              <a:gd name="connsiteY70" fmla="*/ 6602858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9624 w 3505200"/>
              <a:gd name="connsiteY70" fmla="*/ 6602858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38112 w 3505200"/>
              <a:gd name="connsiteY71" fmla="*/ 6767194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38112 w 3505200"/>
              <a:gd name="connsiteY71" fmla="*/ 6767194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38112 w 3505200"/>
              <a:gd name="connsiteY72" fmla="*/ 6767194 h 8260080"/>
              <a:gd name="connsiteX73" fmla="*/ 233679 w 3505200"/>
              <a:gd name="connsiteY73" fmla="*/ 6971505 h 8260080"/>
              <a:gd name="connsiteX74" fmla="*/ 271463 w 3505200"/>
              <a:gd name="connsiteY74" fmla="*/ 7030085 h 8260080"/>
              <a:gd name="connsiteX75" fmla="*/ 280829 w 3505200"/>
              <a:gd name="connsiteY75" fmla="*/ 7148354 h 8260080"/>
              <a:gd name="connsiteX76" fmla="*/ 242962 w 3505200"/>
              <a:gd name="connsiteY76" fmla="*/ 7226746 h 8260080"/>
              <a:gd name="connsiteX77" fmla="*/ 282892 w 3505200"/>
              <a:gd name="connsiteY77" fmla="*/ 7300436 h 8260080"/>
              <a:gd name="connsiteX78" fmla="*/ 334645 w 3505200"/>
              <a:gd name="connsiteY78" fmla="*/ 7194709 h 8260080"/>
              <a:gd name="connsiteX79" fmla="*/ 354881 w 3505200"/>
              <a:gd name="connsiteY79" fmla="*/ 7257702 h 8260080"/>
              <a:gd name="connsiteX80" fmla="*/ 337026 w 3505200"/>
              <a:gd name="connsiteY80" fmla="*/ 7316154 h 8260080"/>
              <a:gd name="connsiteX81" fmla="*/ 370364 w 3505200"/>
              <a:gd name="connsiteY81" fmla="*/ 7360602 h 8260080"/>
              <a:gd name="connsiteX82" fmla="*/ 447040 w 3505200"/>
              <a:gd name="connsiteY82" fmla="*/ 7366000 h 8260080"/>
              <a:gd name="connsiteX83" fmla="*/ 447040 w 3505200"/>
              <a:gd name="connsiteY83" fmla="*/ 7477760 h 8260080"/>
              <a:gd name="connsiteX84" fmla="*/ 558800 w 3505200"/>
              <a:gd name="connsiteY84" fmla="*/ 7528560 h 8260080"/>
              <a:gd name="connsiteX85" fmla="*/ 508000 w 3505200"/>
              <a:gd name="connsiteY85" fmla="*/ 7630160 h 8260080"/>
              <a:gd name="connsiteX86" fmla="*/ 436880 w 3505200"/>
              <a:gd name="connsiteY86" fmla="*/ 7609840 h 8260080"/>
              <a:gd name="connsiteX87" fmla="*/ 447040 w 3505200"/>
              <a:gd name="connsiteY87" fmla="*/ 7691120 h 8260080"/>
              <a:gd name="connsiteX88" fmla="*/ 518160 w 3505200"/>
              <a:gd name="connsiteY88" fmla="*/ 7741920 h 8260080"/>
              <a:gd name="connsiteX89" fmla="*/ 457200 w 3505200"/>
              <a:gd name="connsiteY89" fmla="*/ 7792720 h 8260080"/>
              <a:gd name="connsiteX90" fmla="*/ 396240 w 3505200"/>
              <a:gd name="connsiteY90" fmla="*/ 7701280 h 8260080"/>
              <a:gd name="connsiteX91" fmla="*/ 396240 w 3505200"/>
              <a:gd name="connsiteY91" fmla="*/ 7701280 h 8260080"/>
              <a:gd name="connsiteX92" fmla="*/ 436880 w 3505200"/>
              <a:gd name="connsiteY92" fmla="*/ 7874000 h 8260080"/>
              <a:gd name="connsiteX93" fmla="*/ 436880 w 3505200"/>
              <a:gd name="connsiteY93" fmla="*/ 7924800 h 8260080"/>
              <a:gd name="connsiteX94" fmla="*/ 548640 w 3505200"/>
              <a:gd name="connsiteY94" fmla="*/ 7965440 h 8260080"/>
              <a:gd name="connsiteX95" fmla="*/ 508000 w 3505200"/>
              <a:gd name="connsiteY95" fmla="*/ 8016240 h 8260080"/>
              <a:gd name="connsiteX96" fmla="*/ 589280 w 3505200"/>
              <a:gd name="connsiteY96" fmla="*/ 8056880 h 8260080"/>
              <a:gd name="connsiteX97" fmla="*/ 497840 w 3505200"/>
              <a:gd name="connsiteY97" fmla="*/ 8117840 h 8260080"/>
              <a:gd name="connsiteX98" fmla="*/ 518160 w 3505200"/>
              <a:gd name="connsiteY98" fmla="*/ 8209280 h 8260080"/>
              <a:gd name="connsiteX99" fmla="*/ 640080 w 3505200"/>
              <a:gd name="connsiteY99" fmla="*/ 8260080 h 8260080"/>
              <a:gd name="connsiteX100" fmla="*/ 731520 w 3505200"/>
              <a:gd name="connsiteY100" fmla="*/ 8219440 h 8260080"/>
              <a:gd name="connsiteX101" fmla="*/ 853440 w 3505200"/>
              <a:gd name="connsiteY101" fmla="*/ 8209280 h 8260080"/>
              <a:gd name="connsiteX102" fmla="*/ 955040 w 3505200"/>
              <a:gd name="connsiteY102" fmla="*/ 8260080 h 8260080"/>
              <a:gd name="connsiteX103" fmla="*/ 965200 w 3505200"/>
              <a:gd name="connsiteY103" fmla="*/ 8107680 h 8260080"/>
              <a:gd name="connsiteX104" fmla="*/ 894080 w 3505200"/>
              <a:gd name="connsiteY104" fmla="*/ 8026400 h 8260080"/>
              <a:gd name="connsiteX105" fmla="*/ 1016000 w 3505200"/>
              <a:gd name="connsiteY105" fmla="*/ 7863840 h 8260080"/>
              <a:gd name="connsiteX106" fmla="*/ 1107440 w 3505200"/>
              <a:gd name="connsiteY106" fmla="*/ 7894320 h 8260080"/>
              <a:gd name="connsiteX107" fmla="*/ 1127760 w 3505200"/>
              <a:gd name="connsiteY107" fmla="*/ 7853680 h 8260080"/>
              <a:gd name="connsiteX108" fmla="*/ 1066800 w 3505200"/>
              <a:gd name="connsiteY108" fmla="*/ 7813040 h 8260080"/>
              <a:gd name="connsiteX109" fmla="*/ 1137920 w 3505200"/>
              <a:gd name="connsiteY109" fmla="*/ 7762240 h 8260080"/>
              <a:gd name="connsiteX110" fmla="*/ 1330960 w 3505200"/>
              <a:gd name="connsiteY110" fmla="*/ 7802880 h 8260080"/>
              <a:gd name="connsiteX111" fmla="*/ 1361440 w 3505200"/>
              <a:gd name="connsiteY111" fmla="*/ 7772400 h 8260080"/>
              <a:gd name="connsiteX112" fmla="*/ 1483360 w 3505200"/>
              <a:gd name="connsiteY112" fmla="*/ 7823200 h 8260080"/>
              <a:gd name="connsiteX113" fmla="*/ 1554480 w 3505200"/>
              <a:gd name="connsiteY113" fmla="*/ 7731760 h 8260080"/>
              <a:gd name="connsiteX114" fmla="*/ 1524000 w 3505200"/>
              <a:gd name="connsiteY114" fmla="*/ 7640320 h 8260080"/>
              <a:gd name="connsiteX115" fmla="*/ 1645920 w 3505200"/>
              <a:gd name="connsiteY115" fmla="*/ 7437120 h 8260080"/>
              <a:gd name="connsiteX116" fmla="*/ 1635760 w 3505200"/>
              <a:gd name="connsiteY116" fmla="*/ 7335520 h 8260080"/>
              <a:gd name="connsiteX117" fmla="*/ 1696720 w 3505200"/>
              <a:gd name="connsiteY117" fmla="*/ 7223760 h 8260080"/>
              <a:gd name="connsiteX118" fmla="*/ 1625600 w 3505200"/>
              <a:gd name="connsiteY118" fmla="*/ 7172960 h 8260080"/>
              <a:gd name="connsiteX119" fmla="*/ 1747520 w 3505200"/>
              <a:gd name="connsiteY119" fmla="*/ 6990080 h 8260080"/>
              <a:gd name="connsiteX120" fmla="*/ 1666240 w 3505200"/>
              <a:gd name="connsiteY120" fmla="*/ 6939280 h 8260080"/>
              <a:gd name="connsiteX121" fmla="*/ 1737360 w 3505200"/>
              <a:gd name="connsiteY121" fmla="*/ 6888480 h 8260080"/>
              <a:gd name="connsiteX122" fmla="*/ 1645920 w 3505200"/>
              <a:gd name="connsiteY122" fmla="*/ 6776720 h 8260080"/>
              <a:gd name="connsiteX123" fmla="*/ 1808480 w 3505200"/>
              <a:gd name="connsiteY123" fmla="*/ 6715760 h 8260080"/>
              <a:gd name="connsiteX124" fmla="*/ 1727200 w 3505200"/>
              <a:gd name="connsiteY124" fmla="*/ 6614160 h 8260080"/>
              <a:gd name="connsiteX125" fmla="*/ 1686560 w 3505200"/>
              <a:gd name="connsiteY125" fmla="*/ 6421120 h 8260080"/>
              <a:gd name="connsiteX126" fmla="*/ 1889760 w 3505200"/>
              <a:gd name="connsiteY126" fmla="*/ 6299200 h 8260080"/>
              <a:gd name="connsiteX127" fmla="*/ 1940560 w 3505200"/>
              <a:gd name="connsiteY127" fmla="*/ 6228080 h 8260080"/>
              <a:gd name="connsiteX128" fmla="*/ 2032000 w 3505200"/>
              <a:gd name="connsiteY128" fmla="*/ 6136640 h 8260080"/>
              <a:gd name="connsiteX129" fmla="*/ 2011680 w 3505200"/>
              <a:gd name="connsiteY129" fmla="*/ 6014720 h 8260080"/>
              <a:gd name="connsiteX130" fmla="*/ 2123440 w 3505200"/>
              <a:gd name="connsiteY130" fmla="*/ 6065520 h 8260080"/>
              <a:gd name="connsiteX131" fmla="*/ 2092960 w 3505200"/>
              <a:gd name="connsiteY131" fmla="*/ 6167120 h 8260080"/>
              <a:gd name="connsiteX132" fmla="*/ 2286000 w 3505200"/>
              <a:gd name="connsiteY132" fmla="*/ 5933440 h 8260080"/>
              <a:gd name="connsiteX133" fmla="*/ 2255520 w 3505200"/>
              <a:gd name="connsiteY133" fmla="*/ 5801360 h 8260080"/>
              <a:gd name="connsiteX134" fmla="*/ 2448560 w 3505200"/>
              <a:gd name="connsiteY134" fmla="*/ 5598160 h 8260080"/>
              <a:gd name="connsiteX135" fmla="*/ 2357120 w 3505200"/>
              <a:gd name="connsiteY135" fmla="*/ 5435600 h 8260080"/>
              <a:gd name="connsiteX136" fmla="*/ 2225040 w 3505200"/>
              <a:gd name="connsiteY136" fmla="*/ 5415280 h 8260080"/>
              <a:gd name="connsiteX137" fmla="*/ 2103120 w 3505200"/>
              <a:gd name="connsiteY137" fmla="*/ 5222240 h 8260080"/>
              <a:gd name="connsiteX138" fmla="*/ 2092960 w 3505200"/>
              <a:gd name="connsiteY138" fmla="*/ 5110480 h 8260080"/>
              <a:gd name="connsiteX139" fmla="*/ 2052320 w 3505200"/>
              <a:gd name="connsiteY139" fmla="*/ 5151120 h 8260080"/>
              <a:gd name="connsiteX140" fmla="*/ 2042160 w 3505200"/>
              <a:gd name="connsiteY140" fmla="*/ 5242560 h 8260080"/>
              <a:gd name="connsiteX141" fmla="*/ 1981200 w 3505200"/>
              <a:gd name="connsiteY141" fmla="*/ 5191760 h 8260080"/>
              <a:gd name="connsiteX142" fmla="*/ 2011680 w 3505200"/>
              <a:gd name="connsiteY142" fmla="*/ 5120640 h 8260080"/>
              <a:gd name="connsiteX143" fmla="*/ 1930400 w 3505200"/>
              <a:gd name="connsiteY143" fmla="*/ 5100320 h 8260080"/>
              <a:gd name="connsiteX144" fmla="*/ 1859280 w 3505200"/>
              <a:gd name="connsiteY144" fmla="*/ 4917440 h 8260080"/>
              <a:gd name="connsiteX145" fmla="*/ 1828800 w 3505200"/>
              <a:gd name="connsiteY145" fmla="*/ 4622800 h 8260080"/>
              <a:gd name="connsiteX146" fmla="*/ 1910080 w 3505200"/>
              <a:gd name="connsiteY146" fmla="*/ 4419600 h 8260080"/>
              <a:gd name="connsiteX147" fmla="*/ 1920240 w 3505200"/>
              <a:gd name="connsiteY147" fmla="*/ 4277360 h 8260080"/>
              <a:gd name="connsiteX148" fmla="*/ 1971040 w 3505200"/>
              <a:gd name="connsiteY148" fmla="*/ 4124960 h 8260080"/>
              <a:gd name="connsiteX149" fmla="*/ 1879600 w 3505200"/>
              <a:gd name="connsiteY149" fmla="*/ 4023360 h 8260080"/>
              <a:gd name="connsiteX150" fmla="*/ 2072640 w 3505200"/>
              <a:gd name="connsiteY150" fmla="*/ 4003040 h 8260080"/>
              <a:gd name="connsiteX151" fmla="*/ 2092960 w 3505200"/>
              <a:gd name="connsiteY151" fmla="*/ 3850640 h 8260080"/>
              <a:gd name="connsiteX152" fmla="*/ 2001520 w 3505200"/>
              <a:gd name="connsiteY152" fmla="*/ 3728720 h 8260080"/>
              <a:gd name="connsiteX153" fmla="*/ 2164080 w 3505200"/>
              <a:gd name="connsiteY153" fmla="*/ 3769360 h 8260080"/>
              <a:gd name="connsiteX154" fmla="*/ 2265680 w 3505200"/>
              <a:gd name="connsiteY154" fmla="*/ 3566160 h 8260080"/>
              <a:gd name="connsiteX155" fmla="*/ 2336800 w 3505200"/>
              <a:gd name="connsiteY155" fmla="*/ 3515360 h 8260080"/>
              <a:gd name="connsiteX156" fmla="*/ 2367280 w 3505200"/>
              <a:gd name="connsiteY156" fmla="*/ 3362960 h 8260080"/>
              <a:gd name="connsiteX157" fmla="*/ 2489200 w 3505200"/>
              <a:gd name="connsiteY157" fmla="*/ 3423920 h 8260080"/>
              <a:gd name="connsiteX158" fmla="*/ 2560320 w 3505200"/>
              <a:gd name="connsiteY158" fmla="*/ 3302000 h 8260080"/>
              <a:gd name="connsiteX159" fmla="*/ 2743200 w 3505200"/>
              <a:gd name="connsiteY159" fmla="*/ 3149600 h 8260080"/>
              <a:gd name="connsiteX160" fmla="*/ 2844800 w 3505200"/>
              <a:gd name="connsiteY160" fmla="*/ 3088640 h 8260080"/>
              <a:gd name="connsiteX161" fmla="*/ 2804160 w 3505200"/>
              <a:gd name="connsiteY161" fmla="*/ 2966720 h 8260080"/>
              <a:gd name="connsiteX162" fmla="*/ 2976880 w 3505200"/>
              <a:gd name="connsiteY162" fmla="*/ 2763520 h 8260080"/>
              <a:gd name="connsiteX163" fmla="*/ 2794000 w 3505200"/>
              <a:gd name="connsiteY163" fmla="*/ 2621280 h 8260080"/>
              <a:gd name="connsiteX164" fmla="*/ 2946400 w 3505200"/>
              <a:gd name="connsiteY164" fmla="*/ 2377440 h 8260080"/>
              <a:gd name="connsiteX165" fmla="*/ 2854960 w 3505200"/>
              <a:gd name="connsiteY165" fmla="*/ 2255520 h 8260080"/>
              <a:gd name="connsiteX166" fmla="*/ 3027680 w 3505200"/>
              <a:gd name="connsiteY166" fmla="*/ 2113280 h 8260080"/>
              <a:gd name="connsiteX167" fmla="*/ 3119120 w 3505200"/>
              <a:gd name="connsiteY167" fmla="*/ 2021840 h 8260080"/>
              <a:gd name="connsiteX168" fmla="*/ 3027680 w 3505200"/>
              <a:gd name="connsiteY168" fmla="*/ 1960880 h 8260080"/>
              <a:gd name="connsiteX169" fmla="*/ 3139440 w 3505200"/>
              <a:gd name="connsiteY169" fmla="*/ 1869440 h 8260080"/>
              <a:gd name="connsiteX170" fmla="*/ 3281680 w 3505200"/>
              <a:gd name="connsiteY170" fmla="*/ 1950720 h 8260080"/>
              <a:gd name="connsiteX171" fmla="*/ 3403600 w 3505200"/>
              <a:gd name="connsiteY171" fmla="*/ 1889760 h 8260080"/>
              <a:gd name="connsiteX172" fmla="*/ 3505200 w 3505200"/>
              <a:gd name="connsiteY172" fmla="*/ 1910080 h 8260080"/>
              <a:gd name="connsiteX173" fmla="*/ 3444240 w 3505200"/>
              <a:gd name="connsiteY173" fmla="*/ 1656080 h 8260080"/>
              <a:gd name="connsiteX174" fmla="*/ 3373120 w 3505200"/>
              <a:gd name="connsiteY174" fmla="*/ 1635760 h 8260080"/>
              <a:gd name="connsiteX175" fmla="*/ 3352800 w 3505200"/>
              <a:gd name="connsiteY175" fmla="*/ 1503680 h 8260080"/>
              <a:gd name="connsiteX176" fmla="*/ 3444240 w 3505200"/>
              <a:gd name="connsiteY176" fmla="*/ 1412240 h 8260080"/>
              <a:gd name="connsiteX177" fmla="*/ 3393440 w 3505200"/>
              <a:gd name="connsiteY177" fmla="*/ 1280160 h 8260080"/>
              <a:gd name="connsiteX178" fmla="*/ 3434080 w 3505200"/>
              <a:gd name="connsiteY178" fmla="*/ 1249680 h 8260080"/>
              <a:gd name="connsiteX179" fmla="*/ 3281680 w 3505200"/>
              <a:gd name="connsiteY179" fmla="*/ 1066800 h 8260080"/>
              <a:gd name="connsiteX180" fmla="*/ 3383280 w 3505200"/>
              <a:gd name="connsiteY180" fmla="*/ 975360 h 8260080"/>
              <a:gd name="connsiteX181" fmla="*/ 3302000 w 3505200"/>
              <a:gd name="connsiteY181" fmla="*/ 924560 h 8260080"/>
              <a:gd name="connsiteX182" fmla="*/ 3190240 w 3505200"/>
              <a:gd name="connsiteY182" fmla="*/ 944880 h 8260080"/>
              <a:gd name="connsiteX183" fmla="*/ 3281680 w 3505200"/>
              <a:gd name="connsiteY183" fmla="*/ 792480 h 8260080"/>
              <a:gd name="connsiteX184" fmla="*/ 3210560 w 3505200"/>
              <a:gd name="connsiteY184" fmla="*/ 650240 h 8260080"/>
              <a:gd name="connsiteX185" fmla="*/ 3302000 w 3505200"/>
              <a:gd name="connsiteY185" fmla="*/ 568960 h 8260080"/>
              <a:gd name="connsiteX186" fmla="*/ 3190240 w 3505200"/>
              <a:gd name="connsiteY186" fmla="*/ 487680 h 8260080"/>
              <a:gd name="connsiteX187" fmla="*/ 3108960 w 3505200"/>
              <a:gd name="connsiteY187" fmla="*/ 528320 h 8260080"/>
              <a:gd name="connsiteX188" fmla="*/ 3108960 w 3505200"/>
              <a:gd name="connsiteY188" fmla="*/ 406400 h 8260080"/>
              <a:gd name="connsiteX189" fmla="*/ 2926080 w 3505200"/>
              <a:gd name="connsiteY189" fmla="*/ 314960 h 8260080"/>
              <a:gd name="connsiteX190" fmla="*/ 2834640 w 3505200"/>
              <a:gd name="connsiteY190" fmla="*/ 355600 h 8260080"/>
              <a:gd name="connsiteX191" fmla="*/ 2682240 w 3505200"/>
              <a:gd name="connsiteY191" fmla="*/ 111760 h 8260080"/>
              <a:gd name="connsiteX192" fmla="*/ 2590800 w 3505200"/>
              <a:gd name="connsiteY192" fmla="*/ 121920 h 8260080"/>
              <a:gd name="connsiteX193" fmla="*/ 2611120 w 3505200"/>
              <a:gd name="connsiteY193" fmla="*/ 0 h 8260080"/>
              <a:gd name="connsiteX194" fmla="*/ 2438400 w 3505200"/>
              <a:gd name="connsiteY194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233679 w 3505200"/>
              <a:gd name="connsiteY74" fmla="*/ 6971505 h 8260080"/>
              <a:gd name="connsiteX75" fmla="*/ 271463 w 3505200"/>
              <a:gd name="connsiteY75" fmla="*/ 7030085 h 8260080"/>
              <a:gd name="connsiteX76" fmla="*/ 280829 w 3505200"/>
              <a:gd name="connsiteY76" fmla="*/ 7148354 h 8260080"/>
              <a:gd name="connsiteX77" fmla="*/ 242962 w 3505200"/>
              <a:gd name="connsiteY77" fmla="*/ 7226746 h 8260080"/>
              <a:gd name="connsiteX78" fmla="*/ 282892 w 3505200"/>
              <a:gd name="connsiteY78" fmla="*/ 7300436 h 8260080"/>
              <a:gd name="connsiteX79" fmla="*/ 334645 w 3505200"/>
              <a:gd name="connsiteY79" fmla="*/ 7194709 h 8260080"/>
              <a:gd name="connsiteX80" fmla="*/ 354881 w 3505200"/>
              <a:gd name="connsiteY80" fmla="*/ 7257702 h 8260080"/>
              <a:gd name="connsiteX81" fmla="*/ 337026 w 3505200"/>
              <a:gd name="connsiteY81" fmla="*/ 7316154 h 8260080"/>
              <a:gd name="connsiteX82" fmla="*/ 370364 w 3505200"/>
              <a:gd name="connsiteY82" fmla="*/ 7360602 h 8260080"/>
              <a:gd name="connsiteX83" fmla="*/ 447040 w 3505200"/>
              <a:gd name="connsiteY83" fmla="*/ 7366000 h 8260080"/>
              <a:gd name="connsiteX84" fmla="*/ 447040 w 3505200"/>
              <a:gd name="connsiteY84" fmla="*/ 7477760 h 8260080"/>
              <a:gd name="connsiteX85" fmla="*/ 558800 w 3505200"/>
              <a:gd name="connsiteY85" fmla="*/ 7528560 h 8260080"/>
              <a:gd name="connsiteX86" fmla="*/ 508000 w 3505200"/>
              <a:gd name="connsiteY86" fmla="*/ 7630160 h 8260080"/>
              <a:gd name="connsiteX87" fmla="*/ 436880 w 3505200"/>
              <a:gd name="connsiteY87" fmla="*/ 7609840 h 8260080"/>
              <a:gd name="connsiteX88" fmla="*/ 447040 w 3505200"/>
              <a:gd name="connsiteY88" fmla="*/ 7691120 h 8260080"/>
              <a:gd name="connsiteX89" fmla="*/ 518160 w 3505200"/>
              <a:gd name="connsiteY89" fmla="*/ 7741920 h 8260080"/>
              <a:gd name="connsiteX90" fmla="*/ 457200 w 3505200"/>
              <a:gd name="connsiteY90" fmla="*/ 7792720 h 8260080"/>
              <a:gd name="connsiteX91" fmla="*/ 396240 w 3505200"/>
              <a:gd name="connsiteY91" fmla="*/ 7701280 h 8260080"/>
              <a:gd name="connsiteX92" fmla="*/ 396240 w 3505200"/>
              <a:gd name="connsiteY92" fmla="*/ 7701280 h 8260080"/>
              <a:gd name="connsiteX93" fmla="*/ 436880 w 3505200"/>
              <a:gd name="connsiteY93" fmla="*/ 7874000 h 8260080"/>
              <a:gd name="connsiteX94" fmla="*/ 436880 w 3505200"/>
              <a:gd name="connsiteY94" fmla="*/ 7924800 h 8260080"/>
              <a:gd name="connsiteX95" fmla="*/ 548640 w 3505200"/>
              <a:gd name="connsiteY95" fmla="*/ 7965440 h 8260080"/>
              <a:gd name="connsiteX96" fmla="*/ 508000 w 3505200"/>
              <a:gd name="connsiteY96" fmla="*/ 8016240 h 8260080"/>
              <a:gd name="connsiteX97" fmla="*/ 589280 w 3505200"/>
              <a:gd name="connsiteY97" fmla="*/ 8056880 h 8260080"/>
              <a:gd name="connsiteX98" fmla="*/ 497840 w 3505200"/>
              <a:gd name="connsiteY98" fmla="*/ 8117840 h 8260080"/>
              <a:gd name="connsiteX99" fmla="*/ 518160 w 3505200"/>
              <a:gd name="connsiteY99" fmla="*/ 8209280 h 8260080"/>
              <a:gd name="connsiteX100" fmla="*/ 640080 w 3505200"/>
              <a:gd name="connsiteY100" fmla="*/ 8260080 h 8260080"/>
              <a:gd name="connsiteX101" fmla="*/ 731520 w 3505200"/>
              <a:gd name="connsiteY101" fmla="*/ 8219440 h 8260080"/>
              <a:gd name="connsiteX102" fmla="*/ 853440 w 3505200"/>
              <a:gd name="connsiteY102" fmla="*/ 8209280 h 8260080"/>
              <a:gd name="connsiteX103" fmla="*/ 955040 w 3505200"/>
              <a:gd name="connsiteY103" fmla="*/ 8260080 h 8260080"/>
              <a:gd name="connsiteX104" fmla="*/ 965200 w 3505200"/>
              <a:gd name="connsiteY104" fmla="*/ 8107680 h 8260080"/>
              <a:gd name="connsiteX105" fmla="*/ 894080 w 3505200"/>
              <a:gd name="connsiteY105" fmla="*/ 8026400 h 8260080"/>
              <a:gd name="connsiteX106" fmla="*/ 1016000 w 3505200"/>
              <a:gd name="connsiteY106" fmla="*/ 7863840 h 8260080"/>
              <a:gd name="connsiteX107" fmla="*/ 1107440 w 3505200"/>
              <a:gd name="connsiteY107" fmla="*/ 7894320 h 8260080"/>
              <a:gd name="connsiteX108" fmla="*/ 1127760 w 3505200"/>
              <a:gd name="connsiteY108" fmla="*/ 7853680 h 8260080"/>
              <a:gd name="connsiteX109" fmla="*/ 1066800 w 3505200"/>
              <a:gd name="connsiteY109" fmla="*/ 7813040 h 8260080"/>
              <a:gd name="connsiteX110" fmla="*/ 1137920 w 3505200"/>
              <a:gd name="connsiteY110" fmla="*/ 7762240 h 8260080"/>
              <a:gd name="connsiteX111" fmla="*/ 1330960 w 3505200"/>
              <a:gd name="connsiteY111" fmla="*/ 7802880 h 8260080"/>
              <a:gd name="connsiteX112" fmla="*/ 1361440 w 3505200"/>
              <a:gd name="connsiteY112" fmla="*/ 7772400 h 8260080"/>
              <a:gd name="connsiteX113" fmla="*/ 1483360 w 3505200"/>
              <a:gd name="connsiteY113" fmla="*/ 7823200 h 8260080"/>
              <a:gd name="connsiteX114" fmla="*/ 1554480 w 3505200"/>
              <a:gd name="connsiteY114" fmla="*/ 7731760 h 8260080"/>
              <a:gd name="connsiteX115" fmla="*/ 1524000 w 3505200"/>
              <a:gd name="connsiteY115" fmla="*/ 7640320 h 8260080"/>
              <a:gd name="connsiteX116" fmla="*/ 1645920 w 3505200"/>
              <a:gd name="connsiteY116" fmla="*/ 7437120 h 8260080"/>
              <a:gd name="connsiteX117" fmla="*/ 1635760 w 3505200"/>
              <a:gd name="connsiteY117" fmla="*/ 7335520 h 8260080"/>
              <a:gd name="connsiteX118" fmla="*/ 1696720 w 3505200"/>
              <a:gd name="connsiteY118" fmla="*/ 7223760 h 8260080"/>
              <a:gd name="connsiteX119" fmla="*/ 1625600 w 3505200"/>
              <a:gd name="connsiteY119" fmla="*/ 7172960 h 8260080"/>
              <a:gd name="connsiteX120" fmla="*/ 1747520 w 3505200"/>
              <a:gd name="connsiteY120" fmla="*/ 6990080 h 8260080"/>
              <a:gd name="connsiteX121" fmla="*/ 1666240 w 3505200"/>
              <a:gd name="connsiteY121" fmla="*/ 6939280 h 8260080"/>
              <a:gd name="connsiteX122" fmla="*/ 1737360 w 3505200"/>
              <a:gd name="connsiteY122" fmla="*/ 6888480 h 8260080"/>
              <a:gd name="connsiteX123" fmla="*/ 1645920 w 3505200"/>
              <a:gd name="connsiteY123" fmla="*/ 6776720 h 8260080"/>
              <a:gd name="connsiteX124" fmla="*/ 1808480 w 3505200"/>
              <a:gd name="connsiteY124" fmla="*/ 6715760 h 8260080"/>
              <a:gd name="connsiteX125" fmla="*/ 1727200 w 3505200"/>
              <a:gd name="connsiteY125" fmla="*/ 6614160 h 8260080"/>
              <a:gd name="connsiteX126" fmla="*/ 1686560 w 3505200"/>
              <a:gd name="connsiteY126" fmla="*/ 6421120 h 8260080"/>
              <a:gd name="connsiteX127" fmla="*/ 1889760 w 3505200"/>
              <a:gd name="connsiteY127" fmla="*/ 6299200 h 8260080"/>
              <a:gd name="connsiteX128" fmla="*/ 1940560 w 3505200"/>
              <a:gd name="connsiteY128" fmla="*/ 6228080 h 8260080"/>
              <a:gd name="connsiteX129" fmla="*/ 2032000 w 3505200"/>
              <a:gd name="connsiteY129" fmla="*/ 6136640 h 8260080"/>
              <a:gd name="connsiteX130" fmla="*/ 2011680 w 3505200"/>
              <a:gd name="connsiteY130" fmla="*/ 6014720 h 8260080"/>
              <a:gd name="connsiteX131" fmla="*/ 2123440 w 3505200"/>
              <a:gd name="connsiteY131" fmla="*/ 6065520 h 8260080"/>
              <a:gd name="connsiteX132" fmla="*/ 2092960 w 3505200"/>
              <a:gd name="connsiteY132" fmla="*/ 6167120 h 8260080"/>
              <a:gd name="connsiteX133" fmla="*/ 2286000 w 3505200"/>
              <a:gd name="connsiteY133" fmla="*/ 5933440 h 8260080"/>
              <a:gd name="connsiteX134" fmla="*/ 2255520 w 3505200"/>
              <a:gd name="connsiteY134" fmla="*/ 5801360 h 8260080"/>
              <a:gd name="connsiteX135" fmla="*/ 2448560 w 3505200"/>
              <a:gd name="connsiteY135" fmla="*/ 5598160 h 8260080"/>
              <a:gd name="connsiteX136" fmla="*/ 2357120 w 3505200"/>
              <a:gd name="connsiteY136" fmla="*/ 5435600 h 8260080"/>
              <a:gd name="connsiteX137" fmla="*/ 2225040 w 3505200"/>
              <a:gd name="connsiteY137" fmla="*/ 5415280 h 8260080"/>
              <a:gd name="connsiteX138" fmla="*/ 2103120 w 3505200"/>
              <a:gd name="connsiteY138" fmla="*/ 5222240 h 8260080"/>
              <a:gd name="connsiteX139" fmla="*/ 2092960 w 3505200"/>
              <a:gd name="connsiteY139" fmla="*/ 5110480 h 8260080"/>
              <a:gd name="connsiteX140" fmla="*/ 2052320 w 3505200"/>
              <a:gd name="connsiteY140" fmla="*/ 5151120 h 8260080"/>
              <a:gd name="connsiteX141" fmla="*/ 2042160 w 3505200"/>
              <a:gd name="connsiteY141" fmla="*/ 5242560 h 8260080"/>
              <a:gd name="connsiteX142" fmla="*/ 1981200 w 3505200"/>
              <a:gd name="connsiteY142" fmla="*/ 5191760 h 8260080"/>
              <a:gd name="connsiteX143" fmla="*/ 2011680 w 3505200"/>
              <a:gd name="connsiteY143" fmla="*/ 5120640 h 8260080"/>
              <a:gd name="connsiteX144" fmla="*/ 1930400 w 3505200"/>
              <a:gd name="connsiteY144" fmla="*/ 5100320 h 8260080"/>
              <a:gd name="connsiteX145" fmla="*/ 1859280 w 3505200"/>
              <a:gd name="connsiteY145" fmla="*/ 4917440 h 8260080"/>
              <a:gd name="connsiteX146" fmla="*/ 1828800 w 3505200"/>
              <a:gd name="connsiteY146" fmla="*/ 4622800 h 8260080"/>
              <a:gd name="connsiteX147" fmla="*/ 1910080 w 3505200"/>
              <a:gd name="connsiteY147" fmla="*/ 4419600 h 8260080"/>
              <a:gd name="connsiteX148" fmla="*/ 1920240 w 3505200"/>
              <a:gd name="connsiteY148" fmla="*/ 4277360 h 8260080"/>
              <a:gd name="connsiteX149" fmla="*/ 1971040 w 3505200"/>
              <a:gd name="connsiteY149" fmla="*/ 4124960 h 8260080"/>
              <a:gd name="connsiteX150" fmla="*/ 1879600 w 3505200"/>
              <a:gd name="connsiteY150" fmla="*/ 4023360 h 8260080"/>
              <a:gd name="connsiteX151" fmla="*/ 2072640 w 3505200"/>
              <a:gd name="connsiteY151" fmla="*/ 4003040 h 8260080"/>
              <a:gd name="connsiteX152" fmla="*/ 2092960 w 3505200"/>
              <a:gd name="connsiteY152" fmla="*/ 3850640 h 8260080"/>
              <a:gd name="connsiteX153" fmla="*/ 2001520 w 3505200"/>
              <a:gd name="connsiteY153" fmla="*/ 3728720 h 8260080"/>
              <a:gd name="connsiteX154" fmla="*/ 2164080 w 3505200"/>
              <a:gd name="connsiteY154" fmla="*/ 3769360 h 8260080"/>
              <a:gd name="connsiteX155" fmla="*/ 2265680 w 3505200"/>
              <a:gd name="connsiteY155" fmla="*/ 3566160 h 8260080"/>
              <a:gd name="connsiteX156" fmla="*/ 2336800 w 3505200"/>
              <a:gd name="connsiteY156" fmla="*/ 3515360 h 8260080"/>
              <a:gd name="connsiteX157" fmla="*/ 2367280 w 3505200"/>
              <a:gd name="connsiteY157" fmla="*/ 3362960 h 8260080"/>
              <a:gd name="connsiteX158" fmla="*/ 2489200 w 3505200"/>
              <a:gd name="connsiteY158" fmla="*/ 3423920 h 8260080"/>
              <a:gd name="connsiteX159" fmla="*/ 2560320 w 3505200"/>
              <a:gd name="connsiteY159" fmla="*/ 3302000 h 8260080"/>
              <a:gd name="connsiteX160" fmla="*/ 2743200 w 3505200"/>
              <a:gd name="connsiteY160" fmla="*/ 3149600 h 8260080"/>
              <a:gd name="connsiteX161" fmla="*/ 2844800 w 3505200"/>
              <a:gd name="connsiteY161" fmla="*/ 3088640 h 8260080"/>
              <a:gd name="connsiteX162" fmla="*/ 2804160 w 3505200"/>
              <a:gd name="connsiteY162" fmla="*/ 2966720 h 8260080"/>
              <a:gd name="connsiteX163" fmla="*/ 2976880 w 3505200"/>
              <a:gd name="connsiteY163" fmla="*/ 2763520 h 8260080"/>
              <a:gd name="connsiteX164" fmla="*/ 2794000 w 3505200"/>
              <a:gd name="connsiteY164" fmla="*/ 2621280 h 8260080"/>
              <a:gd name="connsiteX165" fmla="*/ 2946400 w 3505200"/>
              <a:gd name="connsiteY165" fmla="*/ 2377440 h 8260080"/>
              <a:gd name="connsiteX166" fmla="*/ 2854960 w 3505200"/>
              <a:gd name="connsiteY166" fmla="*/ 2255520 h 8260080"/>
              <a:gd name="connsiteX167" fmla="*/ 3027680 w 3505200"/>
              <a:gd name="connsiteY167" fmla="*/ 2113280 h 8260080"/>
              <a:gd name="connsiteX168" fmla="*/ 3119120 w 3505200"/>
              <a:gd name="connsiteY168" fmla="*/ 2021840 h 8260080"/>
              <a:gd name="connsiteX169" fmla="*/ 3027680 w 3505200"/>
              <a:gd name="connsiteY169" fmla="*/ 1960880 h 8260080"/>
              <a:gd name="connsiteX170" fmla="*/ 3139440 w 3505200"/>
              <a:gd name="connsiteY170" fmla="*/ 1869440 h 8260080"/>
              <a:gd name="connsiteX171" fmla="*/ 3281680 w 3505200"/>
              <a:gd name="connsiteY171" fmla="*/ 1950720 h 8260080"/>
              <a:gd name="connsiteX172" fmla="*/ 3403600 w 3505200"/>
              <a:gd name="connsiteY172" fmla="*/ 1889760 h 8260080"/>
              <a:gd name="connsiteX173" fmla="*/ 3505200 w 3505200"/>
              <a:gd name="connsiteY173" fmla="*/ 1910080 h 8260080"/>
              <a:gd name="connsiteX174" fmla="*/ 3444240 w 3505200"/>
              <a:gd name="connsiteY174" fmla="*/ 1656080 h 8260080"/>
              <a:gd name="connsiteX175" fmla="*/ 3373120 w 3505200"/>
              <a:gd name="connsiteY175" fmla="*/ 1635760 h 8260080"/>
              <a:gd name="connsiteX176" fmla="*/ 3352800 w 3505200"/>
              <a:gd name="connsiteY176" fmla="*/ 1503680 h 8260080"/>
              <a:gd name="connsiteX177" fmla="*/ 3444240 w 3505200"/>
              <a:gd name="connsiteY177" fmla="*/ 1412240 h 8260080"/>
              <a:gd name="connsiteX178" fmla="*/ 3393440 w 3505200"/>
              <a:gd name="connsiteY178" fmla="*/ 1280160 h 8260080"/>
              <a:gd name="connsiteX179" fmla="*/ 3434080 w 3505200"/>
              <a:gd name="connsiteY179" fmla="*/ 1249680 h 8260080"/>
              <a:gd name="connsiteX180" fmla="*/ 3281680 w 3505200"/>
              <a:gd name="connsiteY180" fmla="*/ 1066800 h 8260080"/>
              <a:gd name="connsiteX181" fmla="*/ 3383280 w 3505200"/>
              <a:gd name="connsiteY181" fmla="*/ 975360 h 8260080"/>
              <a:gd name="connsiteX182" fmla="*/ 3302000 w 3505200"/>
              <a:gd name="connsiteY182" fmla="*/ 924560 h 8260080"/>
              <a:gd name="connsiteX183" fmla="*/ 3190240 w 3505200"/>
              <a:gd name="connsiteY183" fmla="*/ 944880 h 8260080"/>
              <a:gd name="connsiteX184" fmla="*/ 3281680 w 3505200"/>
              <a:gd name="connsiteY184" fmla="*/ 792480 h 8260080"/>
              <a:gd name="connsiteX185" fmla="*/ 3210560 w 3505200"/>
              <a:gd name="connsiteY185" fmla="*/ 650240 h 8260080"/>
              <a:gd name="connsiteX186" fmla="*/ 3302000 w 3505200"/>
              <a:gd name="connsiteY186" fmla="*/ 568960 h 8260080"/>
              <a:gd name="connsiteX187" fmla="*/ 3190240 w 3505200"/>
              <a:gd name="connsiteY187" fmla="*/ 487680 h 8260080"/>
              <a:gd name="connsiteX188" fmla="*/ 3108960 w 3505200"/>
              <a:gd name="connsiteY188" fmla="*/ 528320 h 8260080"/>
              <a:gd name="connsiteX189" fmla="*/ 3108960 w 3505200"/>
              <a:gd name="connsiteY189" fmla="*/ 406400 h 8260080"/>
              <a:gd name="connsiteX190" fmla="*/ 2926080 w 3505200"/>
              <a:gd name="connsiteY190" fmla="*/ 314960 h 8260080"/>
              <a:gd name="connsiteX191" fmla="*/ 2834640 w 3505200"/>
              <a:gd name="connsiteY191" fmla="*/ 355600 h 8260080"/>
              <a:gd name="connsiteX192" fmla="*/ 2682240 w 3505200"/>
              <a:gd name="connsiteY192" fmla="*/ 111760 h 8260080"/>
              <a:gd name="connsiteX193" fmla="*/ 2590800 w 3505200"/>
              <a:gd name="connsiteY193" fmla="*/ 121920 h 8260080"/>
              <a:gd name="connsiteX194" fmla="*/ 2611120 w 3505200"/>
              <a:gd name="connsiteY194" fmla="*/ 0 h 8260080"/>
              <a:gd name="connsiteX195" fmla="*/ 2438400 w 3505200"/>
              <a:gd name="connsiteY195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95337 w 3505200"/>
              <a:gd name="connsiteY74" fmla="*/ 6907659 h 8260080"/>
              <a:gd name="connsiteX75" fmla="*/ 233679 w 3505200"/>
              <a:gd name="connsiteY75" fmla="*/ 6971505 h 8260080"/>
              <a:gd name="connsiteX76" fmla="*/ 271463 w 3505200"/>
              <a:gd name="connsiteY76" fmla="*/ 7030085 h 8260080"/>
              <a:gd name="connsiteX77" fmla="*/ 280829 w 3505200"/>
              <a:gd name="connsiteY77" fmla="*/ 7148354 h 8260080"/>
              <a:gd name="connsiteX78" fmla="*/ 242962 w 3505200"/>
              <a:gd name="connsiteY78" fmla="*/ 7226746 h 8260080"/>
              <a:gd name="connsiteX79" fmla="*/ 282892 w 3505200"/>
              <a:gd name="connsiteY79" fmla="*/ 7300436 h 8260080"/>
              <a:gd name="connsiteX80" fmla="*/ 334645 w 3505200"/>
              <a:gd name="connsiteY80" fmla="*/ 7194709 h 8260080"/>
              <a:gd name="connsiteX81" fmla="*/ 354881 w 3505200"/>
              <a:gd name="connsiteY81" fmla="*/ 7257702 h 8260080"/>
              <a:gd name="connsiteX82" fmla="*/ 337026 w 3505200"/>
              <a:gd name="connsiteY82" fmla="*/ 7316154 h 8260080"/>
              <a:gd name="connsiteX83" fmla="*/ 370364 w 3505200"/>
              <a:gd name="connsiteY83" fmla="*/ 7360602 h 8260080"/>
              <a:gd name="connsiteX84" fmla="*/ 447040 w 3505200"/>
              <a:gd name="connsiteY84" fmla="*/ 7366000 h 8260080"/>
              <a:gd name="connsiteX85" fmla="*/ 447040 w 3505200"/>
              <a:gd name="connsiteY85" fmla="*/ 7477760 h 8260080"/>
              <a:gd name="connsiteX86" fmla="*/ 558800 w 3505200"/>
              <a:gd name="connsiteY86" fmla="*/ 7528560 h 8260080"/>
              <a:gd name="connsiteX87" fmla="*/ 508000 w 3505200"/>
              <a:gd name="connsiteY87" fmla="*/ 7630160 h 8260080"/>
              <a:gd name="connsiteX88" fmla="*/ 436880 w 3505200"/>
              <a:gd name="connsiteY88" fmla="*/ 7609840 h 8260080"/>
              <a:gd name="connsiteX89" fmla="*/ 447040 w 3505200"/>
              <a:gd name="connsiteY89" fmla="*/ 7691120 h 8260080"/>
              <a:gd name="connsiteX90" fmla="*/ 518160 w 3505200"/>
              <a:gd name="connsiteY90" fmla="*/ 7741920 h 8260080"/>
              <a:gd name="connsiteX91" fmla="*/ 457200 w 3505200"/>
              <a:gd name="connsiteY91" fmla="*/ 7792720 h 8260080"/>
              <a:gd name="connsiteX92" fmla="*/ 396240 w 3505200"/>
              <a:gd name="connsiteY92" fmla="*/ 7701280 h 8260080"/>
              <a:gd name="connsiteX93" fmla="*/ 396240 w 3505200"/>
              <a:gd name="connsiteY93" fmla="*/ 7701280 h 8260080"/>
              <a:gd name="connsiteX94" fmla="*/ 436880 w 3505200"/>
              <a:gd name="connsiteY94" fmla="*/ 7874000 h 8260080"/>
              <a:gd name="connsiteX95" fmla="*/ 436880 w 3505200"/>
              <a:gd name="connsiteY95" fmla="*/ 7924800 h 8260080"/>
              <a:gd name="connsiteX96" fmla="*/ 548640 w 3505200"/>
              <a:gd name="connsiteY96" fmla="*/ 7965440 h 8260080"/>
              <a:gd name="connsiteX97" fmla="*/ 508000 w 3505200"/>
              <a:gd name="connsiteY97" fmla="*/ 8016240 h 8260080"/>
              <a:gd name="connsiteX98" fmla="*/ 589280 w 3505200"/>
              <a:gd name="connsiteY98" fmla="*/ 8056880 h 8260080"/>
              <a:gd name="connsiteX99" fmla="*/ 497840 w 3505200"/>
              <a:gd name="connsiteY99" fmla="*/ 8117840 h 8260080"/>
              <a:gd name="connsiteX100" fmla="*/ 518160 w 3505200"/>
              <a:gd name="connsiteY100" fmla="*/ 8209280 h 8260080"/>
              <a:gd name="connsiteX101" fmla="*/ 640080 w 3505200"/>
              <a:gd name="connsiteY101" fmla="*/ 8260080 h 8260080"/>
              <a:gd name="connsiteX102" fmla="*/ 731520 w 3505200"/>
              <a:gd name="connsiteY102" fmla="*/ 8219440 h 8260080"/>
              <a:gd name="connsiteX103" fmla="*/ 853440 w 3505200"/>
              <a:gd name="connsiteY103" fmla="*/ 8209280 h 8260080"/>
              <a:gd name="connsiteX104" fmla="*/ 955040 w 3505200"/>
              <a:gd name="connsiteY104" fmla="*/ 8260080 h 8260080"/>
              <a:gd name="connsiteX105" fmla="*/ 965200 w 3505200"/>
              <a:gd name="connsiteY105" fmla="*/ 8107680 h 8260080"/>
              <a:gd name="connsiteX106" fmla="*/ 894080 w 3505200"/>
              <a:gd name="connsiteY106" fmla="*/ 8026400 h 8260080"/>
              <a:gd name="connsiteX107" fmla="*/ 1016000 w 3505200"/>
              <a:gd name="connsiteY107" fmla="*/ 7863840 h 8260080"/>
              <a:gd name="connsiteX108" fmla="*/ 1107440 w 3505200"/>
              <a:gd name="connsiteY108" fmla="*/ 7894320 h 8260080"/>
              <a:gd name="connsiteX109" fmla="*/ 1127760 w 3505200"/>
              <a:gd name="connsiteY109" fmla="*/ 7853680 h 8260080"/>
              <a:gd name="connsiteX110" fmla="*/ 1066800 w 3505200"/>
              <a:gd name="connsiteY110" fmla="*/ 7813040 h 8260080"/>
              <a:gd name="connsiteX111" fmla="*/ 1137920 w 3505200"/>
              <a:gd name="connsiteY111" fmla="*/ 7762240 h 8260080"/>
              <a:gd name="connsiteX112" fmla="*/ 1330960 w 3505200"/>
              <a:gd name="connsiteY112" fmla="*/ 7802880 h 8260080"/>
              <a:gd name="connsiteX113" fmla="*/ 1361440 w 3505200"/>
              <a:gd name="connsiteY113" fmla="*/ 7772400 h 8260080"/>
              <a:gd name="connsiteX114" fmla="*/ 1483360 w 3505200"/>
              <a:gd name="connsiteY114" fmla="*/ 7823200 h 8260080"/>
              <a:gd name="connsiteX115" fmla="*/ 1554480 w 3505200"/>
              <a:gd name="connsiteY115" fmla="*/ 7731760 h 8260080"/>
              <a:gd name="connsiteX116" fmla="*/ 1524000 w 3505200"/>
              <a:gd name="connsiteY116" fmla="*/ 7640320 h 8260080"/>
              <a:gd name="connsiteX117" fmla="*/ 1645920 w 3505200"/>
              <a:gd name="connsiteY117" fmla="*/ 7437120 h 8260080"/>
              <a:gd name="connsiteX118" fmla="*/ 1635760 w 3505200"/>
              <a:gd name="connsiteY118" fmla="*/ 7335520 h 8260080"/>
              <a:gd name="connsiteX119" fmla="*/ 1696720 w 3505200"/>
              <a:gd name="connsiteY119" fmla="*/ 7223760 h 8260080"/>
              <a:gd name="connsiteX120" fmla="*/ 1625600 w 3505200"/>
              <a:gd name="connsiteY120" fmla="*/ 7172960 h 8260080"/>
              <a:gd name="connsiteX121" fmla="*/ 1747520 w 3505200"/>
              <a:gd name="connsiteY121" fmla="*/ 6990080 h 8260080"/>
              <a:gd name="connsiteX122" fmla="*/ 1666240 w 3505200"/>
              <a:gd name="connsiteY122" fmla="*/ 6939280 h 8260080"/>
              <a:gd name="connsiteX123" fmla="*/ 1737360 w 3505200"/>
              <a:gd name="connsiteY123" fmla="*/ 6888480 h 8260080"/>
              <a:gd name="connsiteX124" fmla="*/ 1645920 w 3505200"/>
              <a:gd name="connsiteY124" fmla="*/ 6776720 h 8260080"/>
              <a:gd name="connsiteX125" fmla="*/ 1808480 w 3505200"/>
              <a:gd name="connsiteY125" fmla="*/ 6715760 h 8260080"/>
              <a:gd name="connsiteX126" fmla="*/ 1727200 w 3505200"/>
              <a:gd name="connsiteY126" fmla="*/ 6614160 h 8260080"/>
              <a:gd name="connsiteX127" fmla="*/ 1686560 w 3505200"/>
              <a:gd name="connsiteY127" fmla="*/ 6421120 h 8260080"/>
              <a:gd name="connsiteX128" fmla="*/ 1889760 w 3505200"/>
              <a:gd name="connsiteY128" fmla="*/ 6299200 h 8260080"/>
              <a:gd name="connsiteX129" fmla="*/ 1940560 w 3505200"/>
              <a:gd name="connsiteY129" fmla="*/ 6228080 h 8260080"/>
              <a:gd name="connsiteX130" fmla="*/ 2032000 w 3505200"/>
              <a:gd name="connsiteY130" fmla="*/ 6136640 h 8260080"/>
              <a:gd name="connsiteX131" fmla="*/ 2011680 w 3505200"/>
              <a:gd name="connsiteY131" fmla="*/ 6014720 h 8260080"/>
              <a:gd name="connsiteX132" fmla="*/ 2123440 w 3505200"/>
              <a:gd name="connsiteY132" fmla="*/ 6065520 h 8260080"/>
              <a:gd name="connsiteX133" fmla="*/ 2092960 w 3505200"/>
              <a:gd name="connsiteY133" fmla="*/ 6167120 h 8260080"/>
              <a:gd name="connsiteX134" fmla="*/ 2286000 w 3505200"/>
              <a:gd name="connsiteY134" fmla="*/ 5933440 h 8260080"/>
              <a:gd name="connsiteX135" fmla="*/ 2255520 w 3505200"/>
              <a:gd name="connsiteY135" fmla="*/ 5801360 h 8260080"/>
              <a:gd name="connsiteX136" fmla="*/ 2448560 w 3505200"/>
              <a:gd name="connsiteY136" fmla="*/ 5598160 h 8260080"/>
              <a:gd name="connsiteX137" fmla="*/ 2357120 w 3505200"/>
              <a:gd name="connsiteY137" fmla="*/ 5435600 h 8260080"/>
              <a:gd name="connsiteX138" fmla="*/ 2225040 w 3505200"/>
              <a:gd name="connsiteY138" fmla="*/ 5415280 h 8260080"/>
              <a:gd name="connsiteX139" fmla="*/ 2103120 w 3505200"/>
              <a:gd name="connsiteY139" fmla="*/ 5222240 h 8260080"/>
              <a:gd name="connsiteX140" fmla="*/ 2092960 w 3505200"/>
              <a:gd name="connsiteY140" fmla="*/ 5110480 h 8260080"/>
              <a:gd name="connsiteX141" fmla="*/ 2052320 w 3505200"/>
              <a:gd name="connsiteY141" fmla="*/ 5151120 h 8260080"/>
              <a:gd name="connsiteX142" fmla="*/ 2042160 w 3505200"/>
              <a:gd name="connsiteY142" fmla="*/ 5242560 h 8260080"/>
              <a:gd name="connsiteX143" fmla="*/ 1981200 w 3505200"/>
              <a:gd name="connsiteY143" fmla="*/ 5191760 h 8260080"/>
              <a:gd name="connsiteX144" fmla="*/ 2011680 w 3505200"/>
              <a:gd name="connsiteY144" fmla="*/ 5120640 h 8260080"/>
              <a:gd name="connsiteX145" fmla="*/ 1930400 w 3505200"/>
              <a:gd name="connsiteY145" fmla="*/ 5100320 h 8260080"/>
              <a:gd name="connsiteX146" fmla="*/ 1859280 w 3505200"/>
              <a:gd name="connsiteY146" fmla="*/ 4917440 h 8260080"/>
              <a:gd name="connsiteX147" fmla="*/ 1828800 w 3505200"/>
              <a:gd name="connsiteY147" fmla="*/ 4622800 h 8260080"/>
              <a:gd name="connsiteX148" fmla="*/ 1910080 w 3505200"/>
              <a:gd name="connsiteY148" fmla="*/ 4419600 h 8260080"/>
              <a:gd name="connsiteX149" fmla="*/ 1920240 w 3505200"/>
              <a:gd name="connsiteY149" fmla="*/ 4277360 h 8260080"/>
              <a:gd name="connsiteX150" fmla="*/ 1971040 w 3505200"/>
              <a:gd name="connsiteY150" fmla="*/ 4124960 h 8260080"/>
              <a:gd name="connsiteX151" fmla="*/ 1879600 w 3505200"/>
              <a:gd name="connsiteY151" fmla="*/ 4023360 h 8260080"/>
              <a:gd name="connsiteX152" fmla="*/ 2072640 w 3505200"/>
              <a:gd name="connsiteY152" fmla="*/ 4003040 h 8260080"/>
              <a:gd name="connsiteX153" fmla="*/ 2092960 w 3505200"/>
              <a:gd name="connsiteY153" fmla="*/ 3850640 h 8260080"/>
              <a:gd name="connsiteX154" fmla="*/ 2001520 w 3505200"/>
              <a:gd name="connsiteY154" fmla="*/ 3728720 h 8260080"/>
              <a:gd name="connsiteX155" fmla="*/ 2164080 w 3505200"/>
              <a:gd name="connsiteY155" fmla="*/ 3769360 h 8260080"/>
              <a:gd name="connsiteX156" fmla="*/ 2265680 w 3505200"/>
              <a:gd name="connsiteY156" fmla="*/ 3566160 h 8260080"/>
              <a:gd name="connsiteX157" fmla="*/ 2336800 w 3505200"/>
              <a:gd name="connsiteY157" fmla="*/ 3515360 h 8260080"/>
              <a:gd name="connsiteX158" fmla="*/ 2367280 w 3505200"/>
              <a:gd name="connsiteY158" fmla="*/ 3362960 h 8260080"/>
              <a:gd name="connsiteX159" fmla="*/ 2489200 w 3505200"/>
              <a:gd name="connsiteY159" fmla="*/ 3423920 h 8260080"/>
              <a:gd name="connsiteX160" fmla="*/ 2560320 w 3505200"/>
              <a:gd name="connsiteY160" fmla="*/ 3302000 h 8260080"/>
              <a:gd name="connsiteX161" fmla="*/ 2743200 w 3505200"/>
              <a:gd name="connsiteY161" fmla="*/ 3149600 h 8260080"/>
              <a:gd name="connsiteX162" fmla="*/ 2844800 w 3505200"/>
              <a:gd name="connsiteY162" fmla="*/ 3088640 h 8260080"/>
              <a:gd name="connsiteX163" fmla="*/ 2804160 w 3505200"/>
              <a:gd name="connsiteY163" fmla="*/ 2966720 h 8260080"/>
              <a:gd name="connsiteX164" fmla="*/ 2976880 w 3505200"/>
              <a:gd name="connsiteY164" fmla="*/ 2763520 h 8260080"/>
              <a:gd name="connsiteX165" fmla="*/ 2794000 w 3505200"/>
              <a:gd name="connsiteY165" fmla="*/ 2621280 h 8260080"/>
              <a:gd name="connsiteX166" fmla="*/ 2946400 w 3505200"/>
              <a:gd name="connsiteY166" fmla="*/ 2377440 h 8260080"/>
              <a:gd name="connsiteX167" fmla="*/ 2854960 w 3505200"/>
              <a:gd name="connsiteY167" fmla="*/ 2255520 h 8260080"/>
              <a:gd name="connsiteX168" fmla="*/ 3027680 w 3505200"/>
              <a:gd name="connsiteY168" fmla="*/ 2113280 h 8260080"/>
              <a:gd name="connsiteX169" fmla="*/ 3119120 w 3505200"/>
              <a:gd name="connsiteY169" fmla="*/ 2021840 h 8260080"/>
              <a:gd name="connsiteX170" fmla="*/ 3027680 w 3505200"/>
              <a:gd name="connsiteY170" fmla="*/ 1960880 h 8260080"/>
              <a:gd name="connsiteX171" fmla="*/ 3139440 w 3505200"/>
              <a:gd name="connsiteY171" fmla="*/ 1869440 h 8260080"/>
              <a:gd name="connsiteX172" fmla="*/ 3281680 w 3505200"/>
              <a:gd name="connsiteY172" fmla="*/ 1950720 h 8260080"/>
              <a:gd name="connsiteX173" fmla="*/ 3403600 w 3505200"/>
              <a:gd name="connsiteY173" fmla="*/ 1889760 h 8260080"/>
              <a:gd name="connsiteX174" fmla="*/ 3505200 w 3505200"/>
              <a:gd name="connsiteY174" fmla="*/ 1910080 h 8260080"/>
              <a:gd name="connsiteX175" fmla="*/ 3444240 w 3505200"/>
              <a:gd name="connsiteY175" fmla="*/ 1656080 h 8260080"/>
              <a:gd name="connsiteX176" fmla="*/ 3373120 w 3505200"/>
              <a:gd name="connsiteY176" fmla="*/ 1635760 h 8260080"/>
              <a:gd name="connsiteX177" fmla="*/ 3352800 w 3505200"/>
              <a:gd name="connsiteY177" fmla="*/ 1503680 h 8260080"/>
              <a:gd name="connsiteX178" fmla="*/ 3444240 w 3505200"/>
              <a:gd name="connsiteY178" fmla="*/ 1412240 h 8260080"/>
              <a:gd name="connsiteX179" fmla="*/ 3393440 w 3505200"/>
              <a:gd name="connsiteY179" fmla="*/ 1280160 h 8260080"/>
              <a:gd name="connsiteX180" fmla="*/ 3434080 w 3505200"/>
              <a:gd name="connsiteY180" fmla="*/ 1249680 h 8260080"/>
              <a:gd name="connsiteX181" fmla="*/ 3281680 w 3505200"/>
              <a:gd name="connsiteY181" fmla="*/ 1066800 h 8260080"/>
              <a:gd name="connsiteX182" fmla="*/ 3383280 w 3505200"/>
              <a:gd name="connsiteY182" fmla="*/ 975360 h 8260080"/>
              <a:gd name="connsiteX183" fmla="*/ 3302000 w 3505200"/>
              <a:gd name="connsiteY183" fmla="*/ 924560 h 8260080"/>
              <a:gd name="connsiteX184" fmla="*/ 3190240 w 3505200"/>
              <a:gd name="connsiteY184" fmla="*/ 944880 h 8260080"/>
              <a:gd name="connsiteX185" fmla="*/ 3281680 w 3505200"/>
              <a:gd name="connsiteY185" fmla="*/ 792480 h 8260080"/>
              <a:gd name="connsiteX186" fmla="*/ 3210560 w 3505200"/>
              <a:gd name="connsiteY186" fmla="*/ 650240 h 8260080"/>
              <a:gd name="connsiteX187" fmla="*/ 3302000 w 3505200"/>
              <a:gd name="connsiteY187" fmla="*/ 568960 h 8260080"/>
              <a:gd name="connsiteX188" fmla="*/ 3190240 w 3505200"/>
              <a:gd name="connsiteY188" fmla="*/ 487680 h 8260080"/>
              <a:gd name="connsiteX189" fmla="*/ 3108960 w 3505200"/>
              <a:gd name="connsiteY189" fmla="*/ 528320 h 8260080"/>
              <a:gd name="connsiteX190" fmla="*/ 3108960 w 3505200"/>
              <a:gd name="connsiteY190" fmla="*/ 406400 h 8260080"/>
              <a:gd name="connsiteX191" fmla="*/ 2926080 w 3505200"/>
              <a:gd name="connsiteY191" fmla="*/ 314960 h 8260080"/>
              <a:gd name="connsiteX192" fmla="*/ 2834640 w 3505200"/>
              <a:gd name="connsiteY192" fmla="*/ 355600 h 8260080"/>
              <a:gd name="connsiteX193" fmla="*/ 2682240 w 3505200"/>
              <a:gd name="connsiteY193" fmla="*/ 111760 h 8260080"/>
              <a:gd name="connsiteX194" fmla="*/ 2590800 w 3505200"/>
              <a:gd name="connsiteY194" fmla="*/ 121920 h 8260080"/>
              <a:gd name="connsiteX195" fmla="*/ 2611120 w 3505200"/>
              <a:gd name="connsiteY195" fmla="*/ 0 h 8260080"/>
              <a:gd name="connsiteX196" fmla="*/ 2438400 w 3505200"/>
              <a:gd name="connsiteY196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33679 w 3505200"/>
              <a:gd name="connsiteY76" fmla="*/ 6971505 h 8260080"/>
              <a:gd name="connsiteX77" fmla="*/ 271463 w 3505200"/>
              <a:gd name="connsiteY77" fmla="*/ 7030085 h 8260080"/>
              <a:gd name="connsiteX78" fmla="*/ 280829 w 3505200"/>
              <a:gd name="connsiteY78" fmla="*/ 7148354 h 8260080"/>
              <a:gd name="connsiteX79" fmla="*/ 242962 w 3505200"/>
              <a:gd name="connsiteY79" fmla="*/ 7226746 h 8260080"/>
              <a:gd name="connsiteX80" fmla="*/ 282892 w 3505200"/>
              <a:gd name="connsiteY80" fmla="*/ 7300436 h 8260080"/>
              <a:gd name="connsiteX81" fmla="*/ 334645 w 3505200"/>
              <a:gd name="connsiteY81" fmla="*/ 7194709 h 8260080"/>
              <a:gd name="connsiteX82" fmla="*/ 354881 w 3505200"/>
              <a:gd name="connsiteY82" fmla="*/ 7257702 h 8260080"/>
              <a:gd name="connsiteX83" fmla="*/ 337026 w 3505200"/>
              <a:gd name="connsiteY83" fmla="*/ 7316154 h 8260080"/>
              <a:gd name="connsiteX84" fmla="*/ 370364 w 3505200"/>
              <a:gd name="connsiteY84" fmla="*/ 7360602 h 8260080"/>
              <a:gd name="connsiteX85" fmla="*/ 447040 w 3505200"/>
              <a:gd name="connsiteY85" fmla="*/ 7366000 h 8260080"/>
              <a:gd name="connsiteX86" fmla="*/ 447040 w 3505200"/>
              <a:gd name="connsiteY86" fmla="*/ 7477760 h 8260080"/>
              <a:gd name="connsiteX87" fmla="*/ 558800 w 3505200"/>
              <a:gd name="connsiteY87" fmla="*/ 7528560 h 8260080"/>
              <a:gd name="connsiteX88" fmla="*/ 508000 w 3505200"/>
              <a:gd name="connsiteY88" fmla="*/ 7630160 h 8260080"/>
              <a:gd name="connsiteX89" fmla="*/ 436880 w 3505200"/>
              <a:gd name="connsiteY89" fmla="*/ 7609840 h 8260080"/>
              <a:gd name="connsiteX90" fmla="*/ 447040 w 3505200"/>
              <a:gd name="connsiteY90" fmla="*/ 7691120 h 8260080"/>
              <a:gd name="connsiteX91" fmla="*/ 518160 w 3505200"/>
              <a:gd name="connsiteY91" fmla="*/ 7741920 h 8260080"/>
              <a:gd name="connsiteX92" fmla="*/ 457200 w 3505200"/>
              <a:gd name="connsiteY92" fmla="*/ 7792720 h 8260080"/>
              <a:gd name="connsiteX93" fmla="*/ 396240 w 3505200"/>
              <a:gd name="connsiteY93" fmla="*/ 7701280 h 8260080"/>
              <a:gd name="connsiteX94" fmla="*/ 396240 w 3505200"/>
              <a:gd name="connsiteY94" fmla="*/ 7701280 h 8260080"/>
              <a:gd name="connsiteX95" fmla="*/ 436880 w 3505200"/>
              <a:gd name="connsiteY95" fmla="*/ 7874000 h 8260080"/>
              <a:gd name="connsiteX96" fmla="*/ 436880 w 3505200"/>
              <a:gd name="connsiteY96" fmla="*/ 7924800 h 8260080"/>
              <a:gd name="connsiteX97" fmla="*/ 548640 w 3505200"/>
              <a:gd name="connsiteY97" fmla="*/ 7965440 h 8260080"/>
              <a:gd name="connsiteX98" fmla="*/ 508000 w 3505200"/>
              <a:gd name="connsiteY98" fmla="*/ 8016240 h 8260080"/>
              <a:gd name="connsiteX99" fmla="*/ 589280 w 3505200"/>
              <a:gd name="connsiteY99" fmla="*/ 8056880 h 8260080"/>
              <a:gd name="connsiteX100" fmla="*/ 497840 w 3505200"/>
              <a:gd name="connsiteY100" fmla="*/ 8117840 h 8260080"/>
              <a:gd name="connsiteX101" fmla="*/ 518160 w 3505200"/>
              <a:gd name="connsiteY101" fmla="*/ 8209280 h 8260080"/>
              <a:gd name="connsiteX102" fmla="*/ 640080 w 3505200"/>
              <a:gd name="connsiteY102" fmla="*/ 8260080 h 8260080"/>
              <a:gd name="connsiteX103" fmla="*/ 731520 w 3505200"/>
              <a:gd name="connsiteY103" fmla="*/ 8219440 h 8260080"/>
              <a:gd name="connsiteX104" fmla="*/ 853440 w 3505200"/>
              <a:gd name="connsiteY104" fmla="*/ 8209280 h 8260080"/>
              <a:gd name="connsiteX105" fmla="*/ 955040 w 3505200"/>
              <a:gd name="connsiteY105" fmla="*/ 8260080 h 8260080"/>
              <a:gd name="connsiteX106" fmla="*/ 965200 w 3505200"/>
              <a:gd name="connsiteY106" fmla="*/ 8107680 h 8260080"/>
              <a:gd name="connsiteX107" fmla="*/ 894080 w 3505200"/>
              <a:gd name="connsiteY107" fmla="*/ 8026400 h 8260080"/>
              <a:gd name="connsiteX108" fmla="*/ 1016000 w 3505200"/>
              <a:gd name="connsiteY108" fmla="*/ 7863840 h 8260080"/>
              <a:gd name="connsiteX109" fmla="*/ 1107440 w 3505200"/>
              <a:gd name="connsiteY109" fmla="*/ 7894320 h 8260080"/>
              <a:gd name="connsiteX110" fmla="*/ 1127760 w 3505200"/>
              <a:gd name="connsiteY110" fmla="*/ 7853680 h 8260080"/>
              <a:gd name="connsiteX111" fmla="*/ 1066800 w 3505200"/>
              <a:gd name="connsiteY111" fmla="*/ 7813040 h 8260080"/>
              <a:gd name="connsiteX112" fmla="*/ 1137920 w 3505200"/>
              <a:gd name="connsiteY112" fmla="*/ 7762240 h 8260080"/>
              <a:gd name="connsiteX113" fmla="*/ 1330960 w 3505200"/>
              <a:gd name="connsiteY113" fmla="*/ 7802880 h 8260080"/>
              <a:gd name="connsiteX114" fmla="*/ 1361440 w 3505200"/>
              <a:gd name="connsiteY114" fmla="*/ 7772400 h 8260080"/>
              <a:gd name="connsiteX115" fmla="*/ 1483360 w 3505200"/>
              <a:gd name="connsiteY115" fmla="*/ 7823200 h 8260080"/>
              <a:gd name="connsiteX116" fmla="*/ 1554480 w 3505200"/>
              <a:gd name="connsiteY116" fmla="*/ 7731760 h 8260080"/>
              <a:gd name="connsiteX117" fmla="*/ 1524000 w 3505200"/>
              <a:gd name="connsiteY117" fmla="*/ 7640320 h 8260080"/>
              <a:gd name="connsiteX118" fmla="*/ 1645920 w 3505200"/>
              <a:gd name="connsiteY118" fmla="*/ 7437120 h 8260080"/>
              <a:gd name="connsiteX119" fmla="*/ 1635760 w 3505200"/>
              <a:gd name="connsiteY119" fmla="*/ 7335520 h 8260080"/>
              <a:gd name="connsiteX120" fmla="*/ 1696720 w 3505200"/>
              <a:gd name="connsiteY120" fmla="*/ 7223760 h 8260080"/>
              <a:gd name="connsiteX121" fmla="*/ 1625600 w 3505200"/>
              <a:gd name="connsiteY121" fmla="*/ 7172960 h 8260080"/>
              <a:gd name="connsiteX122" fmla="*/ 1747520 w 3505200"/>
              <a:gd name="connsiteY122" fmla="*/ 6990080 h 8260080"/>
              <a:gd name="connsiteX123" fmla="*/ 1666240 w 3505200"/>
              <a:gd name="connsiteY123" fmla="*/ 6939280 h 8260080"/>
              <a:gd name="connsiteX124" fmla="*/ 1737360 w 3505200"/>
              <a:gd name="connsiteY124" fmla="*/ 6888480 h 8260080"/>
              <a:gd name="connsiteX125" fmla="*/ 1645920 w 3505200"/>
              <a:gd name="connsiteY125" fmla="*/ 6776720 h 8260080"/>
              <a:gd name="connsiteX126" fmla="*/ 1808480 w 3505200"/>
              <a:gd name="connsiteY126" fmla="*/ 6715760 h 8260080"/>
              <a:gd name="connsiteX127" fmla="*/ 1727200 w 3505200"/>
              <a:gd name="connsiteY127" fmla="*/ 6614160 h 8260080"/>
              <a:gd name="connsiteX128" fmla="*/ 1686560 w 3505200"/>
              <a:gd name="connsiteY128" fmla="*/ 6421120 h 8260080"/>
              <a:gd name="connsiteX129" fmla="*/ 1889760 w 3505200"/>
              <a:gd name="connsiteY129" fmla="*/ 6299200 h 8260080"/>
              <a:gd name="connsiteX130" fmla="*/ 1940560 w 3505200"/>
              <a:gd name="connsiteY130" fmla="*/ 6228080 h 8260080"/>
              <a:gd name="connsiteX131" fmla="*/ 2032000 w 3505200"/>
              <a:gd name="connsiteY131" fmla="*/ 6136640 h 8260080"/>
              <a:gd name="connsiteX132" fmla="*/ 2011680 w 3505200"/>
              <a:gd name="connsiteY132" fmla="*/ 6014720 h 8260080"/>
              <a:gd name="connsiteX133" fmla="*/ 2123440 w 3505200"/>
              <a:gd name="connsiteY133" fmla="*/ 6065520 h 8260080"/>
              <a:gd name="connsiteX134" fmla="*/ 2092960 w 3505200"/>
              <a:gd name="connsiteY134" fmla="*/ 6167120 h 8260080"/>
              <a:gd name="connsiteX135" fmla="*/ 2286000 w 3505200"/>
              <a:gd name="connsiteY135" fmla="*/ 5933440 h 8260080"/>
              <a:gd name="connsiteX136" fmla="*/ 2255520 w 3505200"/>
              <a:gd name="connsiteY136" fmla="*/ 5801360 h 8260080"/>
              <a:gd name="connsiteX137" fmla="*/ 2448560 w 3505200"/>
              <a:gd name="connsiteY137" fmla="*/ 5598160 h 8260080"/>
              <a:gd name="connsiteX138" fmla="*/ 2357120 w 3505200"/>
              <a:gd name="connsiteY138" fmla="*/ 5435600 h 8260080"/>
              <a:gd name="connsiteX139" fmla="*/ 2225040 w 3505200"/>
              <a:gd name="connsiteY139" fmla="*/ 5415280 h 8260080"/>
              <a:gd name="connsiteX140" fmla="*/ 2103120 w 3505200"/>
              <a:gd name="connsiteY140" fmla="*/ 5222240 h 8260080"/>
              <a:gd name="connsiteX141" fmla="*/ 2092960 w 3505200"/>
              <a:gd name="connsiteY141" fmla="*/ 5110480 h 8260080"/>
              <a:gd name="connsiteX142" fmla="*/ 2052320 w 3505200"/>
              <a:gd name="connsiteY142" fmla="*/ 5151120 h 8260080"/>
              <a:gd name="connsiteX143" fmla="*/ 2042160 w 3505200"/>
              <a:gd name="connsiteY143" fmla="*/ 5242560 h 8260080"/>
              <a:gd name="connsiteX144" fmla="*/ 1981200 w 3505200"/>
              <a:gd name="connsiteY144" fmla="*/ 5191760 h 8260080"/>
              <a:gd name="connsiteX145" fmla="*/ 2011680 w 3505200"/>
              <a:gd name="connsiteY145" fmla="*/ 5120640 h 8260080"/>
              <a:gd name="connsiteX146" fmla="*/ 1930400 w 3505200"/>
              <a:gd name="connsiteY146" fmla="*/ 5100320 h 8260080"/>
              <a:gd name="connsiteX147" fmla="*/ 1859280 w 3505200"/>
              <a:gd name="connsiteY147" fmla="*/ 4917440 h 8260080"/>
              <a:gd name="connsiteX148" fmla="*/ 1828800 w 3505200"/>
              <a:gd name="connsiteY148" fmla="*/ 4622800 h 8260080"/>
              <a:gd name="connsiteX149" fmla="*/ 1910080 w 3505200"/>
              <a:gd name="connsiteY149" fmla="*/ 4419600 h 8260080"/>
              <a:gd name="connsiteX150" fmla="*/ 1920240 w 3505200"/>
              <a:gd name="connsiteY150" fmla="*/ 4277360 h 8260080"/>
              <a:gd name="connsiteX151" fmla="*/ 1971040 w 3505200"/>
              <a:gd name="connsiteY151" fmla="*/ 4124960 h 8260080"/>
              <a:gd name="connsiteX152" fmla="*/ 1879600 w 3505200"/>
              <a:gd name="connsiteY152" fmla="*/ 4023360 h 8260080"/>
              <a:gd name="connsiteX153" fmla="*/ 2072640 w 3505200"/>
              <a:gd name="connsiteY153" fmla="*/ 4003040 h 8260080"/>
              <a:gd name="connsiteX154" fmla="*/ 2092960 w 3505200"/>
              <a:gd name="connsiteY154" fmla="*/ 3850640 h 8260080"/>
              <a:gd name="connsiteX155" fmla="*/ 2001520 w 3505200"/>
              <a:gd name="connsiteY155" fmla="*/ 3728720 h 8260080"/>
              <a:gd name="connsiteX156" fmla="*/ 2164080 w 3505200"/>
              <a:gd name="connsiteY156" fmla="*/ 3769360 h 8260080"/>
              <a:gd name="connsiteX157" fmla="*/ 2265680 w 3505200"/>
              <a:gd name="connsiteY157" fmla="*/ 3566160 h 8260080"/>
              <a:gd name="connsiteX158" fmla="*/ 2336800 w 3505200"/>
              <a:gd name="connsiteY158" fmla="*/ 3515360 h 8260080"/>
              <a:gd name="connsiteX159" fmla="*/ 2367280 w 3505200"/>
              <a:gd name="connsiteY159" fmla="*/ 3362960 h 8260080"/>
              <a:gd name="connsiteX160" fmla="*/ 2489200 w 3505200"/>
              <a:gd name="connsiteY160" fmla="*/ 3423920 h 8260080"/>
              <a:gd name="connsiteX161" fmla="*/ 2560320 w 3505200"/>
              <a:gd name="connsiteY161" fmla="*/ 3302000 h 8260080"/>
              <a:gd name="connsiteX162" fmla="*/ 2743200 w 3505200"/>
              <a:gd name="connsiteY162" fmla="*/ 3149600 h 8260080"/>
              <a:gd name="connsiteX163" fmla="*/ 2844800 w 3505200"/>
              <a:gd name="connsiteY163" fmla="*/ 3088640 h 8260080"/>
              <a:gd name="connsiteX164" fmla="*/ 2804160 w 3505200"/>
              <a:gd name="connsiteY164" fmla="*/ 2966720 h 8260080"/>
              <a:gd name="connsiteX165" fmla="*/ 2976880 w 3505200"/>
              <a:gd name="connsiteY165" fmla="*/ 2763520 h 8260080"/>
              <a:gd name="connsiteX166" fmla="*/ 2794000 w 3505200"/>
              <a:gd name="connsiteY166" fmla="*/ 2621280 h 8260080"/>
              <a:gd name="connsiteX167" fmla="*/ 2946400 w 3505200"/>
              <a:gd name="connsiteY167" fmla="*/ 2377440 h 8260080"/>
              <a:gd name="connsiteX168" fmla="*/ 2854960 w 3505200"/>
              <a:gd name="connsiteY168" fmla="*/ 2255520 h 8260080"/>
              <a:gd name="connsiteX169" fmla="*/ 3027680 w 3505200"/>
              <a:gd name="connsiteY169" fmla="*/ 2113280 h 8260080"/>
              <a:gd name="connsiteX170" fmla="*/ 3119120 w 3505200"/>
              <a:gd name="connsiteY170" fmla="*/ 2021840 h 8260080"/>
              <a:gd name="connsiteX171" fmla="*/ 3027680 w 3505200"/>
              <a:gd name="connsiteY171" fmla="*/ 1960880 h 8260080"/>
              <a:gd name="connsiteX172" fmla="*/ 3139440 w 3505200"/>
              <a:gd name="connsiteY172" fmla="*/ 1869440 h 8260080"/>
              <a:gd name="connsiteX173" fmla="*/ 3281680 w 3505200"/>
              <a:gd name="connsiteY173" fmla="*/ 1950720 h 8260080"/>
              <a:gd name="connsiteX174" fmla="*/ 3403600 w 3505200"/>
              <a:gd name="connsiteY174" fmla="*/ 1889760 h 8260080"/>
              <a:gd name="connsiteX175" fmla="*/ 3505200 w 3505200"/>
              <a:gd name="connsiteY175" fmla="*/ 1910080 h 8260080"/>
              <a:gd name="connsiteX176" fmla="*/ 3444240 w 3505200"/>
              <a:gd name="connsiteY176" fmla="*/ 1656080 h 8260080"/>
              <a:gd name="connsiteX177" fmla="*/ 3373120 w 3505200"/>
              <a:gd name="connsiteY177" fmla="*/ 1635760 h 8260080"/>
              <a:gd name="connsiteX178" fmla="*/ 3352800 w 3505200"/>
              <a:gd name="connsiteY178" fmla="*/ 1503680 h 8260080"/>
              <a:gd name="connsiteX179" fmla="*/ 3444240 w 3505200"/>
              <a:gd name="connsiteY179" fmla="*/ 1412240 h 8260080"/>
              <a:gd name="connsiteX180" fmla="*/ 3393440 w 3505200"/>
              <a:gd name="connsiteY180" fmla="*/ 1280160 h 8260080"/>
              <a:gd name="connsiteX181" fmla="*/ 3434080 w 3505200"/>
              <a:gd name="connsiteY181" fmla="*/ 1249680 h 8260080"/>
              <a:gd name="connsiteX182" fmla="*/ 3281680 w 3505200"/>
              <a:gd name="connsiteY182" fmla="*/ 1066800 h 8260080"/>
              <a:gd name="connsiteX183" fmla="*/ 3383280 w 3505200"/>
              <a:gd name="connsiteY183" fmla="*/ 975360 h 8260080"/>
              <a:gd name="connsiteX184" fmla="*/ 3302000 w 3505200"/>
              <a:gd name="connsiteY184" fmla="*/ 924560 h 8260080"/>
              <a:gd name="connsiteX185" fmla="*/ 3190240 w 3505200"/>
              <a:gd name="connsiteY185" fmla="*/ 944880 h 8260080"/>
              <a:gd name="connsiteX186" fmla="*/ 3281680 w 3505200"/>
              <a:gd name="connsiteY186" fmla="*/ 792480 h 8260080"/>
              <a:gd name="connsiteX187" fmla="*/ 3210560 w 3505200"/>
              <a:gd name="connsiteY187" fmla="*/ 650240 h 8260080"/>
              <a:gd name="connsiteX188" fmla="*/ 3302000 w 3505200"/>
              <a:gd name="connsiteY188" fmla="*/ 568960 h 8260080"/>
              <a:gd name="connsiteX189" fmla="*/ 3190240 w 3505200"/>
              <a:gd name="connsiteY189" fmla="*/ 487680 h 8260080"/>
              <a:gd name="connsiteX190" fmla="*/ 3108960 w 3505200"/>
              <a:gd name="connsiteY190" fmla="*/ 528320 h 8260080"/>
              <a:gd name="connsiteX191" fmla="*/ 3108960 w 3505200"/>
              <a:gd name="connsiteY191" fmla="*/ 406400 h 8260080"/>
              <a:gd name="connsiteX192" fmla="*/ 2926080 w 3505200"/>
              <a:gd name="connsiteY192" fmla="*/ 314960 h 8260080"/>
              <a:gd name="connsiteX193" fmla="*/ 2834640 w 3505200"/>
              <a:gd name="connsiteY193" fmla="*/ 355600 h 8260080"/>
              <a:gd name="connsiteX194" fmla="*/ 2682240 w 3505200"/>
              <a:gd name="connsiteY194" fmla="*/ 111760 h 8260080"/>
              <a:gd name="connsiteX195" fmla="*/ 2590800 w 3505200"/>
              <a:gd name="connsiteY195" fmla="*/ 121920 h 8260080"/>
              <a:gd name="connsiteX196" fmla="*/ 2611120 w 3505200"/>
              <a:gd name="connsiteY196" fmla="*/ 0 h 8260080"/>
              <a:gd name="connsiteX197" fmla="*/ 2438400 w 3505200"/>
              <a:gd name="connsiteY197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271463 w 3505200"/>
              <a:gd name="connsiteY77" fmla="*/ 7030085 h 8260080"/>
              <a:gd name="connsiteX78" fmla="*/ 280829 w 3505200"/>
              <a:gd name="connsiteY78" fmla="*/ 7148354 h 8260080"/>
              <a:gd name="connsiteX79" fmla="*/ 242962 w 3505200"/>
              <a:gd name="connsiteY79" fmla="*/ 7226746 h 8260080"/>
              <a:gd name="connsiteX80" fmla="*/ 282892 w 3505200"/>
              <a:gd name="connsiteY80" fmla="*/ 7300436 h 8260080"/>
              <a:gd name="connsiteX81" fmla="*/ 334645 w 3505200"/>
              <a:gd name="connsiteY81" fmla="*/ 7194709 h 8260080"/>
              <a:gd name="connsiteX82" fmla="*/ 354881 w 3505200"/>
              <a:gd name="connsiteY82" fmla="*/ 7257702 h 8260080"/>
              <a:gd name="connsiteX83" fmla="*/ 337026 w 3505200"/>
              <a:gd name="connsiteY83" fmla="*/ 7316154 h 8260080"/>
              <a:gd name="connsiteX84" fmla="*/ 370364 w 3505200"/>
              <a:gd name="connsiteY84" fmla="*/ 7360602 h 8260080"/>
              <a:gd name="connsiteX85" fmla="*/ 447040 w 3505200"/>
              <a:gd name="connsiteY85" fmla="*/ 7366000 h 8260080"/>
              <a:gd name="connsiteX86" fmla="*/ 447040 w 3505200"/>
              <a:gd name="connsiteY86" fmla="*/ 7477760 h 8260080"/>
              <a:gd name="connsiteX87" fmla="*/ 558800 w 3505200"/>
              <a:gd name="connsiteY87" fmla="*/ 7528560 h 8260080"/>
              <a:gd name="connsiteX88" fmla="*/ 508000 w 3505200"/>
              <a:gd name="connsiteY88" fmla="*/ 7630160 h 8260080"/>
              <a:gd name="connsiteX89" fmla="*/ 436880 w 3505200"/>
              <a:gd name="connsiteY89" fmla="*/ 7609840 h 8260080"/>
              <a:gd name="connsiteX90" fmla="*/ 447040 w 3505200"/>
              <a:gd name="connsiteY90" fmla="*/ 7691120 h 8260080"/>
              <a:gd name="connsiteX91" fmla="*/ 518160 w 3505200"/>
              <a:gd name="connsiteY91" fmla="*/ 7741920 h 8260080"/>
              <a:gd name="connsiteX92" fmla="*/ 457200 w 3505200"/>
              <a:gd name="connsiteY92" fmla="*/ 7792720 h 8260080"/>
              <a:gd name="connsiteX93" fmla="*/ 396240 w 3505200"/>
              <a:gd name="connsiteY93" fmla="*/ 7701280 h 8260080"/>
              <a:gd name="connsiteX94" fmla="*/ 396240 w 3505200"/>
              <a:gd name="connsiteY94" fmla="*/ 7701280 h 8260080"/>
              <a:gd name="connsiteX95" fmla="*/ 436880 w 3505200"/>
              <a:gd name="connsiteY95" fmla="*/ 7874000 h 8260080"/>
              <a:gd name="connsiteX96" fmla="*/ 436880 w 3505200"/>
              <a:gd name="connsiteY96" fmla="*/ 7924800 h 8260080"/>
              <a:gd name="connsiteX97" fmla="*/ 548640 w 3505200"/>
              <a:gd name="connsiteY97" fmla="*/ 7965440 h 8260080"/>
              <a:gd name="connsiteX98" fmla="*/ 508000 w 3505200"/>
              <a:gd name="connsiteY98" fmla="*/ 8016240 h 8260080"/>
              <a:gd name="connsiteX99" fmla="*/ 589280 w 3505200"/>
              <a:gd name="connsiteY99" fmla="*/ 8056880 h 8260080"/>
              <a:gd name="connsiteX100" fmla="*/ 497840 w 3505200"/>
              <a:gd name="connsiteY100" fmla="*/ 8117840 h 8260080"/>
              <a:gd name="connsiteX101" fmla="*/ 518160 w 3505200"/>
              <a:gd name="connsiteY101" fmla="*/ 8209280 h 8260080"/>
              <a:gd name="connsiteX102" fmla="*/ 640080 w 3505200"/>
              <a:gd name="connsiteY102" fmla="*/ 8260080 h 8260080"/>
              <a:gd name="connsiteX103" fmla="*/ 731520 w 3505200"/>
              <a:gd name="connsiteY103" fmla="*/ 8219440 h 8260080"/>
              <a:gd name="connsiteX104" fmla="*/ 853440 w 3505200"/>
              <a:gd name="connsiteY104" fmla="*/ 8209280 h 8260080"/>
              <a:gd name="connsiteX105" fmla="*/ 955040 w 3505200"/>
              <a:gd name="connsiteY105" fmla="*/ 8260080 h 8260080"/>
              <a:gd name="connsiteX106" fmla="*/ 965200 w 3505200"/>
              <a:gd name="connsiteY106" fmla="*/ 8107680 h 8260080"/>
              <a:gd name="connsiteX107" fmla="*/ 894080 w 3505200"/>
              <a:gd name="connsiteY107" fmla="*/ 8026400 h 8260080"/>
              <a:gd name="connsiteX108" fmla="*/ 1016000 w 3505200"/>
              <a:gd name="connsiteY108" fmla="*/ 7863840 h 8260080"/>
              <a:gd name="connsiteX109" fmla="*/ 1107440 w 3505200"/>
              <a:gd name="connsiteY109" fmla="*/ 7894320 h 8260080"/>
              <a:gd name="connsiteX110" fmla="*/ 1127760 w 3505200"/>
              <a:gd name="connsiteY110" fmla="*/ 7853680 h 8260080"/>
              <a:gd name="connsiteX111" fmla="*/ 1066800 w 3505200"/>
              <a:gd name="connsiteY111" fmla="*/ 7813040 h 8260080"/>
              <a:gd name="connsiteX112" fmla="*/ 1137920 w 3505200"/>
              <a:gd name="connsiteY112" fmla="*/ 7762240 h 8260080"/>
              <a:gd name="connsiteX113" fmla="*/ 1330960 w 3505200"/>
              <a:gd name="connsiteY113" fmla="*/ 7802880 h 8260080"/>
              <a:gd name="connsiteX114" fmla="*/ 1361440 w 3505200"/>
              <a:gd name="connsiteY114" fmla="*/ 7772400 h 8260080"/>
              <a:gd name="connsiteX115" fmla="*/ 1483360 w 3505200"/>
              <a:gd name="connsiteY115" fmla="*/ 7823200 h 8260080"/>
              <a:gd name="connsiteX116" fmla="*/ 1554480 w 3505200"/>
              <a:gd name="connsiteY116" fmla="*/ 7731760 h 8260080"/>
              <a:gd name="connsiteX117" fmla="*/ 1524000 w 3505200"/>
              <a:gd name="connsiteY117" fmla="*/ 7640320 h 8260080"/>
              <a:gd name="connsiteX118" fmla="*/ 1645920 w 3505200"/>
              <a:gd name="connsiteY118" fmla="*/ 7437120 h 8260080"/>
              <a:gd name="connsiteX119" fmla="*/ 1635760 w 3505200"/>
              <a:gd name="connsiteY119" fmla="*/ 7335520 h 8260080"/>
              <a:gd name="connsiteX120" fmla="*/ 1696720 w 3505200"/>
              <a:gd name="connsiteY120" fmla="*/ 7223760 h 8260080"/>
              <a:gd name="connsiteX121" fmla="*/ 1625600 w 3505200"/>
              <a:gd name="connsiteY121" fmla="*/ 7172960 h 8260080"/>
              <a:gd name="connsiteX122" fmla="*/ 1747520 w 3505200"/>
              <a:gd name="connsiteY122" fmla="*/ 6990080 h 8260080"/>
              <a:gd name="connsiteX123" fmla="*/ 1666240 w 3505200"/>
              <a:gd name="connsiteY123" fmla="*/ 6939280 h 8260080"/>
              <a:gd name="connsiteX124" fmla="*/ 1737360 w 3505200"/>
              <a:gd name="connsiteY124" fmla="*/ 6888480 h 8260080"/>
              <a:gd name="connsiteX125" fmla="*/ 1645920 w 3505200"/>
              <a:gd name="connsiteY125" fmla="*/ 6776720 h 8260080"/>
              <a:gd name="connsiteX126" fmla="*/ 1808480 w 3505200"/>
              <a:gd name="connsiteY126" fmla="*/ 6715760 h 8260080"/>
              <a:gd name="connsiteX127" fmla="*/ 1727200 w 3505200"/>
              <a:gd name="connsiteY127" fmla="*/ 6614160 h 8260080"/>
              <a:gd name="connsiteX128" fmla="*/ 1686560 w 3505200"/>
              <a:gd name="connsiteY128" fmla="*/ 6421120 h 8260080"/>
              <a:gd name="connsiteX129" fmla="*/ 1889760 w 3505200"/>
              <a:gd name="connsiteY129" fmla="*/ 6299200 h 8260080"/>
              <a:gd name="connsiteX130" fmla="*/ 1940560 w 3505200"/>
              <a:gd name="connsiteY130" fmla="*/ 6228080 h 8260080"/>
              <a:gd name="connsiteX131" fmla="*/ 2032000 w 3505200"/>
              <a:gd name="connsiteY131" fmla="*/ 6136640 h 8260080"/>
              <a:gd name="connsiteX132" fmla="*/ 2011680 w 3505200"/>
              <a:gd name="connsiteY132" fmla="*/ 6014720 h 8260080"/>
              <a:gd name="connsiteX133" fmla="*/ 2123440 w 3505200"/>
              <a:gd name="connsiteY133" fmla="*/ 6065520 h 8260080"/>
              <a:gd name="connsiteX134" fmla="*/ 2092960 w 3505200"/>
              <a:gd name="connsiteY134" fmla="*/ 6167120 h 8260080"/>
              <a:gd name="connsiteX135" fmla="*/ 2286000 w 3505200"/>
              <a:gd name="connsiteY135" fmla="*/ 5933440 h 8260080"/>
              <a:gd name="connsiteX136" fmla="*/ 2255520 w 3505200"/>
              <a:gd name="connsiteY136" fmla="*/ 5801360 h 8260080"/>
              <a:gd name="connsiteX137" fmla="*/ 2448560 w 3505200"/>
              <a:gd name="connsiteY137" fmla="*/ 5598160 h 8260080"/>
              <a:gd name="connsiteX138" fmla="*/ 2357120 w 3505200"/>
              <a:gd name="connsiteY138" fmla="*/ 5435600 h 8260080"/>
              <a:gd name="connsiteX139" fmla="*/ 2225040 w 3505200"/>
              <a:gd name="connsiteY139" fmla="*/ 5415280 h 8260080"/>
              <a:gd name="connsiteX140" fmla="*/ 2103120 w 3505200"/>
              <a:gd name="connsiteY140" fmla="*/ 5222240 h 8260080"/>
              <a:gd name="connsiteX141" fmla="*/ 2092960 w 3505200"/>
              <a:gd name="connsiteY141" fmla="*/ 5110480 h 8260080"/>
              <a:gd name="connsiteX142" fmla="*/ 2052320 w 3505200"/>
              <a:gd name="connsiteY142" fmla="*/ 5151120 h 8260080"/>
              <a:gd name="connsiteX143" fmla="*/ 2042160 w 3505200"/>
              <a:gd name="connsiteY143" fmla="*/ 5242560 h 8260080"/>
              <a:gd name="connsiteX144" fmla="*/ 1981200 w 3505200"/>
              <a:gd name="connsiteY144" fmla="*/ 5191760 h 8260080"/>
              <a:gd name="connsiteX145" fmla="*/ 2011680 w 3505200"/>
              <a:gd name="connsiteY145" fmla="*/ 5120640 h 8260080"/>
              <a:gd name="connsiteX146" fmla="*/ 1930400 w 3505200"/>
              <a:gd name="connsiteY146" fmla="*/ 5100320 h 8260080"/>
              <a:gd name="connsiteX147" fmla="*/ 1859280 w 3505200"/>
              <a:gd name="connsiteY147" fmla="*/ 4917440 h 8260080"/>
              <a:gd name="connsiteX148" fmla="*/ 1828800 w 3505200"/>
              <a:gd name="connsiteY148" fmla="*/ 4622800 h 8260080"/>
              <a:gd name="connsiteX149" fmla="*/ 1910080 w 3505200"/>
              <a:gd name="connsiteY149" fmla="*/ 4419600 h 8260080"/>
              <a:gd name="connsiteX150" fmla="*/ 1920240 w 3505200"/>
              <a:gd name="connsiteY150" fmla="*/ 4277360 h 8260080"/>
              <a:gd name="connsiteX151" fmla="*/ 1971040 w 3505200"/>
              <a:gd name="connsiteY151" fmla="*/ 4124960 h 8260080"/>
              <a:gd name="connsiteX152" fmla="*/ 1879600 w 3505200"/>
              <a:gd name="connsiteY152" fmla="*/ 4023360 h 8260080"/>
              <a:gd name="connsiteX153" fmla="*/ 2072640 w 3505200"/>
              <a:gd name="connsiteY153" fmla="*/ 4003040 h 8260080"/>
              <a:gd name="connsiteX154" fmla="*/ 2092960 w 3505200"/>
              <a:gd name="connsiteY154" fmla="*/ 3850640 h 8260080"/>
              <a:gd name="connsiteX155" fmla="*/ 2001520 w 3505200"/>
              <a:gd name="connsiteY155" fmla="*/ 3728720 h 8260080"/>
              <a:gd name="connsiteX156" fmla="*/ 2164080 w 3505200"/>
              <a:gd name="connsiteY156" fmla="*/ 3769360 h 8260080"/>
              <a:gd name="connsiteX157" fmla="*/ 2265680 w 3505200"/>
              <a:gd name="connsiteY157" fmla="*/ 3566160 h 8260080"/>
              <a:gd name="connsiteX158" fmla="*/ 2336800 w 3505200"/>
              <a:gd name="connsiteY158" fmla="*/ 3515360 h 8260080"/>
              <a:gd name="connsiteX159" fmla="*/ 2367280 w 3505200"/>
              <a:gd name="connsiteY159" fmla="*/ 3362960 h 8260080"/>
              <a:gd name="connsiteX160" fmla="*/ 2489200 w 3505200"/>
              <a:gd name="connsiteY160" fmla="*/ 3423920 h 8260080"/>
              <a:gd name="connsiteX161" fmla="*/ 2560320 w 3505200"/>
              <a:gd name="connsiteY161" fmla="*/ 3302000 h 8260080"/>
              <a:gd name="connsiteX162" fmla="*/ 2743200 w 3505200"/>
              <a:gd name="connsiteY162" fmla="*/ 3149600 h 8260080"/>
              <a:gd name="connsiteX163" fmla="*/ 2844800 w 3505200"/>
              <a:gd name="connsiteY163" fmla="*/ 3088640 h 8260080"/>
              <a:gd name="connsiteX164" fmla="*/ 2804160 w 3505200"/>
              <a:gd name="connsiteY164" fmla="*/ 2966720 h 8260080"/>
              <a:gd name="connsiteX165" fmla="*/ 2976880 w 3505200"/>
              <a:gd name="connsiteY165" fmla="*/ 2763520 h 8260080"/>
              <a:gd name="connsiteX166" fmla="*/ 2794000 w 3505200"/>
              <a:gd name="connsiteY166" fmla="*/ 2621280 h 8260080"/>
              <a:gd name="connsiteX167" fmla="*/ 2946400 w 3505200"/>
              <a:gd name="connsiteY167" fmla="*/ 2377440 h 8260080"/>
              <a:gd name="connsiteX168" fmla="*/ 2854960 w 3505200"/>
              <a:gd name="connsiteY168" fmla="*/ 2255520 h 8260080"/>
              <a:gd name="connsiteX169" fmla="*/ 3027680 w 3505200"/>
              <a:gd name="connsiteY169" fmla="*/ 2113280 h 8260080"/>
              <a:gd name="connsiteX170" fmla="*/ 3119120 w 3505200"/>
              <a:gd name="connsiteY170" fmla="*/ 2021840 h 8260080"/>
              <a:gd name="connsiteX171" fmla="*/ 3027680 w 3505200"/>
              <a:gd name="connsiteY171" fmla="*/ 1960880 h 8260080"/>
              <a:gd name="connsiteX172" fmla="*/ 3139440 w 3505200"/>
              <a:gd name="connsiteY172" fmla="*/ 1869440 h 8260080"/>
              <a:gd name="connsiteX173" fmla="*/ 3281680 w 3505200"/>
              <a:gd name="connsiteY173" fmla="*/ 1950720 h 8260080"/>
              <a:gd name="connsiteX174" fmla="*/ 3403600 w 3505200"/>
              <a:gd name="connsiteY174" fmla="*/ 1889760 h 8260080"/>
              <a:gd name="connsiteX175" fmla="*/ 3505200 w 3505200"/>
              <a:gd name="connsiteY175" fmla="*/ 1910080 h 8260080"/>
              <a:gd name="connsiteX176" fmla="*/ 3444240 w 3505200"/>
              <a:gd name="connsiteY176" fmla="*/ 1656080 h 8260080"/>
              <a:gd name="connsiteX177" fmla="*/ 3373120 w 3505200"/>
              <a:gd name="connsiteY177" fmla="*/ 1635760 h 8260080"/>
              <a:gd name="connsiteX178" fmla="*/ 3352800 w 3505200"/>
              <a:gd name="connsiteY178" fmla="*/ 1503680 h 8260080"/>
              <a:gd name="connsiteX179" fmla="*/ 3444240 w 3505200"/>
              <a:gd name="connsiteY179" fmla="*/ 1412240 h 8260080"/>
              <a:gd name="connsiteX180" fmla="*/ 3393440 w 3505200"/>
              <a:gd name="connsiteY180" fmla="*/ 1280160 h 8260080"/>
              <a:gd name="connsiteX181" fmla="*/ 3434080 w 3505200"/>
              <a:gd name="connsiteY181" fmla="*/ 1249680 h 8260080"/>
              <a:gd name="connsiteX182" fmla="*/ 3281680 w 3505200"/>
              <a:gd name="connsiteY182" fmla="*/ 1066800 h 8260080"/>
              <a:gd name="connsiteX183" fmla="*/ 3383280 w 3505200"/>
              <a:gd name="connsiteY183" fmla="*/ 975360 h 8260080"/>
              <a:gd name="connsiteX184" fmla="*/ 3302000 w 3505200"/>
              <a:gd name="connsiteY184" fmla="*/ 924560 h 8260080"/>
              <a:gd name="connsiteX185" fmla="*/ 3190240 w 3505200"/>
              <a:gd name="connsiteY185" fmla="*/ 944880 h 8260080"/>
              <a:gd name="connsiteX186" fmla="*/ 3281680 w 3505200"/>
              <a:gd name="connsiteY186" fmla="*/ 792480 h 8260080"/>
              <a:gd name="connsiteX187" fmla="*/ 3210560 w 3505200"/>
              <a:gd name="connsiteY187" fmla="*/ 650240 h 8260080"/>
              <a:gd name="connsiteX188" fmla="*/ 3302000 w 3505200"/>
              <a:gd name="connsiteY188" fmla="*/ 568960 h 8260080"/>
              <a:gd name="connsiteX189" fmla="*/ 3190240 w 3505200"/>
              <a:gd name="connsiteY189" fmla="*/ 487680 h 8260080"/>
              <a:gd name="connsiteX190" fmla="*/ 3108960 w 3505200"/>
              <a:gd name="connsiteY190" fmla="*/ 528320 h 8260080"/>
              <a:gd name="connsiteX191" fmla="*/ 3108960 w 3505200"/>
              <a:gd name="connsiteY191" fmla="*/ 406400 h 8260080"/>
              <a:gd name="connsiteX192" fmla="*/ 2926080 w 3505200"/>
              <a:gd name="connsiteY192" fmla="*/ 314960 h 8260080"/>
              <a:gd name="connsiteX193" fmla="*/ 2834640 w 3505200"/>
              <a:gd name="connsiteY193" fmla="*/ 355600 h 8260080"/>
              <a:gd name="connsiteX194" fmla="*/ 2682240 w 3505200"/>
              <a:gd name="connsiteY194" fmla="*/ 111760 h 8260080"/>
              <a:gd name="connsiteX195" fmla="*/ 2590800 w 3505200"/>
              <a:gd name="connsiteY195" fmla="*/ 121920 h 8260080"/>
              <a:gd name="connsiteX196" fmla="*/ 2611120 w 3505200"/>
              <a:gd name="connsiteY196" fmla="*/ 0 h 8260080"/>
              <a:gd name="connsiteX197" fmla="*/ 2438400 w 3505200"/>
              <a:gd name="connsiteY197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271463 w 3505200"/>
              <a:gd name="connsiteY77" fmla="*/ 7030085 h 8260080"/>
              <a:gd name="connsiteX78" fmla="*/ 280829 w 3505200"/>
              <a:gd name="connsiteY78" fmla="*/ 7148354 h 8260080"/>
              <a:gd name="connsiteX79" fmla="*/ 242962 w 3505200"/>
              <a:gd name="connsiteY79" fmla="*/ 7226746 h 8260080"/>
              <a:gd name="connsiteX80" fmla="*/ 282892 w 3505200"/>
              <a:gd name="connsiteY80" fmla="*/ 7300436 h 8260080"/>
              <a:gd name="connsiteX81" fmla="*/ 334645 w 3505200"/>
              <a:gd name="connsiteY81" fmla="*/ 7194709 h 8260080"/>
              <a:gd name="connsiteX82" fmla="*/ 354881 w 3505200"/>
              <a:gd name="connsiteY82" fmla="*/ 7257702 h 8260080"/>
              <a:gd name="connsiteX83" fmla="*/ 337026 w 3505200"/>
              <a:gd name="connsiteY83" fmla="*/ 7316154 h 8260080"/>
              <a:gd name="connsiteX84" fmla="*/ 370364 w 3505200"/>
              <a:gd name="connsiteY84" fmla="*/ 7360602 h 8260080"/>
              <a:gd name="connsiteX85" fmla="*/ 447040 w 3505200"/>
              <a:gd name="connsiteY85" fmla="*/ 7366000 h 8260080"/>
              <a:gd name="connsiteX86" fmla="*/ 447040 w 3505200"/>
              <a:gd name="connsiteY86" fmla="*/ 7477760 h 8260080"/>
              <a:gd name="connsiteX87" fmla="*/ 558800 w 3505200"/>
              <a:gd name="connsiteY87" fmla="*/ 7528560 h 8260080"/>
              <a:gd name="connsiteX88" fmla="*/ 508000 w 3505200"/>
              <a:gd name="connsiteY88" fmla="*/ 7630160 h 8260080"/>
              <a:gd name="connsiteX89" fmla="*/ 436880 w 3505200"/>
              <a:gd name="connsiteY89" fmla="*/ 7609840 h 8260080"/>
              <a:gd name="connsiteX90" fmla="*/ 447040 w 3505200"/>
              <a:gd name="connsiteY90" fmla="*/ 7691120 h 8260080"/>
              <a:gd name="connsiteX91" fmla="*/ 518160 w 3505200"/>
              <a:gd name="connsiteY91" fmla="*/ 7741920 h 8260080"/>
              <a:gd name="connsiteX92" fmla="*/ 457200 w 3505200"/>
              <a:gd name="connsiteY92" fmla="*/ 7792720 h 8260080"/>
              <a:gd name="connsiteX93" fmla="*/ 396240 w 3505200"/>
              <a:gd name="connsiteY93" fmla="*/ 7701280 h 8260080"/>
              <a:gd name="connsiteX94" fmla="*/ 396240 w 3505200"/>
              <a:gd name="connsiteY94" fmla="*/ 7701280 h 8260080"/>
              <a:gd name="connsiteX95" fmla="*/ 436880 w 3505200"/>
              <a:gd name="connsiteY95" fmla="*/ 7874000 h 8260080"/>
              <a:gd name="connsiteX96" fmla="*/ 436880 w 3505200"/>
              <a:gd name="connsiteY96" fmla="*/ 7924800 h 8260080"/>
              <a:gd name="connsiteX97" fmla="*/ 548640 w 3505200"/>
              <a:gd name="connsiteY97" fmla="*/ 7965440 h 8260080"/>
              <a:gd name="connsiteX98" fmla="*/ 508000 w 3505200"/>
              <a:gd name="connsiteY98" fmla="*/ 8016240 h 8260080"/>
              <a:gd name="connsiteX99" fmla="*/ 589280 w 3505200"/>
              <a:gd name="connsiteY99" fmla="*/ 8056880 h 8260080"/>
              <a:gd name="connsiteX100" fmla="*/ 497840 w 3505200"/>
              <a:gd name="connsiteY100" fmla="*/ 8117840 h 8260080"/>
              <a:gd name="connsiteX101" fmla="*/ 518160 w 3505200"/>
              <a:gd name="connsiteY101" fmla="*/ 8209280 h 8260080"/>
              <a:gd name="connsiteX102" fmla="*/ 640080 w 3505200"/>
              <a:gd name="connsiteY102" fmla="*/ 8260080 h 8260080"/>
              <a:gd name="connsiteX103" fmla="*/ 731520 w 3505200"/>
              <a:gd name="connsiteY103" fmla="*/ 8219440 h 8260080"/>
              <a:gd name="connsiteX104" fmla="*/ 853440 w 3505200"/>
              <a:gd name="connsiteY104" fmla="*/ 8209280 h 8260080"/>
              <a:gd name="connsiteX105" fmla="*/ 955040 w 3505200"/>
              <a:gd name="connsiteY105" fmla="*/ 8260080 h 8260080"/>
              <a:gd name="connsiteX106" fmla="*/ 965200 w 3505200"/>
              <a:gd name="connsiteY106" fmla="*/ 8107680 h 8260080"/>
              <a:gd name="connsiteX107" fmla="*/ 894080 w 3505200"/>
              <a:gd name="connsiteY107" fmla="*/ 8026400 h 8260080"/>
              <a:gd name="connsiteX108" fmla="*/ 1016000 w 3505200"/>
              <a:gd name="connsiteY108" fmla="*/ 7863840 h 8260080"/>
              <a:gd name="connsiteX109" fmla="*/ 1107440 w 3505200"/>
              <a:gd name="connsiteY109" fmla="*/ 7894320 h 8260080"/>
              <a:gd name="connsiteX110" fmla="*/ 1127760 w 3505200"/>
              <a:gd name="connsiteY110" fmla="*/ 7853680 h 8260080"/>
              <a:gd name="connsiteX111" fmla="*/ 1066800 w 3505200"/>
              <a:gd name="connsiteY111" fmla="*/ 7813040 h 8260080"/>
              <a:gd name="connsiteX112" fmla="*/ 1137920 w 3505200"/>
              <a:gd name="connsiteY112" fmla="*/ 7762240 h 8260080"/>
              <a:gd name="connsiteX113" fmla="*/ 1330960 w 3505200"/>
              <a:gd name="connsiteY113" fmla="*/ 7802880 h 8260080"/>
              <a:gd name="connsiteX114" fmla="*/ 1361440 w 3505200"/>
              <a:gd name="connsiteY114" fmla="*/ 7772400 h 8260080"/>
              <a:gd name="connsiteX115" fmla="*/ 1483360 w 3505200"/>
              <a:gd name="connsiteY115" fmla="*/ 7823200 h 8260080"/>
              <a:gd name="connsiteX116" fmla="*/ 1554480 w 3505200"/>
              <a:gd name="connsiteY116" fmla="*/ 7731760 h 8260080"/>
              <a:gd name="connsiteX117" fmla="*/ 1524000 w 3505200"/>
              <a:gd name="connsiteY117" fmla="*/ 7640320 h 8260080"/>
              <a:gd name="connsiteX118" fmla="*/ 1645920 w 3505200"/>
              <a:gd name="connsiteY118" fmla="*/ 7437120 h 8260080"/>
              <a:gd name="connsiteX119" fmla="*/ 1635760 w 3505200"/>
              <a:gd name="connsiteY119" fmla="*/ 7335520 h 8260080"/>
              <a:gd name="connsiteX120" fmla="*/ 1696720 w 3505200"/>
              <a:gd name="connsiteY120" fmla="*/ 7223760 h 8260080"/>
              <a:gd name="connsiteX121" fmla="*/ 1625600 w 3505200"/>
              <a:gd name="connsiteY121" fmla="*/ 7172960 h 8260080"/>
              <a:gd name="connsiteX122" fmla="*/ 1747520 w 3505200"/>
              <a:gd name="connsiteY122" fmla="*/ 6990080 h 8260080"/>
              <a:gd name="connsiteX123" fmla="*/ 1666240 w 3505200"/>
              <a:gd name="connsiteY123" fmla="*/ 6939280 h 8260080"/>
              <a:gd name="connsiteX124" fmla="*/ 1737360 w 3505200"/>
              <a:gd name="connsiteY124" fmla="*/ 6888480 h 8260080"/>
              <a:gd name="connsiteX125" fmla="*/ 1645920 w 3505200"/>
              <a:gd name="connsiteY125" fmla="*/ 6776720 h 8260080"/>
              <a:gd name="connsiteX126" fmla="*/ 1808480 w 3505200"/>
              <a:gd name="connsiteY126" fmla="*/ 6715760 h 8260080"/>
              <a:gd name="connsiteX127" fmla="*/ 1727200 w 3505200"/>
              <a:gd name="connsiteY127" fmla="*/ 6614160 h 8260080"/>
              <a:gd name="connsiteX128" fmla="*/ 1686560 w 3505200"/>
              <a:gd name="connsiteY128" fmla="*/ 6421120 h 8260080"/>
              <a:gd name="connsiteX129" fmla="*/ 1889760 w 3505200"/>
              <a:gd name="connsiteY129" fmla="*/ 6299200 h 8260080"/>
              <a:gd name="connsiteX130" fmla="*/ 1940560 w 3505200"/>
              <a:gd name="connsiteY130" fmla="*/ 6228080 h 8260080"/>
              <a:gd name="connsiteX131" fmla="*/ 2032000 w 3505200"/>
              <a:gd name="connsiteY131" fmla="*/ 6136640 h 8260080"/>
              <a:gd name="connsiteX132" fmla="*/ 2011680 w 3505200"/>
              <a:gd name="connsiteY132" fmla="*/ 6014720 h 8260080"/>
              <a:gd name="connsiteX133" fmla="*/ 2123440 w 3505200"/>
              <a:gd name="connsiteY133" fmla="*/ 6065520 h 8260080"/>
              <a:gd name="connsiteX134" fmla="*/ 2092960 w 3505200"/>
              <a:gd name="connsiteY134" fmla="*/ 6167120 h 8260080"/>
              <a:gd name="connsiteX135" fmla="*/ 2286000 w 3505200"/>
              <a:gd name="connsiteY135" fmla="*/ 5933440 h 8260080"/>
              <a:gd name="connsiteX136" fmla="*/ 2255520 w 3505200"/>
              <a:gd name="connsiteY136" fmla="*/ 5801360 h 8260080"/>
              <a:gd name="connsiteX137" fmla="*/ 2448560 w 3505200"/>
              <a:gd name="connsiteY137" fmla="*/ 5598160 h 8260080"/>
              <a:gd name="connsiteX138" fmla="*/ 2357120 w 3505200"/>
              <a:gd name="connsiteY138" fmla="*/ 5435600 h 8260080"/>
              <a:gd name="connsiteX139" fmla="*/ 2225040 w 3505200"/>
              <a:gd name="connsiteY139" fmla="*/ 5415280 h 8260080"/>
              <a:gd name="connsiteX140" fmla="*/ 2103120 w 3505200"/>
              <a:gd name="connsiteY140" fmla="*/ 5222240 h 8260080"/>
              <a:gd name="connsiteX141" fmla="*/ 2092960 w 3505200"/>
              <a:gd name="connsiteY141" fmla="*/ 5110480 h 8260080"/>
              <a:gd name="connsiteX142" fmla="*/ 2052320 w 3505200"/>
              <a:gd name="connsiteY142" fmla="*/ 5151120 h 8260080"/>
              <a:gd name="connsiteX143" fmla="*/ 2042160 w 3505200"/>
              <a:gd name="connsiteY143" fmla="*/ 5242560 h 8260080"/>
              <a:gd name="connsiteX144" fmla="*/ 1981200 w 3505200"/>
              <a:gd name="connsiteY144" fmla="*/ 5191760 h 8260080"/>
              <a:gd name="connsiteX145" fmla="*/ 2011680 w 3505200"/>
              <a:gd name="connsiteY145" fmla="*/ 5120640 h 8260080"/>
              <a:gd name="connsiteX146" fmla="*/ 1930400 w 3505200"/>
              <a:gd name="connsiteY146" fmla="*/ 5100320 h 8260080"/>
              <a:gd name="connsiteX147" fmla="*/ 1859280 w 3505200"/>
              <a:gd name="connsiteY147" fmla="*/ 4917440 h 8260080"/>
              <a:gd name="connsiteX148" fmla="*/ 1828800 w 3505200"/>
              <a:gd name="connsiteY148" fmla="*/ 4622800 h 8260080"/>
              <a:gd name="connsiteX149" fmla="*/ 1910080 w 3505200"/>
              <a:gd name="connsiteY149" fmla="*/ 4419600 h 8260080"/>
              <a:gd name="connsiteX150" fmla="*/ 1920240 w 3505200"/>
              <a:gd name="connsiteY150" fmla="*/ 4277360 h 8260080"/>
              <a:gd name="connsiteX151" fmla="*/ 1971040 w 3505200"/>
              <a:gd name="connsiteY151" fmla="*/ 4124960 h 8260080"/>
              <a:gd name="connsiteX152" fmla="*/ 1879600 w 3505200"/>
              <a:gd name="connsiteY152" fmla="*/ 4023360 h 8260080"/>
              <a:gd name="connsiteX153" fmla="*/ 2072640 w 3505200"/>
              <a:gd name="connsiteY153" fmla="*/ 4003040 h 8260080"/>
              <a:gd name="connsiteX154" fmla="*/ 2092960 w 3505200"/>
              <a:gd name="connsiteY154" fmla="*/ 3850640 h 8260080"/>
              <a:gd name="connsiteX155" fmla="*/ 2001520 w 3505200"/>
              <a:gd name="connsiteY155" fmla="*/ 3728720 h 8260080"/>
              <a:gd name="connsiteX156" fmla="*/ 2164080 w 3505200"/>
              <a:gd name="connsiteY156" fmla="*/ 3769360 h 8260080"/>
              <a:gd name="connsiteX157" fmla="*/ 2265680 w 3505200"/>
              <a:gd name="connsiteY157" fmla="*/ 3566160 h 8260080"/>
              <a:gd name="connsiteX158" fmla="*/ 2336800 w 3505200"/>
              <a:gd name="connsiteY158" fmla="*/ 3515360 h 8260080"/>
              <a:gd name="connsiteX159" fmla="*/ 2367280 w 3505200"/>
              <a:gd name="connsiteY159" fmla="*/ 3362960 h 8260080"/>
              <a:gd name="connsiteX160" fmla="*/ 2489200 w 3505200"/>
              <a:gd name="connsiteY160" fmla="*/ 3423920 h 8260080"/>
              <a:gd name="connsiteX161" fmla="*/ 2560320 w 3505200"/>
              <a:gd name="connsiteY161" fmla="*/ 3302000 h 8260080"/>
              <a:gd name="connsiteX162" fmla="*/ 2743200 w 3505200"/>
              <a:gd name="connsiteY162" fmla="*/ 3149600 h 8260080"/>
              <a:gd name="connsiteX163" fmla="*/ 2844800 w 3505200"/>
              <a:gd name="connsiteY163" fmla="*/ 3088640 h 8260080"/>
              <a:gd name="connsiteX164" fmla="*/ 2804160 w 3505200"/>
              <a:gd name="connsiteY164" fmla="*/ 2966720 h 8260080"/>
              <a:gd name="connsiteX165" fmla="*/ 2976880 w 3505200"/>
              <a:gd name="connsiteY165" fmla="*/ 2763520 h 8260080"/>
              <a:gd name="connsiteX166" fmla="*/ 2794000 w 3505200"/>
              <a:gd name="connsiteY166" fmla="*/ 2621280 h 8260080"/>
              <a:gd name="connsiteX167" fmla="*/ 2946400 w 3505200"/>
              <a:gd name="connsiteY167" fmla="*/ 2377440 h 8260080"/>
              <a:gd name="connsiteX168" fmla="*/ 2854960 w 3505200"/>
              <a:gd name="connsiteY168" fmla="*/ 2255520 h 8260080"/>
              <a:gd name="connsiteX169" fmla="*/ 3027680 w 3505200"/>
              <a:gd name="connsiteY169" fmla="*/ 2113280 h 8260080"/>
              <a:gd name="connsiteX170" fmla="*/ 3119120 w 3505200"/>
              <a:gd name="connsiteY170" fmla="*/ 2021840 h 8260080"/>
              <a:gd name="connsiteX171" fmla="*/ 3027680 w 3505200"/>
              <a:gd name="connsiteY171" fmla="*/ 1960880 h 8260080"/>
              <a:gd name="connsiteX172" fmla="*/ 3139440 w 3505200"/>
              <a:gd name="connsiteY172" fmla="*/ 1869440 h 8260080"/>
              <a:gd name="connsiteX173" fmla="*/ 3281680 w 3505200"/>
              <a:gd name="connsiteY173" fmla="*/ 1950720 h 8260080"/>
              <a:gd name="connsiteX174" fmla="*/ 3403600 w 3505200"/>
              <a:gd name="connsiteY174" fmla="*/ 1889760 h 8260080"/>
              <a:gd name="connsiteX175" fmla="*/ 3505200 w 3505200"/>
              <a:gd name="connsiteY175" fmla="*/ 1910080 h 8260080"/>
              <a:gd name="connsiteX176" fmla="*/ 3444240 w 3505200"/>
              <a:gd name="connsiteY176" fmla="*/ 1656080 h 8260080"/>
              <a:gd name="connsiteX177" fmla="*/ 3373120 w 3505200"/>
              <a:gd name="connsiteY177" fmla="*/ 1635760 h 8260080"/>
              <a:gd name="connsiteX178" fmla="*/ 3352800 w 3505200"/>
              <a:gd name="connsiteY178" fmla="*/ 1503680 h 8260080"/>
              <a:gd name="connsiteX179" fmla="*/ 3444240 w 3505200"/>
              <a:gd name="connsiteY179" fmla="*/ 1412240 h 8260080"/>
              <a:gd name="connsiteX180" fmla="*/ 3393440 w 3505200"/>
              <a:gd name="connsiteY180" fmla="*/ 1280160 h 8260080"/>
              <a:gd name="connsiteX181" fmla="*/ 3434080 w 3505200"/>
              <a:gd name="connsiteY181" fmla="*/ 1249680 h 8260080"/>
              <a:gd name="connsiteX182" fmla="*/ 3281680 w 3505200"/>
              <a:gd name="connsiteY182" fmla="*/ 1066800 h 8260080"/>
              <a:gd name="connsiteX183" fmla="*/ 3383280 w 3505200"/>
              <a:gd name="connsiteY183" fmla="*/ 975360 h 8260080"/>
              <a:gd name="connsiteX184" fmla="*/ 3302000 w 3505200"/>
              <a:gd name="connsiteY184" fmla="*/ 924560 h 8260080"/>
              <a:gd name="connsiteX185" fmla="*/ 3190240 w 3505200"/>
              <a:gd name="connsiteY185" fmla="*/ 944880 h 8260080"/>
              <a:gd name="connsiteX186" fmla="*/ 3281680 w 3505200"/>
              <a:gd name="connsiteY186" fmla="*/ 792480 h 8260080"/>
              <a:gd name="connsiteX187" fmla="*/ 3210560 w 3505200"/>
              <a:gd name="connsiteY187" fmla="*/ 650240 h 8260080"/>
              <a:gd name="connsiteX188" fmla="*/ 3302000 w 3505200"/>
              <a:gd name="connsiteY188" fmla="*/ 568960 h 8260080"/>
              <a:gd name="connsiteX189" fmla="*/ 3190240 w 3505200"/>
              <a:gd name="connsiteY189" fmla="*/ 487680 h 8260080"/>
              <a:gd name="connsiteX190" fmla="*/ 3108960 w 3505200"/>
              <a:gd name="connsiteY190" fmla="*/ 528320 h 8260080"/>
              <a:gd name="connsiteX191" fmla="*/ 3108960 w 3505200"/>
              <a:gd name="connsiteY191" fmla="*/ 406400 h 8260080"/>
              <a:gd name="connsiteX192" fmla="*/ 2926080 w 3505200"/>
              <a:gd name="connsiteY192" fmla="*/ 314960 h 8260080"/>
              <a:gd name="connsiteX193" fmla="*/ 2834640 w 3505200"/>
              <a:gd name="connsiteY193" fmla="*/ 355600 h 8260080"/>
              <a:gd name="connsiteX194" fmla="*/ 2682240 w 3505200"/>
              <a:gd name="connsiteY194" fmla="*/ 111760 h 8260080"/>
              <a:gd name="connsiteX195" fmla="*/ 2590800 w 3505200"/>
              <a:gd name="connsiteY195" fmla="*/ 121920 h 8260080"/>
              <a:gd name="connsiteX196" fmla="*/ 2611120 w 3505200"/>
              <a:gd name="connsiteY196" fmla="*/ 0 h 8260080"/>
              <a:gd name="connsiteX197" fmla="*/ 2438400 w 3505200"/>
              <a:gd name="connsiteY197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80829 w 3505200"/>
              <a:gd name="connsiteY78" fmla="*/ 7148354 h 8260080"/>
              <a:gd name="connsiteX79" fmla="*/ 242962 w 3505200"/>
              <a:gd name="connsiteY79" fmla="*/ 7226746 h 8260080"/>
              <a:gd name="connsiteX80" fmla="*/ 282892 w 3505200"/>
              <a:gd name="connsiteY80" fmla="*/ 7300436 h 8260080"/>
              <a:gd name="connsiteX81" fmla="*/ 334645 w 3505200"/>
              <a:gd name="connsiteY81" fmla="*/ 7194709 h 8260080"/>
              <a:gd name="connsiteX82" fmla="*/ 354881 w 3505200"/>
              <a:gd name="connsiteY82" fmla="*/ 7257702 h 8260080"/>
              <a:gd name="connsiteX83" fmla="*/ 337026 w 3505200"/>
              <a:gd name="connsiteY83" fmla="*/ 7316154 h 8260080"/>
              <a:gd name="connsiteX84" fmla="*/ 370364 w 3505200"/>
              <a:gd name="connsiteY84" fmla="*/ 7360602 h 8260080"/>
              <a:gd name="connsiteX85" fmla="*/ 447040 w 3505200"/>
              <a:gd name="connsiteY85" fmla="*/ 7366000 h 8260080"/>
              <a:gd name="connsiteX86" fmla="*/ 447040 w 3505200"/>
              <a:gd name="connsiteY86" fmla="*/ 7477760 h 8260080"/>
              <a:gd name="connsiteX87" fmla="*/ 558800 w 3505200"/>
              <a:gd name="connsiteY87" fmla="*/ 7528560 h 8260080"/>
              <a:gd name="connsiteX88" fmla="*/ 508000 w 3505200"/>
              <a:gd name="connsiteY88" fmla="*/ 7630160 h 8260080"/>
              <a:gd name="connsiteX89" fmla="*/ 436880 w 3505200"/>
              <a:gd name="connsiteY89" fmla="*/ 7609840 h 8260080"/>
              <a:gd name="connsiteX90" fmla="*/ 447040 w 3505200"/>
              <a:gd name="connsiteY90" fmla="*/ 7691120 h 8260080"/>
              <a:gd name="connsiteX91" fmla="*/ 518160 w 3505200"/>
              <a:gd name="connsiteY91" fmla="*/ 7741920 h 8260080"/>
              <a:gd name="connsiteX92" fmla="*/ 457200 w 3505200"/>
              <a:gd name="connsiteY92" fmla="*/ 7792720 h 8260080"/>
              <a:gd name="connsiteX93" fmla="*/ 396240 w 3505200"/>
              <a:gd name="connsiteY93" fmla="*/ 7701280 h 8260080"/>
              <a:gd name="connsiteX94" fmla="*/ 396240 w 3505200"/>
              <a:gd name="connsiteY94" fmla="*/ 7701280 h 8260080"/>
              <a:gd name="connsiteX95" fmla="*/ 436880 w 3505200"/>
              <a:gd name="connsiteY95" fmla="*/ 7874000 h 8260080"/>
              <a:gd name="connsiteX96" fmla="*/ 436880 w 3505200"/>
              <a:gd name="connsiteY96" fmla="*/ 7924800 h 8260080"/>
              <a:gd name="connsiteX97" fmla="*/ 548640 w 3505200"/>
              <a:gd name="connsiteY97" fmla="*/ 7965440 h 8260080"/>
              <a:gd name="connsiteX98" fmla="*/ 508000 w 3505200"/>
              <a:gd name="connsiteY98" fmla="*/ 8016240 h 8260080"/>
              <a:gd name="connsiteX99" fmla="*/ 589280 w 3505200"/>
              <a:gd name="connsiteY99" fmla="*/ 8056880 h 8260080"/>
              <a:gd name="connsiteX100" fmla="*/ 497840 w 3505200"/>
              <a:gd name="connsiteY100" fmla="*/ 8117840 h 8260080"/>
              <a:gd name="connsiteX101" fmla="*/ 518160 w 3505200"/>
              <a:gd name="connsiteY101" fmla="*/ 8209280 h 8260080"/>
              <a:gd name="connsiteX102" fmla="*/ 640080 w 3505200"/>
              <a:gd name="connsiteY102" fmla="*/ 8260080 h 8260080"/>
              <a:gd name="connsiteX103" fmla="*/ 731520 w 3505200"/>
              <a:gd name="connsiteY103" fmla="*/ 8219440 h 8260080"/>
              <a:gd name="connsiteX104" fmla="*/ 853440 w 3505200"/>
              <a:gd name="connsiteY104" fmla="*/ 8209280 h 8260080"/>
              <a:gd name="connsiteX105" fmla="*/ 955040 w 3505200"/>
              <a:gd name="connsiteY105" fmla="*/ 8260080 h 8260080"/>
              <a:gd name="connsiteX106" fmla="*/ 965200 w 3505200"/>
              <a:gd name="connsiteY106" fmla="*/ 8107680 h 8260080"/>
              <a:gd name="connsiteX107" fmla="*/ 894080 w 3505200"/>
              <a:gd name="connsiteY107" fmla="*/ 8026400 h 8260080"/>
              <a:gd name="connsiteX108" fmla="*/ 1016000 w 3505200"/>
              <a:gd name="connsiteY108" fmla="*/ 7863840 h 8260080"/>
              <a:gd name="connsiteX109" fmla="*/ 1107440 w 3505200"/>
              <a:gd name="connsiteY109" fmla="*/ 7894320 h 8260080"/>
              <a:gd name="connsiteX110" fmla="*/ 1127760 w 3505200"/>
              <a:gd name="connsiteY110" fmla="*/ 7853680 h 8260080"/>
              <a:gd name="connsiteX111" fmla="*/ 1066800 w 3505200"/>
              <a:gd name="connsiteY111" fmla="*/ 7813040 h 8260080"/>
              <a:gd name="connsiteX112" fmla="*/ 1137920 w 3505200"/>
              <a:gd name="connsiteY112" fmla="*/ 7762240 h 8260080"/>
              <a:gd name="connsiteX113" fmla="*/ 1330960 w 3505200"/>
              <a:gd name="connsiteY113" fmla="*/ 7802880 h 8260080"/>
              <a:gd name="connsiteX114" fmla="*/ 1361440 w 3505200"/>
              <a:gd name="connsiteY114" fmla="*/ 7772400 h 8260080"/>
              <a:gd name="connsiteX115" fmla="*/ 1483360 w 3505200"/>
              <a:gd name="connsiteY115" fmla="*/ 7823200 h 8260080"/>
              <a:gd name="connsiteX116" fmla="*/ 1554480 w 3505200"/>
              <a:gd name="connsiteY116" fmla="*/ 7731760 h 8260080"/>
              <a:gd name="connsiteX117" fmla="*/ 1524000 w 3505200"/>
              <a:gd name="connsiteY117" fmla="*/ 7640320 h 8260080"/>
              <a:gd name="connsiteX118" fmla="*/ 1645920 w 3505200"/>
              <a:gd name="connsiteY118" fmla="*/ 7437120 h 8260080"/>
              <a:gd name="connsiteX119" fmla="*/ 1635760 w 3505200"/>
              <a:gd name="connsiteY119" fmla="*/ 7335520 h 8260080"/>
              <a:gd name="connsiteX120" fmla="*/ 1696720 w 3505200"/>
              <a:gd name="connsiteY120" fmla="*/ 7223760 h 8260080"/>
              <a:gd name="connsiteX121" fmla="*/ 1625600 w 3505200"/>
              <a:gd name="connsiteY121" fmla="*/ 7172960 h 8260080"/>
              <a:gd name="connsiteX122" fmla="*/ 1747520 w 3505200"/>
              <a:gd name="connsiteY122" fmla="*/ 6990080 h 8260080"/>
              <a:gd name="connsiteX123" fmla="*/ 1666240 w 3505200"/>
              <a:gd name="connsiteY123" fmla="*/ 6939280 h 8260080"/>
              <a:gd name="connsiteX124" fmla="*/ 1737360 w 3505200"/>
              <a:gd name="connsiteY124" fmla="*/ 6888480 h 8260080"/>
              <a:gd name="connsiteX125" fmla="*/ 1645920 w 3505200"/>
              <a:gd name="connsiteY125" fmla="*/ 6776720 h 8260080"/>
              <a:gd name="connsiteX126" fmla="*/ 1808480 w 3505200"/>
              <a:gd name="connsiteY126" fmla="*/ 6715760 h 8260080"/>
              <a:gd name="connsiteX127" fmla="*/ 1727200 w 3505200"/>
              <a:gd name="connsiteY127" fmla="*/ 6614160 h 8260080"/>
              <a:gd name="connsiteX128" fmla="*/ 1686560 w 3505200"/>
              <a:gd name="connsiteY128" fmla="*/ 6421120 h 8260080"/>
              <a:gd name="connsiteX129" fmla="*/ 1889760 w 3505200"/>
              <a:gd name="connsiteY129" fmla="*/ 6299200 h 8260080"/>
              <a:gd name="connsiteX130" fmla="*/ 1940560 w 3505200"/>
              <a:gd name="connsiteY130" fmla="*/ 6228080 h 8260080"/>
              <a:gd name="connsiteX131" fmla="*/ 2032000 w 3505200"/>
              <a:gd name="connsiteY131" fmla="*/ 6136640 h 8260080"/>
              <a:gd name="connsiteX132" fmla="*/ 2011680 w 3505200"/>
              <a:gd name="connsiteY132" fmla="*/ 6014720 h 8260080"/>
              <a:gd name="connsiteX133" fmla="*/ 2123440 w 3505200"/>
              <a:gd name="connsiteY133" fmla="*/ 6065520 h 8260080"/>
              <a:gd name="connsiteX134" fmla="*/ 2092960 w 3505200"/>
              <a:gd name="connsiteY134" fmla="*/ 6167120 h 8260080"/>
              <a:gd name="connsiteX135" fmla="*/ 2286000 w 3505200"/>
              <a:gd name="connsiteY135" fmla="*/ 5933440 h 8260080"/>
              <a:gd name="connsiteX136" fmla="*/ 2255520 w 3505200"/>
              <a:gd name="connsiteY136" fmla="*/ 5801360 h 8260080"/>
              <a:gd name="connsiteX137" fmla="*/ 2448560 w 3505200"/>
              <a:gd name="connsiteY137" fmla="*/ 5598160 h 8260080"/>
              <a:gd name="connsiteX138" fmla="*/ 2357120 w 3505200"/>
              <a:gd name="connsiteY138" fmla="*/ 5435600 h 8260080"/>
              <a:gd name="connsiteX139" fmla="*/ 2225040 w 3505200"/>
              <a:gd name="connsiteY139" fmla="*/ 5415280 h 8260080"/>
              <a:gd name="connsiteX140" fmla="*/ 2103120 w 3505200"/>
              <a:gd name="connsiteY140" fmla="*/ 5222240 h 8260080"/>
              <a:gd name="connsiteX141" fmla="*/ 2092960 w 3505200"/>
              <a:gd name="connsiteY141" fmla="*/ 5110480 h 8260080"/>
              <a:gd name="connsiteX142" fmla="*/ 2052320 w 3505200"/>
              <a:gd name="connsiteY142" fmla="*/ 5151120 h 8260080"/>
              <a:gd name="connsiteX143" fmla="*/ 2042160 w 3505200"/>
              <a:gd name="connsiteY143" fmla="*/ 5242560 h 8260080"/>
              <a:gd name="connsiteX144" fmla="*/ 1981200 w 3505200"/>
              <a:gd name="connsiteY144" fmla="*/ 5191760 h 8260080"/>
              <a:gd name="connsiteX145" fmla="*/ 2011680 w 3505200"/>
              <a:gd name="connsiteY145" fmla="*/ 5120640 h 8260080"/>
              <a:gd name="connsiteX146" fmla="*/ 1930400 w 3505200"/>
              <a:gd name="connsiteY146" fmla="*/ 5100320 h 8260080"/>
              <a:gd name="connsiteX147" fmla="*/ 1859280 w 3505200"/>
              <a:gd name="connsiteY147" fmla="*/ 4917440 h 8260080"/>
              <a:gd name="connsiteX148" fmla="*/ 1828800 w 3505200"/>
              <a:gd name="connsiteY148" fmla="*/ 4622800 h 8260080"/>
              <a:gd name="connsiteX149" fmla="*/ 1910080 w 3505200"/>
              <a:gd name="connsiteY149" fmla="*/ 4419600 h 8260080"/>
              <a:gd name="connsiteX150" fmla="*/ 1920240 w 3505200"/>
              <a:gd name="connsiteY150" fmla="*/ 4277360 h 8260080"/>
              <a:gd name="connsiteX151" fmla="*/ 1971040 w 3505200"/>
              <a:gd name="connsiteY151" fmla="*/ 4124960 h 8260080"/>
              <a:gd name="connsiteX152" fmla="*/ 1879600 w 3505200"/>
              <a:gd name="connsiteY152" fmla="*/ 4023360 h 8260080"/>
              <a:gd name="connsiteX153" fmla="*/ 2072640 w 3505200"/>
              <a:gd name="connsiteY153" fmla="*/ 4003040 h 8260080"/>
              <a:gd name="connsiteX154" fmla="*/ 2092960 w 3505200"/>
              <a:gd name="connsiteY154" fmla="*/ 3850640 h 8260080"/>
              <a:gd name="connsiteX155" fmla="*/ 2001520 w 3505200"/>
              <a:gd name="connsiteY155" fmla="*/ 3728720 h 8260080"/>
              <a:gd name="connsiteX156" fmla="*/ 2164080 w 3505200"/>
              <a:gd name="connsiteY156" fmla="*/ 3769360 h 8260080"/>
              <a:gd name="connsiteX157" fmla="*/ 2265680 w 3505200"/>
              <a:gd name="connsiteY157" fmla="*/ 3566160 h 8260080"/>
              <a:gd name="connsiteX158" fmla="*/ 2336800 w 3505200"/>
              <a:gd name="connsiteY158" fmla="*/ 3515360 h 8260080"/>
              <a:gd name="connsiteX159" fmla="*/ 2367280 w 3505200"/>
              <a:gd name="connsiteY159" fmla="*/ 3362960 h 8260080"/>
              <a:gd name="connsiteX160" fmla="*/ 2489200 w 3505200"/>
              <a:gd name="connsiteY160" fmla="*/ 3423920 h 8260080"/>
              <a:gd name="connsiteX161" fmla="*/ 2560320 w 3505200"/>
              <a:gd name="connsiteY161" fmla="*/ 3302000 h 8260080"/>
              <a:gd name="connsiteX162" fmla="*/ 2743200 w 3505200"/>
              <a:gd name="connsiteY162" fmla="*/ 3149600 h 8260080"/>
              <a:gd name="connsiteX163" fmla="*/ 2844800 w 3505200"/>
              <a:gd name="connsiteY163" fmla="*/ 3088640 h 8260080"/>
              <a:gd name="connsiteX164" fmla="*/ 2804160 w 3505200"/>
              <a:gd name="connsiteY164" fmla="*/ 2966720 h 8260080"/>
              <a:gd name="connsiteX165" fmla="*/ 2976880 w 3505200"/>
              <a:gd name="connsiteY165" fmla="*/ 2763520 h 8260080"/>
              <a:gd name="connsiteX166" fmla="*/ 2794000 w 3505200"/>
              <a:gd name="connsiteY166" fmla="*/ 2621280 h 8260080"/>
              <a:gd name="connsiteX167" fmla="*/ 2946400 w 3505200"/>
              <a:gd name="connsiteY167" fmla="*/ 2377440 h 8260080"/>
              <a:gd name="connsiteX168" fmla="*/ 2854960 w 3505200"/>
              <a:gd name="connsiteY168" fmla="*/ 2255520 h 8260080"/>
              <a:gd name="connsiteX169" fmla="*/ 3027680 w 3505200"/>
              <a:gd name="connsiteY169" fmla="*/ 2113280 h 8260080"/>
              <a:gd name="connsiteX170" fmla="*/ 3119120 w 3505200"/>
              <a:gd name="connsiteY170" fmla="*/ 2021840 h 8260080"/>
              <a:gd name="connsiteX171" fmla="*/ 3027680 w 3505200"/>
              <a:gd name="connsiteY171" fmla="*/ 1960880 h 8260080"/>
              <a:gd name="connsiteX172" fmla="*/ 3139440 w 3505200"/>
              <a:gd name="connsiteY172" fmla="*/ 1869440 h 8260080"/>
              <a:gd name="connsiteX173" fmla="*/ 3281680 w 3505200"/>
              <a:gd name="connsiteY173" fmla="*/ 1950720 h 8260080"/>
              <a:gd name="connsiteX174" fmla="*/ 3403600 w 3505200"/>
              <a:gd name="connsiteY174" fmla="*/ 1889760 h 8260080"/>
              <a:gd name="connsiteX175" fmla="*/ 3505200 w 3505200"/>
              <a:gd name="connsiteY175" fmla="*/ 1910080 h 8260080"/>
              <a:gd name="connsiteX176" fmla="*/ 3444240 w 3505200"/>
              <a:gd name="connsiteY176" fmla="*/ 1656080 h 8260080"/>
              <a:gd name="connsiteX177" fmla="*/ 3373120 w 3505200"/>
              <a:gd name="connsiteY177" fmla="*/ 1635760 h 8260080"/>
              <a:gd name="connsiteX178" fmla="*/ 3352800 w 3505200"/>
              <a:gd name="connsiteY178" fmla="*/ 1503680 h 8260080"/>
              <a:gd name="connsiteX179" fmla="*/ 3444240 w 3505200"/>
              <a:gd name="connsiteY179" fmla="*/ 1412240 h 8260080"/>
              <a:gd name="connsiteX180" fmla="*/ 3393440 w 3505200"/>
              <a:gd name="connsiteY180" fmla="*/ 1280160 h 8260080"/>
              <a:gd name="connsiteX181" fmla="*/ 3434080 w 3505200"/>
              <a:gd name="connsiteY181" fmla="*/ 1249680 h 8260080"/>
              <a:gd name="connsiteX182" fmla="*/ 3281680 w 3505200"/>
              <a:gd name="connsiteY182" fmla="*/ 1066800 h 8260080"/>
              <a:gd name="connsiteX183" fmla="*/ 3383280 w 3505200"/>
              <a:gd name="connsiteY183" fmla="*/ 975360 h 8260080"/>
              <a:gd name="connsiteX184" fmla="*/ 3302000 w 3505200"/>
              <a:gd name="connsiteY184" fmla="*/ 924560 h 8260080"/>
              <a:gd name="connsiteX185" fmla="*/ 3190240 w 3505200"/>
              <a:gd name="connsiteY185" fmla="*/ 944880 h 8260080"/>
              <a:gd name="connsiteX186" fmla="*/ 3281680 w 3505200"/>
              <a:gd name="connsiteY186" fmla="*/ 792480 h 8260080"/>
              <a:gd name="connsiteX187" fmla="*/ 3210560 w 3505200"/>
              <a:gd name="connsiteY187" fmla="*/ 650240 h 8260080"/>
              <a:gd name="connsiteX188" fmla="*/ 3302000 w 3505200"/>
              <a:gd name="connsiteY188" fmla="*/ 568960 h 8260080"/>
              <a:gd name="connsiteX189" fmla="*/ 3190240 w 3505200"/>
              <a:gd name="connsiteY189" fmla="*/ 487680 h 8260080"/>
              <a:gd name="connsiteX190" fmla="*/ 3108960 w 3505200"/>
              <a:gd name="connsiteY190" fmla="*/ 528320 h 8260080"/>
              <a:gd name="connsiteX191" fmla="*/ 3108960 w 3505200"/>
              <a:gd name="connsiteY191" fmla="*/ 406400 h 8260080"/>
              <a:gd name="connsiteX192" fmla="*/ 2926080 w 3505200"/>
              <a:gd name="connsiteY192" fmla="*/ 314960 h 8260080"/>
              <a:gd name="connsiteX193" fmla="*/ 2834640 w 3505200"/>
              <a:gd name="connsiteY193" fmla="*/ 355600 h 8260080"/>
              <a:gd name="connsiteX194" fmla="*/ 2682240 w 3505200"/>
              <a:gd name="connsiteY194" fmla="*/ 111760 h 8260080"/>
              <a:gd name="connsiteX195" fmla="*/ 2590800 w 3505200"/>
              <a:gd name="connsiteY195" fmla="*/ 121920 h 8260080"/>
              <a:gd name="connsiteX196" fmla="*/ 2611120 w 3505200"/>
              <a:gd name="connsiteY196" fmla="*/ 0 h 8260080"/>
              <a:gd name="connsiteX197" fmla="*/ 2438400 w 3505200"/>
              <a:gd name="connsiteY197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80829 w 3505200"/>
              <a:gd name="connsiteY79" fmla="*/ 7148354 h 8260080"/>
              <a:gd name="connsiteX80" fmla="*/ 242962 w 3505200"/>
              <a:gd name="connsiteY80" fmla="*/ 7226746 h 8260080"/>
              <a:gd name="connsiteX81" fmla="*/ 282892 w 3505200"/>
              <a:gd name="connsiteY81" fmla="*/ 7300436 h 8260080"/>
              <a:gd name="connsiteX82" fmla="*/ 334645 w 3505200"/>
              <a:gd name="connsiteY82" fmla="*/ 7194709 h 8260080"/>
              <a:gd name="connsiteX83" fmla="*/ 354881 w 3505200"/>
              <a:gd name="connsiteY83" fmla="*/ 7257702 h 8260080"/>
              <a:gd name="connsiteX84" fmla="*/ 337026 w 3505200"/>
              <a:gd name="connsiteY84" fmla="*/ 7316154 h 8260080"/>
              <a:gd name="connsiteX85" fmla="*/ 370364 w 3505200"/>
              <a:gd name="connsiteY85" fmla="*/ 7360602 h 8260080"/>
              <a:gd name="connsiteX86" fmla="*/ 447040 w 3505200"/>
              <a:gd name="connsiteY86" fmla="*/ 7366000 h 8260080"/>
              <a:gd name="connsiteX87" fmla="*/ 447040 w 3505200"/>
              <a:gd name="connsiteY87" fmla="*/ 7477760 h 8260080"/>
              <a:gd name="connsiteX88" fmla="*/ 558800 w 3505200"/>
              <a:gd name="connsiteY88" fmla="*/ 7528560 h 8260080"/>
              <a:gd name="connsiteX89" fmla="*/ 508000 w 3505200"/>
              <a:gd name="connsiteY89" fmla="*/ 7630160 h 8260080"/>
              <a:gd name="connsiteX90" fmla="*/ 436880 w 3505200"/>
              <a:gd name="connsiteY90" fmla="*/ 7609840 h 8260080"/>
              <a:gd name="connsiteX91" fmla="*/ 447040 w 3505200"/>
              <a:gd name="connsiteY91" fmla="*/ 7691120 h 8260080"/>
              <a:gd name="connsiteX92" fmla="*/ 518160 w 3505200"/>
              <a:gd name="connsiteY92" fmla="*/ 7741920 h 8260080"/>
              <a:gd name="connsiteX93" fmla="*/ 457200 w 3505200"/>
              <a:gd name="connsiteY93" fmla="*/ 7792720 h 8260080"/>
              <a:gd name="connsiteX94" fmla="*/ 396240 w 3505200"/>
              <a:gd name="connsiteY94" fmla="*/ 7701280 h 8260080"/>
              <a:gd name="connsiteX95" fmla="*/ 396240 w 3505200"/>
              <a:gd name="connsiteY95" fmla="*/ 7701280 h 8260080"/>
              <a:gd name="connsiteX96" fmla="*/ 436880 w 3505200"/>
              <a:gd name="connsiteY96" fmla="*/ 7874000 h 8260080"/>
              <a:gd name="connsiteX97" fmla="*/ 436880 w 3505200"/>
              <a:gd name="connsiteY97" fmla="*/ 7924800 h 8260080"/>
              <a:gd name="connsiteX98" fmla="*/ 548640 w 3505200"/>
              <a:gd name="connsiteY98" fmla="*/ 7965440 h 8260080"/>
              <a:gd name="connsiteX99" fmla="*/ 508000 w 3505200"/>
              <a:gd name="connsiteY99" fmla="*/ 8016240 h 8260080"/>
              <a:gd name="connsiteX100" fmla="*/ 589280 w 3505200"/>
              <a:gd name="connsiteY100" fmla="*/ 8056880 h 8260080"/>
              <a:gd name="connsiteX101" fmla="*/ 497840 w 3505200"/>
              <a:gd name="connsiteY101" fmla="*/ 8117840 h 8260080"/>
              <a:gd name="connsiteX102" fmla="*/ 518160 w 3505200"/>
              <a:gd name="connsiteY102" fmla="*/ 8209280 h 8260080"/>
              <a:gd name="connsiteX103" fmla="*/ 640080 w 3505200"/>
              <a:gd name="connsiteY103" fmla="*/ 8260080 h 8260080"/>
              <a:gd name="connsiteX104" fmla="*/ 731520 w 3505200"/>
              <a:gd name="connsiteY104" fmla="*/ 8219440 h 8260080"/>
              <a:gd name="connsiteX105" fmla="*/ 853440 w 3505200"/>
              <a:gd name="connsiteY105" fmla="*/ 8209280 h 8260080"/>
              <a:gd name="connsiteX106" fmla="*/ 955040 w 3505200"/>
              <a:gd name="connsiteY106" fmla="*/ 8260080 h 8260080"/>
              <a:gd name="connsiteX107" fmla="*/ 965200 w 3505200"/>
              <a:gd name="connsiteY107" fmla="*/ 8107680 h 8260080"/>
              <a:gd name="connsiteX108" fmla="*/ 894080 w 3505200"/>
              <a:gd name="connsiteY108" fmla="*/ 8026400 h 8260080"/>
              <a:gd name="connsiteX109" fmla="*/ 1016000 w 3505200"/>
              <a:gd name="connsiteY109" fmla="*/ 7863840 h 8260080"/>
              <a:gd name="connsiteX110" fmla="*/ 1107440 w 3505200"/>
              <a:gd name="connsiteY110" fmla="*/ 7894320 h 8260080"/>
              <a:gd name="connsiteX111" fmla="*/ 1127760 w 3505200"/>
              <a:gd name="connsiteY111" fmla="*/ 7853680 h 8260080"/>
              <a:gd name="connsiteX112" fmla="*/ 1066800 w 3505200"/>
              <a:gd name="connsiteY112" fmla="*/ 7813040 h 8260080"/>
              <a:gd name="connsiteX113" fmla="*/ 1137920 w 3505200"/>
              <a:gd name="connsiteY113" fmla="*/ 7762240 h 8260080"/>
              <a:gd name="connsiteX114" fmla="*/ 1330960 w 3505200"/>
              <a:gd name="connsiteY114" fmla="*/ 7802880 h 8260080"/>
              <a:gd name="connsiteX115" fmla="*/ 1361440 w 3505200"/>
              <a:gd name="connsiteY115" fmla="*/ 7772400 h 8260080"/>
              <a:gd name="connsiteX116" fmla="*/ 1483360 w 3505200"/>
              <a:gd name="connsiteY116" fmla="*/ 7823200 h 8260080"/>
              <a:gd name="connsiteX117" fmla="*/ 1554480 w 3505200"/>
              <a:gd name="connsiteY117" fmla="*/ 7731760 h 8260080"/>
              <a:gd name="connsiteX118" fmla="*/ 1524000 w 3505200"/>
              <a:gd name="connsiteY118" fmla="*/ 7640320 h 8260080"/>
              <a:gd name="connsiteX119" fmla="*/ 1645920 w 3505200"/>
              <a:gd name="connsiteY119" fmla="*/ 7437120 h 8260080"/>
              <a:gd name="connsiteX120" fmla="*/ 1635760 w 3505200"/>
              <a:gd name="connsiteY120" fmla="*/ 7335520 h 8260080"/>
              <a:gd name="connsiteX121" fmla="*/ 1696720 w 3505200"/>
              <a:gd name="connsiteY121" fmla="*/ 7223760 h 8260080"/>
              <a:gd name="connsiteX122" fmla="*/ 1625600 w 3505200"/>
              <a:gd name="connsiteY122" fmla="*/ 7172960 h 8260080"/>
              <a:gd name="connsiteX123" fmla="*/ 1747520 w 3505200"/>
              <a:gd name="connsiteY123" fmla="*/ 6990080 h 8260080"/>
              <a:gd name="connsiteX124" fmla="*/ 1666240 w 3505200"/>
              <a:gd name="connsiteY124" fmla="*/ 6939280 h 8260080"/>
              <a:gd name="connsiteX125" fmla="*/ 1737360 w 3505200"/>
              <a:gd name="connsiteY125" fmla="*/ 6888480 h 8260080"/>
              <a:gd name="connsiteX126" fmla="*/ 1645920 w 3505200"/>
              <a:gd name="connsiteY126" fmla="*/ 6776720 h 8260080"/>
              <a:gd name="connsiteX127" fmla="*/ 1808480 w 3505200"/>
              <a:gd name="connsiteY127" fmla="*/ 6715760 h 8260080"/>
              <a:gd name="connsiteX128" fmla="*/ 1727200 w 3505200"/>
              <a:gd name="connsiteY128" fmla="*/ 6614160 h 8260080"/>
              <a:gd name="connsiteX129" fmla="*/ 1686560 w 3505200"/>
              <a:gd name="connsiteY129" fmla="*/ 6421120 h 8260080"/>
              <a:gd name="connsiteX130" fmla="*/ 1889760 w 3505200"/>
              <a:gd name="connsiteY130" fmla="*/ 6299200 h 8260080"/>
              <a:gd name="connsiteX131" fmla="*/ 1940560 w 3505200"/>
              <a:gd name="connsiteY131" fmla="*/ 6228080 h 8260080"/>
              <a:gd name="connsiteX132" fmla="*/ 2032000 w 3505200"/>
              <a:gd name="connsiteY132" fmla="*/ 6136640 h 8260080"/>
              <a:gd name="connsiteX133" fmla="*/ 2011680 w 3505200"/>
              <a:gd name="connsiteY133" fmla="*/ 6014720 h 8260080"/>
              <a:gd name="connsiteX134" fmla="*/ 2123440 w 3505200"/>
              <a:gd name="connsiteY134" fmla="*/ 6065520 h 8260080"/>
              <a:gd name="connsiteX135" fmla="*/ 2092960 w 3505200"/>
              <a:gd name="connsiteY135" fmla="*/ 6167120 h 8260080"/>
              <a:gd name="connsiteX136" fmla="*/ 2286000 w 3505200"/>
              <a:gd name="connsiteY136" fmla="*/ 5933440 h 8260080"/>
              <a:gd name="connsiteX137" fmla="*/ 2255520 w 3505200"/>
              <a:gd name="connsiteY137" fmla="*/ 5801360 h 8260080"/>
              <a:gd name="connsiteX138" fmla="*/ 2448560 w 3505200"/>
              <a:gd name="connsiteY138" fmla="*/ 5598160 h 8260080"/>
              <a:gd name="connsiteX139" fmla="*/ 2357120 w 3505200"/>
              <a:gd name="connsiteY139" fmla="*/ 5435600 h 8260080"/>
              <a:gd name="connsiteX140" fmla="*/ 2225040 w 3505200"/>
              <a:gd name="connsiteY140" fmla="*/ 5415280 h 8260080"/>
              <a:gd name="connsiteX141" fmla="*/ 2103120 w 3505200"/>
              <a:gd name="connsiteY141" fmla="*/ 5222240 h 8260080"/>
              <a:gd name="connsiteX142" fmla="*/ 2092960 w 3505200"/>
              <a:gd name="connsiteY142" fmla="*/ 5110480 h 8260080"/>
              <a:gd name="connsiteX143" fmla="*/ 2052320 w 3505200"/>
              <a:gd name="connsiteY143" fmla="*/ 5151120 h 8260080"/>
              <a:gd name="connsiteX144" fmla="*/ 2042160 w 3505200"/>
              <a:gd name="connsiteY144" fmla="*/ 5242560 h 8260080"/>
              <a:gd name="connsiteX145" fmla="*/ 1981200 w 3505200"/>
              <a:gd name="connsiteY145" fmla="*/ 5191760 h 8260080"/>
              <a:gd name="connsiteX146" fmla="*/ 2011680 w 3505200"/>
              <a:gd name="connsiteY146" fmla="*/ 5120640 h 8260080"/>
              <a:gd name="connsiteX147" fmla="*/ 1930400 w 3505200"/>
              <a:gd name="connsiteY147" fmla="*/ 5100320 h 8260080"/>
              <a:gd name="connsiteX148" fmla="*/ 1859280 w 3505200"/>
              <a:gd name="connsiteY148" fmla="*/ 4917440 h 8260080"/>
              <a:gd name="connsiteX149" fmla="*/ 1828800 w 3505200"/>
              <a:gd name="connsiteY149" fmla="*/ 4622800 h 8260080"/>
              <a:gd name="connsiteX150" fmla="*/ 1910080 w 3505200"/>
              <a:gd name="connsiteY150" fmla="*/ 4419600 h 8260080"/>
              <a:gd name="connsiteX151" fmla="*/ 1920240 w 3505200"/>
              <a:gd name="connsiteY151" fmla="*/ 4277360 h 8260080"/>
              <a:gd name="connsiteX152" fmla="*/ 1971040 w 3505200"/>
              <a:gd name="connsiteY152" fmla="*/ 4124960 h 8260080"/>
              <a:gd name="connsiteX153" fmla="*/ 1879600 w 3505200"/>
              <a:gd name="connsiteY153" fmla="*/ 4023360 h 8260080"/>
              <a:gd name="connsiteX154" fmla="*/ 2072640 w 3505200"/>
              <a:gd name="connsiteY154" fmla="*/ 4003040 h 8260080"/>
              <a:gd name="connsiteX155" fmla="*/ 2092960 w 3505200"/>
              <a:gd name="connsiteY155" fmla="*/ 3850640 h 8260080"/>
              <a:gd name="connsiteX156" fmla="*/ 2001520 w 3505200"/>
              <a:gd name="connsiteY156" fmla="*/ 3728720 h 8260080"/>
              <a:gd name="connsiteX157" fmla="*/ 2164080 w 3505200"/>
              <a:gd name="connsiteY157" fmla="*/ 3769360 h 8260080"/>
              <a:gd name="connsiteX158" fmla="*/ 2265680 w 3505200"/>
              <a:gd name="connsiteY158" fmla="*/ 3566160 h 8260080"/>
              <a:gd name="connsiteX159" fmla="*/ 2336800 w 3505200"/>
              <a:gd name="connsiteY159" fmla="*/ 3515360 h 8260080"/>
              <a:gd name="connsiteX160" fmla="*/ 2367280 w 3505200"/>
              <a:gd name="connsiteY160" fmla="*/ 3362960 h 8260080"/>
              <a:gd name="connsiteX161" fmla="*/ 2489200 w 3505200"/>
              <a:gd name="connsiteY161" fmla="*/ 3423920 h 8260080"/>
              <a:gd name="connsiteX162" fmla="*/ 2560320 w 3505200"/>
              <a:gd name="connsiteY162" fmla="*/ 3302000 h 8260080"/>
              <a:gd name="connsiteX163" fmla="*/ 2743200 w 3505200"/>
              <a:gd name="connsiteY163" fmla="*/ 3149600 h 8260080"/>
              <a:gd name="connsiteX164" fmla="*/ 2844800 w 3505200"/>
              <a:gd name="connsiteY164" fmla="*/ 3088640 h 8260080"/>
              <a:gd name="connsiteX165" fmla="*/ 2804160 w 3505200"/>
              <a:gd name="connsiteY165" fmla="*/ 2966720 h 8260080"/>
              <a:gd name="connsiteX166" fmla="*/ 2976880 w 3505200"/>
              <a:gd name="connsiteY166" fmla="*/ 2763520 h 8260080"/>
              <a:gd name="connsiteX167" fmla="*/ 2794000 w 3505200"/>
              <a:gd name="connsiteY167" fmla="*/ 2621280 h 8260080"/>
              <a:gd name="connsiteX168" fmla="*/ 2946400 w 3505200"/>
              <a:gd name="connsiteY168" fmla="*/ 2377440 h 8260080"/>
              <a:gd name="connsiteX169" fmla="*/ 2854960 w 3505200"/>
              <a:gd name="connsiteY169" fmla="*/ 2255520 h 8260080"/>
              <a:gd name="connsiteX170" fmla="*/ 3027680 w 3505200"/>
              <a:gd name="connsiteY170" fmla="*/ 2113280 h 8260080"/>
              <a:gd name="connsiteX171" fmla="*/ 3119120 w 3505200"/>
              <a:gd name="connsiteY171" fmla="*/ 2021840 h 8260080"/>
              <a:gd name="connsiteX172" fmla="*/ 3027680 w 3505200"/>
              <a:gd name="connsiteY172" fmla="*/ 1960880 h 8260080"/>
              <a:gd name="connsiteX173" fmla="*/ 3139440 w 3505200"/>
              <a:gd name="connsiteY173" fmla="*/ 1869440 h 8260080"/>
              <a:gd name="connsiteX174" fmla="*/ 3281680 w 3505200"/>
              <a:gd name="connsiteY174" fmla="*/ 1950720 h 8260080"/>
              <a:gd name="connsiteX175" fmla="*/ 3403600 w 3505200"/>
              <a:gd name="connsiteY175" fmla="*/ 1889760 h 8260080"/>
              <a:gd name="connsiteX176" fmla="*/ 3505200 w 3505200"/>
              <a:gd name="connsiteY176" fmla="*/ 1910080 h 8260080"/>
              <a:gd name="connsiteX177" fmla="*/ 3444240 w 3505200"/>
              <a:gd name="connsiteY177" fmla="*/ 1656080 h 8260080"/>
              <a:gd name="connsiteX178" fmla="*/ 3373120 w 3505200"/>
              <a:gd name="connsiteY178" fmla="*/ 1635760 h 8260080"/>
              <a:gd name="connsiteX179" fmla="*/ 3352800 w 3505200"/>
              <a:gd name="connsiteY179" fmla="*/ 1503680 h 8260080"/>
              <a:gd name="connsiteX180" fmla="*/ 3444240 w 3505200"/>
              <a:gd name="connsiteY180" fmla="*/ 1412240 h 8260080"/>
              <a:gd name="connsiteX181" fmla="*/ 3393440 w 3505200"/>
              <a:gd name="connsiteY181" fmla="*/ 1280160 h 8260080"/>
              <a:gd name="connsiteX182" fmla="*/ 3434080 w 3505200"/>
              <a:gd name="connsiteY182" fmla="*/ 1249680 h 8260080"/>
              <a:gd name="connsiteX183" fmla="*/ 3281680 w 3505200"/>
              <a:gd name="connsiteY183" fmla="*/ 1066800 h 8260080"/>
              <a:gd name="connsiteX184" fmla="*/ 3383280 w 3505200"/>
              <a:gd name="connsiteY184" fmla="*/ 975360 h 8260080"/>
              <a:gd name="connsiteX185" fmla="*/ 3302000 w 3505200"/>
              <a:gd name="connsiteY185" fmla="*/ 924560 h 8260080"/>
              <a:gd name="connsiteX186" fmla="*/ 3190240 w 3505200"/>
              <a:gd name="connsiteY186" fmla="*/ 944880 h 8260080"/>
              <a:gd name="connsiteX187" fmla="*/ 3281680 w 3505200"/>
              <a:gd name="connsiteY187" fmla="*/ 792480 h 8260080"/>
              <a:gd name="connsiteX188" fmla="*/ 3210560 w 3505200"/>
              <a:gd name="connsiteY188" fmla="*/ 650240 h 8260080"/>
              <a:gd name="connsiteX189" fmla="*/ 3302000 w 3505200"/>
              <a:gd name="connsiteY189" fmla="*/ 568960 h 8260080"/>
              <a:gd name="connsiteX190" fmla="*/ 3190240 w 3505200"/>
              <a:gd name="connsiteY190" fmla="*/ 487680 h 8260080"/>
              <a:gd name="connsiteX191" fmla="*/ 3108960 w 3505200"/>
              <a:gd name="connsiteY191" fmla="*/ 528320 h 8260080"/>
              <a:gd name="connsiteX192" fmla="*/ 3108960 w 3505200"/>
              <a:gd name="connsiteY192" fmla="*/ 406400 h 8260080"/>
              <a:gd name="connsiteX193" fmla="*/ 2926080 w 3505200"/>
              <a:gd name="connsiteY193" fmla="*/ 314960 h 8260080"/>
              <a:gd name="connsiteX194" fmla="*/ 2834640 w 3505200"/>
              <a:gd name="connsiteY194" fmla="*/ 355600 h 8260080"/>
              <a:gd name="connsiteX195" fmla="*/ 2682240 w 3505200"/>
              <a:gd name="connsiteY195" fmla="*/ 111760 h 8260080"/>
              <a:gd name="connsiteX196" fmla="*/ 2590800 w 3505200"/>
              <a:gd name="connsiteY196" fmla="*/ 121920 h 8260080"/>
              <a:gd name="connsiteX197" fmla="*/ 2611120 w 3505200"/>
              <a:gd name="connsiteY197" fmla="*/ 0 h 8260080"/>
              <a:gd name="connsiteX198" fmla="*/ 2438400 w 3505200"/>
              <a:gd name="connsiteY198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80829 w 3505200"/>
              <a:gd name="connsiteY79" fmla="*/ 7148354 h 8260080"/>
              <a:gd name="connsiteX80" fmla="*/ 242962 w 3505200"/>
              <a:gd name="connsiteY80" fmla="*/ 7226746 h 8260080"/>
              <a:gd name="connsiteX81" fmla="*/ 282892 w 3505200"/>
              <a:gd name="connsiteY81" fmla="*/ 7300436 h 8260080"/>
              <a:gd name="connsiteX82" fmla="*/ 334645 w 3505200"/>
              <a:gd name="connsiteY82" fmla="*/ 7194709 h 8260080"/>
              <a:gd name="connsiteX83" fmla="*/ 354881 w 3505200"/>
              <a:gd name="connsiteY83" fmla="*/ 7257702 h 8260080"/>
              <a:gd name="connsiteX84" fmla="*/ 337026 w 3505200"/>
              <a:gd name="connsiteY84" fmla="*/ 7316154 h 8260080"/>
              <a:gd name="connsiteX85" fmla="*/ 370364 w 3505200"/>
              <a:gd name="connsiteY85" fmla="*/ 7360602 h 8260080"/>
              <a:gd name="connsiteX86" fmla="*/ 447040 w 3505200"/>
              <a:gd name="connsiteY86" fmla="*/ 7366000 h 8260080"/>
              <a:gd name="connsiteX87" fmla="*/ 447040 w 3505200"/>
              <a:gd name="connsiteY87" fmla="*/ 7477760 h 8260080"/>
              <a:gd name="connsiteX88" fmla="*/ 558800 w 3505200"/>
              <a:gd name="connsiteY88" fmla="*/ 7528560 h 8260080"/>
              <a:gd name="connsiteX89" fmla="*/ 508000 w 3505200"/>
              <a:gd name="connsiteY89" fmla="*/ 7630160 h 8260080"/>
              <a:gd name="connsiteX90" fmla="*/ 436880 w 3505200"/>
              <a:gd name="connsiteY90" fmla="*/ 7609840 h 8260080"/>
              <a:gd name="connsiteX91" fmla="*/ 447040 w 3505200"/>
              <a:gd name="connsiteY91" fmla="*/ 7691120 h 8260080"/>
              <a:gd name="connsiteX92" fmla="*/ 518160 w 3505200"/>
              <a:gd name="connsiteY92" fmla="*/ 7741920 h 8260080"/>
              <a:gd name="connsiteX93" fmla="*/ 457200 w 3505200"/>
              <a:gd name="connsiteY93" fmla="*/ 7792720 h 8260080"/>
              <a:gd name="connsiteX94" fmla="*/ 396240 w 3505200"/>
              <a:gd name="connsiteY94" fmla="*/ 7701280 h 8260080"/>
              <a:gd name="connsiteX95" fmla="*/ 396240 w 3505200"/>
              <a:gd name="connsiteY95" fmla="*/ 7701280 h 8260080"/>
              <a:gd name="connsiteX96" fmla="*/ 436880 w 3505200"/>
              <a:gd name="connsiteY96" fmla="*/ 7874000 h 8260080"/>
              <a:gd name="connsiteX97" fmla="*/ 436880 w 3505200"/>
              <a:gd name="connsiteY97" fmla="*/ 7924800 h 8260080"/>
              <a:gd name="connsiteX98" fmla="*/ 548640 w 3505200"/>
              <a:gd name="connsiteY98" fmla="*/ 7965440 h 8260080"/>
              <a:gd name="connsiteX99" fmla="*/ 508000 w 3505200"/>
              <a:gd name="connsiteY99" fmla="*/ 8016240 h 8260080"/>
              <a:gd name="connsiteX100" fmla="*/ 589280 w 3505200"/>
              <a:gd name="connsiteY100" fmla="*/ 8056880 h 8260080"/>
              <a:gd name="connsiteX101" fmla="*/ 497840 w 3505200"/>
              <a:gd name="connsiteY101" fmla="*/ 8117840 h 8260080"/>
              <a:gd name="connsiteX102" fmla="*/ 518160 w 3505200"/>
              <a:gd name="connsiteY102" fmla="*/ 8209280 h 8260080"/>
              <a:gd name="connsiteX103" fmla="*/ 640080 w 3505200"/>
              <a:gd name="connsiteY103" fmla="*/ 8260080 h 8260080"/>
              <a:gd name="connsiteX104" fmla="*/ 731520 w 3505200"/>
              <a:gd name="connsiteY104" fmla="*/ 8219440 h 8260080"/>
              <a:gd name="connsiteX105" fmla="*/ 853440 w 3505200"/>
              <a:gd name="connsiteY105" fmla="*/ 8209280 h 8260080"/>
              <a:gd name="connsiteX106" fmla="*/ 955040 w 3505200"/>
              <a:gd name="connsiteY106" fmla="*/ 8260080 h 8260080"/>
              <a:gd name="connsiteX107" fmla="*/ 965200 w 3505200"/>
              <a:gd name="connsiteY107" fmla="*/ 8107680 h 8260080"/>
              <a:gd name="connsiteX108" fmla="*/ 894080 w 3505200"/>
              <a:gd name="connsiteY108" fmla="*/ 8026400 h 8260080"/>
              <a:gd name="connsiteX109" fmla="*/ 1016000 w 3505200"/>
              <a:gd name="connsiteY109" fmla="*/ 7863840 h 8260080"/>
              <a:gd name="connsiteX110" fmla="*/ 1107440 w 3505200"/>
              <a:gd name="connsiteY110" fmla="*/ 7894320 h 8260080"/>
              <a:gd name="connsiteX111" fmla="*/ 1127760 w 3505200"/>
              <a:gd name="connsiteY111" fmla="*/ 7853680 h 8260080"/>
              <a:gd name="connsiteX112" fmla="*/ 1066800 w 3505200"/>
              <a:gd name="connsiteY112" fmla="*/ 7813040 h 8260080"/>
              <a:gd name="connsiteX113" fmla="*/ 1137920 w 3505200"/>
              <a:gd name="connsiteY113" fmla="*/ 7762240 h 8260080"/>
              <a:gd name="connsiteX114" fmla="*/ 1330960 w 3505200"/>
              <a:gd name="connsiteY114" fmla="*/ 7802880 h 8260080"/>
              <a:gd name="connsiteX115" fmla="*/ 1361440 w 3505200"/>
              <a:gd name="connsiteY115" fmla="*/ 7772400 h 8260080"/>
              <a:gd name="connsiteX116" fmla="*/ 1483360 w 3505200"/>
              <a:gd name="connsiteY116" fmla="*/ 7823200 h 8260080"/>
              <a:gd name="connsiteX117" fmla="*/ 1554480 w 3505200"/>
              <a:gd name="connsiteY117" fmla="*/ 7731760 h 8260080"/>
              <a:gd name="connsiteX118" fmla="*/ 1524000 w 3505200"/>
              <a:gd name="connsiteY118" fmla="*/ 7640320 h 8260080"/>
              <a:gd name="connsiteX119" fmla="*/ 1645920 w 3505200"/>
              <a:gd name="connsiteY119" fmla="*/ 7437120 h 8260080"/>
              <a:gd name="connsiteX120" fmla="*/ 1635760 w 3505200"/>
              <a:gd name="connsiteY120" fmla="*/ 7335520 h 8260080"/>
              <a:gd name="connsiteX121" fmla="*/ 1696720 w 3505200"/>
              <a:gd name="connsiteY121" fmla="*/ 7223760 h 8260080"/>
              <a:gd name="connsiteX122" fmla="*/ 1625600 w 3505200"/>
              <a:gd name="connsiteY122" fmla="*/ 7172960 h 8260080"/>
              <a:gd name="connsiteX123" fmla="*/ 1747520 w 3505200"/>
              <a:gd name="connsiteY123" fmla="*/ 6990080 h 8260080"/>
              <a:gd name="connsiteX124" fmla="*/ 1666240 w 3505200"/>
              <a:gd name="connsiteY124" fmla="*/ 6939280 h 8260080"/>
              <a:gd name="connsiteX125" fmla="*/ 1737360 w 3505200"/>
              <a:gd name="connsiteY125" fmla="*/ 6888480 h 8260080"/>
              <a:gd name="connsiteX126" fmla="*/ 1645920 w 3505200"/>
              <a:gd name="connsiteY126" fmla="*/ 6776720 h 8260080"/>
              <a:gd name="connsiteX127" fmla="*/ 1808480 w 3505200"/>
              <a:gd name="connsiteY127" fmla="*/ 6715760 h 8260080"/>
              <a:gd name="connsiteX128" fmla="*/ 1727200 w 3505200"/>
              <a:gd name="connsiteY128" fmla="*/ 6614160 h 8260080"/>
              <a:gd name="connsiteX129" fmla="*/ 1686560 w 3505200"/>
              <a:gd name="connsiteY129" fmla="*/ 6421120 h 8260080"/>
              <a:gd name="connsiteX130" fmla="*/ 1889760 w 3505200"/>
              <a:gd name="connsiteY130" fmla="*/ 6299200 h 8260080"/>
              <a:gd name="connsiteX131" fmla="*/ 1940560 w 3505200"/>
              <a:gd name="connsiteY131" fmla="*/ 6228080 h 8260080"/>
              <a:gd name="connsiteX132" fmla="*/ 2032000 w 3505200"/>
              <a:gd name="connsiteY132" fmla="*/ 6136640 h 8260080"/>
              <a:gd name="connsiteX133" fmla="*/ 2011680 w 3505200"/>
              <a:gd name="connsiteY133" fmla="*/ 6014720 h 8260080"/>
              <a:gd name="connsiteX134" fmla="*/ 2123440 w 3505200"/>
              <a:gd name="connsiteY134" fmla="*/ 6065520 h 8260080"/>
              <a:gd name="connsiteX135" fmla="*/ 2092960 w 3505200"/>
              <a:gd name="connsiteY135" fmla="*/ 6167120 h 8260080"/>
              <a:gd name="connsiteX136" fmla="*/ 2286000 w 3505200"/>
              <a:gd name="connsiteY136" fmla="*/ 5933440 h 8260080"/>
              <a:gd name="connsiteX137" fmla="*/ 2255520 w 3505200"/>
              <a:gd name="connsiteY137" fmla="*/ 5801360 h 8260080"/>
              <a:gd name="connsiteX138" fmla="*/ 2448560 w 3505200"/>
              <a:gd name="connsiteY138" fmla="*/ 5598160 h 8260080"/>
              <a:gd name="connsiteX139" fmla="*/ 2357120 w 3505200"/>
              <a:gd name="connsiteY139" fmla="*/ 5435600 h 8260080"/>
              <a:gd name="connsiteX140" fmla="*/ 2225040 w 3505200"/>
              <a:gd name="connsiteY140" fmla="*/ 5415280 h 8260080"/>
              <a:gd name="connsiteX141" fmla="*/ 2103120 w 3505200"/>
              <a:gd name="connsiteY141" fmla="*/ 5222240 h 8260080"/>
              <a:gd name="connsiteX142" fmla="*/ 2092960 w 3505200"/>
              <a:gd name="connsiteY142" fmla="*/ 5110480 h 8260080"/>
              <a:gd name="connsiteX143" fmla="*/ 2052320 w 3505200"/>
              <a:gd name="connsiteY143" fmla="*/ 5151120 h 8260080"/>
              <a:gd name="connsiteX144" fmla="*/ 2042160 w 3505200"/>
              <a:gd name="connsiteY144" fmla="*/ 5242560 h 8260080"/>
              <a:gd name="connsiteX145" fmla="*/ 1981200 w 3505200"/>
              <a:gd name="connsiteY145" fmla="*/ 5191760 h 8260080"/>
              <a:gd name="connsiteX146" fmla="*/ 2011680 w 3505200"/>
              <a:gd name="connsiteY146" fmla="*/ 5120640 h 8260080"/>
              <a:gd name="connsiteX147" fmla="*/ 1930400 w 3505200"/>
              <a:gd name="connsiteY147" fmla="*/ 5100320 h 8260080"/>
              <a:gd name="connsiteX148" fmla="*/ 1859280 w 3505200"/>
              <a:gd name="connsiteY148" fmla="*/ 4917440 h 8260080"/>
              <a:gd name="connsiteX149" fmla="*/ 1828800 w 3505200"/>
              <a:gd name="connsiteY149" fmla="*/ 4622800 h 8260080"/>
              <a:gd name="connsiteX150" fmla="*/ 1910080 w 3505200"/>
              <a:gd name="connsiteY150" fmla="*/ 4419600 h 8260080"/>
              <a:gd name="connsiteX151" fmla="*/ 1920240 w 3505200"/>
              <a:gd name="connsiteY151" fmla="*/ 4277360 h 8260080"/>
              <a:gd name="connsiteX152" fmla="*/ 1971040 w 3505200"/>
              <a:gd name="connsiteY152" fmla="*/ 4124960 h 8260080"/>
              <a:gd name="connsiteX153" fmla="*/ 1879600 w 3505200"/>
              <a:gd name="connsiteY153" fmla="*/ 4023360 h 8260080"/>
              <a:gd name="connsiteX154" fmla="*/ 2072640 w 3505200"/>
              <a:gd name="connsiteY154" fmla="*/ 4003040 h 8260080"/>
              <a:gd name="connsiteX155" fmla="*/ 2092960 w 3505200"/>
              <a:gd name="connsiteY155" fmla="*/ 3850640 h 8260080"/>
              <a:gd name="connsiteX156" fmla="*/ 2001520 w 3505200"/>
              <a:gd name="connsiteY156" fmla="*/ 3728720 h 8260080"/>
              <a:gd name="connsiteX157" fmla="*/ 2164080 w 3505200"/>
              <a:gd name="connsiteY157" fmla="*/ 3769360 h 8260080"/>
              <a:gd name="connsiteX158" fmla="*/ 2265680 w 3505200"/>
              <a:gd name="connsiteY158" fmla="*/ 3566160 h 8260080"/>
              <a:gd name="connsiteX159" fmla="*/ 2336800 w 3505200"/>
              <a:gd name="connsiteY159" fmla="*/ 3515360 h 8260080"/>
              <a:gd name="connsiteX160" fmla="*/ 2367280 w 3505200"/>
              <a:gd name="connsiteY160" fmla="*/ 3362960 h 8260080"/>
              <a:gd name="connsiteX161" fmla="*/ 2489200 w 3505200"/>
              <a:gd name="connsiteY161" fmla="*/ 3423920 h 8260080"/>
              <a:gd name="connsiteX162" fmla="*/ 2560320 w 3505200"/>
              <a:gd name="connsiteY162" fmla="*/ 3302000 h 8260080"/>
              <a:gd name="connsiteX163" fmla="*/ 2743200 w 3505200"/>
              <a:gd name="connsiteY163" fmla="*/ 3149600 h 8260080"/>
              <a:gd name="connsiteX164" fmla="*/ 2844800 w 3505200"/>
              <a:gd name="connsiteY164" fmla="*/ 3088640 h 8260080"/>
              <a:gd name="connsiteX165" fmla="*/ 2804160 w 3505200"/>
              <a:gd name="connsiteY165" fmla="*/ 2966720 h 8260080"/>
              <a:gd name="connsiteX166" fmla="*/ 2976880 w 3505200"/>
              <a:gd name="connsiteY166" fmla="*/ 2763520 h 8260080"/>
              <a:gd name="connsiteX167" fmla="*/ 2794000 w 3505200"/>
              <a:gd name="connsiteY167" fmla="*/ 2621280 h 8260080"/>
              <a:gd name="connsiteX168" fmla="*/ 2946400 w 3505200"/>
              <a:gd name="connsiteY168" fmla="*/ 2377440 h 8260080"/>
              <a:gd name="connsiteX169" fmla="*/ 2854960 w 3505200"/>
              <a:gd name="connsiteY169" fmla="*/ 2255520 h 8260080"/>
              <a:gd name="connsiteX170" fmla="*/ 3027680 w 3505200"/>
              <a:gd name="connsiteY170" fmla="*/ 2113280 h 8260080"/>
              <a:gd name="connsiteX171" fmla="*/ 3119120 w 3505200"/>
              <a:gd name="connsiteY171" fmla="*/ 2021840 h 8260080"/>
              <a:gd name="connsiteX172" fmla="*/ 3027680 w 3505200"/>
              <a:gd name="connsiteY172" fmla="*/ 1960880 h 8260080"/>
              <a:gd name="connsiteX173" fmla="*/ 3139440 w 3505200"/>
              <a:gd name="connsiteY173" fmla="*/ 1869440 h 8260080"/>
              <a:gd name="connsiteX174" fmla="*/ 3281680 w 3505200"/>
              <a:gd name="connsiteY174" fmla="*/ 1950720 h 8260080"/>
              <a:gd name="connsiteX175" fmla="*/ 3403600 w 3505200"/>
              <a:gd name="connsiteY175" fmla="*/ 1889760 h 8260080"/>
              <a:gd name="connsiteX176" fmla="*/ 3505200 w 3505200"/>
              <a:gd name="connsiteY176" fmla="*/ 1910080 h 8260080"/>
              <a:gd name="connsiteX177" fmla="*/ 3444240 w 3505200"/>
              <a:gd name="connsiteY177" fmla="*/ 1656080 h 8260080"/>
              <a:gd name="connsiteX178" fmla="*/ 3373120 w 3505200"/>
              <a:gd name="connsiteY178" fmla="*/ 1635760 h 8260080"/>
              <a:gd name="connsiteX179" fmla="*/ 3352800 w 3505200"/>
              <a:gd name="connsiteY179" fmla="*/ 1503680 h 8260080"/>
              <a:gd name="connsiteX180" fmla="*/ 3444240 w 3505200"/>
              <a:gd name="connsiteY180" fmla="*/ 1412240 h 8260080"/>
              <a:gd name="connsiteX181" fmla="*/ 3393440 w 3505200"/>
              <a:gd name="connsiteY181" fmla="*/ 1280160 h 8260080"/>
              <a:gd name="connsiteX182" fmla="*/ 3434080 w 3505200"/>
              <a:gd name="connsiteY182" fmla="*/ 1249680 h 8260080"/>
              <a:gd name="connsiteX183" fmla="*/ 3281680 w 3505200"/>
              <a:gd name="connsiteY183" fmla="*/ 1066800 h 8260080"/>
              <a:gd name="connsiteX184" fmla="*/ 3383280 w 3505200"/>
              <a:gd name="connsiteY184" fmla="*/ 975360 h 8260080"/>
              <a:gd name="connsiteX185" fmla="*/ 3302000 w 3505200"/>
              <a:gd name="connsiteY185" fmla="*/ 924560 h 8260080"/>
              <a:gd name="connsiteX186" fmla="*/ 3190240 w 3505200"/>
              <a:gd name="connsiteY186" fmla="*/ 944880 h 8260080"/>
              <a:gd name="connsiteX187" fmla="*/ 3281680 w 3505200"/>
              <a:gd name="connsiteY187" fmla="*/ 792480 h 8260080"/>
              <a:gd name="connsiteX188" fmla="*/ 3210560 w 3505200"/>
              <a:gd name="connsiteY188" fmla="*/ 650240 h 8260080"/>
              <a:gd name="connsiteX189" fmla="*/ 3302000 w 3505200"/>
              <a:gd name="connsiteY189" fmla="*/ 568960 h 8260080"/>
              <a:gd name="connsiteX190" fmla="*/ 3190240 w 3505200"/>
              <a:gd name="connsiteY190" fmla="*/ 487680 h 8260080"/>
              <a:gd name="connsiteX191" fmla="*/ 3108960 w 3505200"/>
              <a:gd name="connsiteY191" fmla="*/ 528320 h 8260080"/>
              <a:gd name="connsiteX192" fmla="*/ 3108960 w 3505200"/>
              <a:gd name="connsiteY192" fmla="*/ 406400 h 8260080"/>
              <a:gd name="connsiteX193" fmla="*/ 2926080 w 3505200"/>
              <a:gd name="connsiteY193" fmla="*/ 314960 h 8260080"/>
              <a:gd name="connsiteX194" fmla="*/ 2834640 w 3505200"/>
              <a:gd name="connsiteY194" fmla="*/ 355600 h 8260080"/>
              <a:gd name="connsiteX195" fmla="*/ 2682240 w 3505200"/>
              <a:gd name="connsiteY195" fmla="*/ 111760 h 8260080"/>
              <a:gd name="connsiteX196" fmla="*/ 2590800 w 3505200"/>
              <a:gd name="connsiteY196" fmla="*/ 121920 h 8260080"/>
              <a:gd name="connsiteX197" fmla="*/ 2611120 w 3505200"/>
              <a:gd name="connsiteY197" fmla="*/ 0 h 8260080"/>
              <a:gd name="connsiteX198" fmla="*/ 2438400 w 3505200"/>
              <a:gd name="connsiteY198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80829 w 3505200"/>
              <a:gd name="connsiteY79" fmla="*/ 7148354 h 8260080"/>
              <a:gd name="connsiteX80" fmla="*/ 242962 w 3505200"/>
              <a:gd name="connsiteY80" fmla="*/ 7226746 h 8260080"/>
              <a:gd name="connsiteX81" fmla="*/ 282892 w 3505200"/>
              <a:gd name="connsiteY81" fmla="*/ 7300436 h 8260080"/>
              <a:gd name="connsiteX82" fmla="*/ 310833 w 3505200"/>
              <a:gd name="connsiteY82" fmla="*/ 7299484 h 8260080"/>
              <a:gd name="connsiteX83" fmla="*/ 354881 w 3505200"/>
              <a:gd name="connsiteY83" fmla="*/ 7257702 h 8260080"/>
              <a:gd name="connsiteX84" fmla="*/ 337026 w 3505200"/>
              <a:gd name="connsiteY84" fmla="*/ 7316154 h 8260080"/>
              <a:gd name="connsiteX85" fmla="*/ 370364 w 3505200"/>
              <a:gd name="connsiteY85" fmla="*/ 7360602 h 8260080"/>
              <a:gd name="connsiteX86" fmla="*/ 447040 w 3505200"/>
              <a:gd name="connsiteY86" fmla="*/ 7366000 h 8260080"/>
              <a:gd name="connsiteX87" fmla="*/ 447040 w 3505200"/>
              <a:gd name="connsiteY87" fmla="*/ 7477760 h 8260080"/>
              <a:gd name="connsiteX88" fmla="*/ 558800 w 3505200"/>
              <a:gd name="connsiteY88" fmla="*/ 7528560 h 8260080"/>
              <a:gd name="connsiteX89" fmla="*/ 508000 w 3505200"/>
              <a:gd name="connsiteY89" fmla="*/ 7630160 h 8260080"/>
              <a:gd name="connsiteX90" fmla="*/ 436880 w 3505200"/>
              <a:gd name="connsiteY90" fmla="*/ 7609840 h 8260080"/>
              <a:gd name="connsiteX91" fmla="*/ 447040 w 3505200"/>
              <a:gd name="connsiteY91" fmla="*/ 7691120 h 8260080"/>
              <a:gd name="connsiteX92" fmla="*/ 518160 w 3505200"/>
              <a:gd name="connsiteY92" fmla="*/ 7741920 h 8260080"/>
              <a:gd name="connsiteX93" fmla="*/ 457200 w 3505200"/>
              <a:gd name="connsiteY93" fmla="*/ 7792720 h 8260080"/>
              <a:gd name="connsiteX94" fmla="*/ 396240 w 3505200"/>
              <a:gd name="connsiteY94" fmla="*/ 7701280 h 8260080"/>
              <a:gd name="connsiteX95" fmla="*/ 396240 w 3505200"/>
              <a:gd name="connsiteY95" fmla="*/ 7701280 h 8260080"/>
              <a:gd name="connsiteX96" fmla="*/ 436880 w 3505200"/>
              <a:gd name="connsiteY96" fmla="*/ 7874000 h 8260080"/>
              <a:gd name="connsiteX97" fmla="*/ 436880 w 3505200"/>
              <a:gd name="connsiteY97" fmla="*/ 7924800 h 8260080"/>
              <a:gd name="connsiteX98" fmla="*/ 548640 w 3505200"/>
              <a:gd name="connsiteY98" fmla="*/ 7965440 h 8260080"/>
              <a:gd name="connsiteX99" fmla="*/ 508000 w 3505200"/>
              <a:gd name="connsiteY99" fmla="*/ 8016240 h 8260080"/>
              <a:gd name="connsiteX100" fmla="*/ 589280 w 3505200"/>
              <a:gd name="connsiteY100" fmla="*/ 8056880 h 8260080"/>
              <a:gd name="connsiteX101" fmla="*/ 497840 w 3505200"/>
              <a:gd name="connsiteY101" fmla="*/ 8117840 h 8260080"/>
              <a:gd name="connsiteX102" fmla="*/ 518160 w 3505200"/>
              <a:gd name="connsiteY102" fmla="*/ 8209280 h 8260080"/>
              <a:gd name="connsiteX103" fmla="*/ 640080 w 3505200"/>
              <a:gd name="connsiteY103" fmla="*/ 8260080 h 8260080"/>
              <a:gd name="connsiteX104" fmla="*/ 731520 w 3505200"/>
              <a:gd name="connsiteY104" fmla="*/ 8219440 h 8260080"/>
              <a:gd name="connsiteX105" fmla="*/ 853440 w 3505200"/>
              <a:gd name="connsiteY105" fmla="*/ 8209280 h 8260080"/>
              <a:gd name="connsiteX106" fmla="*/ 955040 w 3505200"/>
              <a:gd name="connsiteY106" fmla="*/ 8260080 h 8260080"/>
              <a:gd name="connsiteX107" fmla="*/ 965200 w 3505200"/>
              <a:gd name="connsiteY107" fmla="*/ 8107680 h 8260080"/>
              <a:gd name="connsiteX108" fmla="*/ 894080 w 3505200"/>
              <a:gd name="connsiteY108" fmla="*/ 8026400 h 8260080"/>
              <a:gd name="connsiteX109" fmla="*/ 1016000 w 3505200"/>
              <a:gd name="connsiteY109" fmla="*/ 7863840 h 8260080"/>
              <a:gd name="connsiteX110" fmla="*/ 1107440 w 3505200"/>
              <a:gd name="connsiteY110" fmla="*/ 7894320 h 8260080"/>
              <a:gd name="connsiteX111" fmla="*/ 1127760 w 3505200"/>
              <a:gd name="connsiteY111" fmla="*/ 7853680 h 8260080"/>
              <a:gd name="connsiteX112" fmla="*/ 1066800 w 3505200"/>
              <a:gd name="connsiteY112" fmla="*/ 7813040 h 8260080"/>
              <a:gd name="connsiteX113" fmla="*/ 1137920 w 3505200"/>
              <a:gd name="connsiteY113" fmla="*/ 7762240 h 8260080"/>
              <a:gd name="connsiteX114" fmla="*/ 1330960 w 3505200"/>
              <a:gd name="connsiteY114" fmla="*/ 7802880 h 8260080"/>
              <a:gd name="connsiteX115" fmla="*/ 1361440 w 3505200"/>
              <a:gd name="connsiteY115" fmla="*/ 7772400 h 8260080"/>
              <a:gd name="connsiteX116" fmla="*/ 1483360 w 3505200"/>
              <a:gd name="connsiteY116" fmla="*/ 7823200 h 8260080"/>
              <a:gd name="connsiteX117" fmla="*/ 1554480 w 3505200"/>
              <a:gd name="connsiteY117" fmla="*/ 7731760 h 8260080"/>
              <a:gd name="connsiteX118" fmla="*/ 1524000 w 3505200"/>
              <a:gd name="connsiteY118" fmla="*/ 7640320 h 8260080"/>
              <a:gd name="connsiteX119" fmla="*/ 1645920 w 3505200"/>
              <a:gd name="connsiteY119" fmla="*/ 7437120 h 8260080"/>
              <a:gd name="connsiteX120" fmla="*/ 1635760 w 3505200"/>
              <a:gd name="connsiteY120" fmla="*/ 7335520 h 8260080"/>
              <a:gd name="connsiteX121" fmla="*/ 1696720 w 3505200"/>
              <a:gd name="connsiteY121" fmla="*/ 7223760 h 8260080"/>
              <a:gd name="connsiteX122" fmla="*/ 1625600 w 3505200"/>
              <a:gd name="connsiteY122" fmla="*/ 7172960 h 8260080"/>
              <a:gd name="connsiteX123" fmla="*/ 1747520 w 3505200"/>
              <a:gd name="connsiteY123" fmla="*/ 6990080 h 8260080"/>
              <a:gd name="connsiteX124" fmla="*/ 1666240 w 3505200"/>
              <a:gd name="connsiteY124" fmla="*/ 6939280 h 8260080"/>
              <a:gd name="connsiteX125" fmla="*/ 1737360 w 3505200"/>
              <a:gd name="connsiteY125" fmla="*/ 6888480 h 8260080"/>
              <a:gd name="connsiteX126" fmla="*/ 1645920 w 3505200"/>
              <a:gd name="connsiteY126" fmla="*/ 6776720 h 8260080"/>
              <a:gd name="connsiteX127" fmla="*/ 1808480 w 3505200"/>
              <a:gd name="connsiteY127" fmla="*/ 6715760 h 8260080"/>
              <a:gd name="connsiteX128" fmla="*/ 1727200 w 3505200"/>
              <a:gd name="connsiteY128" fmla="*/ 6614160 h 8260080"/>
              <a:gd name="connsiteX129" fmla="*/ 1686560 w 3505200"/>
              <a:gd name="connsiteY129" fmla="*/ 6421120 h 8260080"/>
              <a:gd name="connsiteX130" fmla="*/ 1889760 w 3505200"/>
              <a:gd name="connsiteY130" fmla="*/ 6299200 h 8260080"/>
              <a:gd name="connsiteX131" fmla="*/ 1940560 w 3505200"/>
              <a:gd name="connsiteY131" fmla="*/ 6228080 h 8260080"/>
              <a:gd name="connsiteX132" fmla="*/ 2032000 w 3505200"/>
              <a:gd name="connsiteY132" fmla="*/ 6136640 h 8260080"/>
              <a:gd name="connsiteX133" fmla="*/ 2011680 w 3505200"/>
              <a:gd name="connsiteY133" fmla="*/ 6014720 h 8260080"/>
              <a:gd name="connsiteX134" fmla="*/ 2123440 w 3505200"/>
              <a:gd name="connsiteY134" fmla="*/ 6065520 h 8260080"/>
              <a:gd name="connsiteX135" fmla="*/ 2092960 w 3505200"/>
              <a:gd name="connsiteY135" fmla="*/ 6167120 h 8260080"/>
              <a:gd name="connsiteX136" fmla="*/ 2286000 w 3505200"/>
              <a:gd name="connsiteY136" fmla="*/ 5933440 h 8260080"/>
              <a:gd name="connsiteX137" fmla="*/ 2255520 w 3505200"/>
              <a:gd name="connsiteY137" fmla="*/ 5801360 h 8260080"/>
              <a:gd name="connsiteX138" fmla="*/ 2448560 w 3505200"/>
              <a:gd name="connsiteY138" fmla="*/ 5598160 h 8260080"/>
              <a:gd name="connsiteX139" fmla="*/ 2357120 w 3505200"/>
              <a:gd name="connsiteY139" fmla="*/ 5435600 h 8260080"/>
              <a:gd name="connsiteX140" fmla="*/ 2225040 w 3505200"/>
              <a:gd name="connsiteY140" fmla="*/ 5415280 h 8260080"/>
              <a:gd name="connsiteX141" fmla="*/ 2103120 w 3505200"/>
              <a:gd name="connsiteY141" fmla="*/ 5222240 h 8260080"/>
              <a:gd name="connsiteX142" fmla="*/ 2092960 w 3505200"/>
              <a:gd name="connsiteY142" fmla="*/ 5110480 h 8260080"/>
              <a:gd name="connsiteX143" fmla="*/ 2052320 w 3505200"/>
              <a:gd name="connsiteY143" fmla="*/ 5151120 h 8260080"/>
              <a:gd name="connsiteX144" fmla="*/ 2042160 w 3505200"/>
              <a:gd name="connsiteY144" fmla="*/ 5242560 h 8260080"/>
              <a:gd name="connsiteX145" fmla="*/ 1981200 w 3505200"/>
              <a:gd name="connsiteY145" fmla="*/ 5191760 h 8260080"/>
              <a:gd name="connsiteX146" fmla="*/ 2011680 w 3505200"/>
              <a:gd name="connsiteY146" fmla="*/ 5120640 h 8260080"/>
              <a:gd name="connsiteX147" fmla="*/ 1930400 w 3505200"/>
              <a:gd name="connsiteY147" fmla="*/ 5100320 h 8260080"/>
              <a:gd name="connsiteX148" fmla="*/ 1859280 w 3505200"/>
              <a:gd name="connsiteY148" fmla="*/ 4917440 h 8260080"/>
              <a:gd name="connsiteX149" fmla="*/ 1828800 w 3505200"/>
              <a:gd name="connsiteY149" fmla="*/ 4622800 h 8260080"/>
              <a:gd name="connsiteX150" fmla="*/ 1910080 w 3505200"/>
              <a:gd name="connsiteY150" fmla="*/ 4419600 h 8260080"/>
              <a:gd name="connsiteX151" fmla="*/ 1920240 w 3505200"/>
              <a:gd name="connsiteY151" fmla="*/ 4277360 h 8260080"/>
              <a:gd name="connsiteX152" fmla="*/ 1971040 w 3505200"/>
              <a:gd name="connsiteY152" fmla="*/ 4124960 h 8260080"/>
              <a:gd name="connsiteX153" fmla="*/ 1879600 w 3505200"/>
              <a:gd name="connsiteY153" fmla="*/ 4023360 h 8260080"/>
              <a:gd name="connsiteX154" fmla="*/ 2072640 w 3505200"/>
              <a:gd name="connsiteY154" fmla="*/ 4003040 h 8260080"/>
              <a:gd name="connsiteX155" fmla="*/ 2092960 w 3505200"/>
              <a:gd name="connsiteY155" fmla="*/ 3850640 h 8260080"/>
              <a:gd name="connsiteX156" fmla="*/ 2001520 w 3505200"/>
              <a:gd name="connsiteY156" fmla="*/ 3728720 h 8260080"/>
              <a:gd name="connsiteX157" fmla="*/ 2164080 w 3505200"/>
              <a:gd name="connsiteY157" fmla="*/ 3769360 h 8260080"/>
              <a:gd name="connsiteX158" fmla="*/ 2265680 w 3505200"/>
              <a:gd name="connsiteY158" fmla="*/ 3566160 h 8260080"/>
              <a:gd name="connsiteX159" fmla="*/ 2336800 w 3505200"/>
              <a:gd name="connsiteY159" fmla="*/ 3515360 h 8260080"/>
              <a:gd name="connsiteX160" fmla="*/ 2367280 w 3505200"/>
              <a:gd name="connsiteY160" fmla="*/ 3362960 h 8260080"/>
              <a:gd name="connsiteX161" fmla="*/ 2489200 w 3505200"/>
              <a:gd name="connsiteY161" fmla="*/ 3423920 h 8260080"/>
              <a:gd name="connsiteX162" fmla="*/ 2560320 w 3505200"/>
              <a:gd name="connsiteY162" fmla="*/ 3302000 h 8260080"/>
              <a:gd name="connsiteX163" fmla="*/ 2743200 w 3505200"/>
              <a:gd name="connsiteY163" fmla="*/ 3149600 h 8260080"/>
              <a:gd name="connsiteX164" fmla="*/ 2844800 w 3505200"/>
              <a:gd name="connsiteY164" fmla="*/ 3088640 h 8260080"/>
              <a:gd name="connsiteX165" fmla="*/ 2804160 w 3505200"/>
              <a:gd name="connsiteY165" fmla="*/ 2966720 h 8260080"/>
              <a:gd name="connsiteX166" fmla="*/ 2976880 w 3505200"/>
              <a:gd name="connsiteY166" fmla="*/ 2763520 h 8260080"/>
              <a:gd name="connsiteX167" fmla="*/ 2794000 w 3505200"/>
              <a:gd name="connsiteY167" fmla="*/ 2621280 h 8260080"/>
              <a:gd name="connsiteX168" fmla="*/ 2946400 w 3505200"/>
              <a:gd name="connsiteY168" fmla="*/ 2377440 h 8260080"/>
              <a:gd name="connsiteX169" fmla="*/ 2854960 w 3505200"/>
              <a:gd name="connsiteY169" fmla="*/ 2255520 h 8260080"/>
              <a:gd name="connsiteX170" fmla="*/ 3027680 w 3505200"/>
              <a:gd name="connsiteY170" fmla="*/ 2113280 h 8260080"/>
              <a:gd name="connsiteX171" fmla="*/ 3119120 w 3505200"/>
              <a:gd name="connsiteY171" fmla="*/ 2021840 h 8260080"/>
              <a:gd name="connsiteX172" fmla="*/ 3027680 w 3505200"/>
              <a:gd name="connsiteY172" fmla="*/ 1960880 h 8260080"/>
              <a:gd name="connsiteX173" fmla="*/ 3139440 w 3505200"/>
              <a:gd name="connsiteY173" fmla="*/ 1869440 h 8260080"/>
              <a:gd name="connsiteX174" fmla="*/ 3281680 w 3505200"/>
              <a:gd name="connsiteY174" fmla="*/ 1950720 h 8260080"/>
              <a:gd name="connsiteX175" fmla="*/ 3403600 w 3505200"/>
              <a:gd name="connsiteY175" fmla="*/ 1889760 h 8260080"/>
              <a:gd name="connsiteX176" fmla="*/ 3505200 w 3505200"/>
              <a:gd name="connsiteY176" fmla="*/ 1910080 h 8260080"/>
              <a:gd name="connsiteX177" fmla="*/ 3444240 w 3505200"/>
              <a:gd name="connsiteY177" fmla="*/ 1656080 h 8260080"/>
              <a:gd name="connsiteX178" fmla="*/ 3373120 w 3505200"/>
              <a:gd name="connsiteY178" fmla="*/ 1635760 h 8260080"/>
              <a:gd name="connsiteX179" fmla="*/ 3352800 w 3505200"/>
              <a:gd name="connsiteY179" fmla="*/ 1503680 h 8260080"/>
              <a:gd name="connsiteX180" fmla="*/ 3444240 w 3505200"/>
              <a:gd name="connsiteY180" fmla="*/ 1412240 h 8260080"/>
              <a:gd name="connsiteX181" fmla="*/ 3393440 w 3505200"/>
              <a:gd name="connsiteY181" fmla="*/ 1280160 h 8260080"/>
              <a:gd name="connsiteX182" fmla="*/ 3434080 w 3505200"/>
              <a:gd name="connsiteY182" fmla="*/ 1249680 h 8260080"/>
              <a:gd name="connsiteX183" fmla="*/ 3281680 w 3505200"/>
              <a:gd name="connsiteY183" fmla="*/ 1066800 h 8260080"/>
              <a:gd name="connsiteX184" fmla="*/ 3383280 w 3505200"/>
              <a:gd name="connsiteY184" fmla="*/ 975360 h 8260080"/>
              <a:gd name="connsiteX185" fmla="*/ 3302000 w 3505200"/>
              <a:gd name="connsiteY185" fmla="*/ 924560 h 8260080"/>
              <a:gd name="connsiteX186" fmla="*/ 3190240 w 3505200"/>
              <a:gd name="connsiteY186" fmla="*/ 944880 h 8260080"/>
              <a:gd name="connsiteX187" fmla="*/ 3281680 w 3505200"/>
              <a:gd name="connsiteY187" fmla="*/ 792480 h 8260080"/>
              <a:gd name="connsiteX188" fmla="*/ 3210560 w 3505200"/>
              <a:gd name="connsiteY188" fmla="*/ 650240 h 8260080"/>
              <a:gd name="connsiteX189" fmla="*/ 3302000 w 3505200"/>
              <a:gd name="connsiteY189" fmla="*/ 568960 h 8260080"/>
              <a:gd name="connsiteX190" fmla="*/ 3190240 w 3505200"/>
              <a:gd name="connsiteY190" fmla="*/ 487680 h 8260080"/>
              <a:gd name="connsiteX191" fmla="*/ 3108960 w 3505200"/>
              <a:gd name="connsiteY191" fmla="*/ 528320 h 8260080"/>
              <a:gd name="connsiteX192" fmla="*/ 3108960 w 3505200"/>
              <a:gd name="connsiteY192" fmla="*/ 406400 h 8260080"/>
              <a:gd name="connsiteX193" fmla="*/ 2926080 w 3505200"/>
              <a:gd name="connsiteY193" fmla="*/ 314960 h 8260080"/>
              <a:gd name="connsiteX194" fmla="*/ 2834640 w 3505200"/>
              <a:gd name="connsiteY194" fmla="*/ 355600 h 8260080"/>
              <a:gd name="connsiteX195" fmla="*/ 2682240 w 3505200"/>
              <a:gd name="connsiteY195" fmla="*/ 111760 h 8260080"/>
              <a:gd name="connsiteX196" fmla="*/ 2590800 w 3505200"/>
              <a:gd name="connsiteY196" fmla="*/ 121920 h 8260080"/>
              <a:gd name="connsiteX197" fmla="*/ 2611120 w 3505200"/>
              <a:gd name="connsiteY197" fmla="*/ 0 h 8260080"/>
              <a:gd name="connsiteX198" fmla="*/ 2438400 w 3505200"/>
              <a:gd name="connsiteY198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80829 w 3505200"/>
              <a:gd name="connsiteY79" fmla="*/ 7148354 h 8260080"/>
              <a:gd name="connsiteX80" fmla="*/ 242962 w 3505200"/>
              <a:gd name="connsiteY80" fmla="*/ 7226746 h 8260080"/>
              <a:gd name="connsiteX81" fmla="*/ 282892 w 3505200"/>
              <a:gd name="connsiteY81" fmla="*/ 7300436 h 8260080"/>
              <a:gd name="connsiteX82" fmla="*/ 310833 w 3505200"/>
              <a:gd name="connsiteY82" fmla="*/ 7299484 h 8260080"/>
              <a:gd name="connsiteX83" fmla="*/ 319162 w 3505200"/>
              <a:gd name="connsiteY83" fmla="*/ 7310089 h 8260080"/>
              <a:gd name="connsiteX84" fmla="*/ 337026 w 3505200"/>
              <a:gd name="connsiteY84" fmla="*/ 7316154 h 8260080"/>
              <a:gd name="connsiteX85" fmla="*/ 370364 w 3505200"/>
              <a:gd name="connsiteY85" fmla="*/ 7360602 h 8260080"/>
              <a:gd name="connsiteX86" fmla="*/ 447040 w 3505200"/>
              <a:gd name="connsiteY86" fmla="*/ 7366000 h 8260080"/>
              <a:gd name="connsiteX87" fmla="*/ 447040 w 3505200"/>
              <a:gd name="connsiteY87" fmla="*/ 7477760 h 8260080"/>
              <a:gd name="connsiteX88" fmla="*/ 558800 w 3505200"/>
              <a:gd name="connsiteY88" fmla="*/ 7528560 h 8260080"/>
              <a:gd name="connsiteX89" fmla="*/ 508000 w 3505200"/>
              <a:gd name="connsiteY89" fmla="*/ 7630160 h 8260080"/>
              <a:gd name="connsiteX90" fmla="*/ 436880 w 3505200"/>
              <a:gd name="connsiteY90" fmla="*/ 7609840 h 8260080"/>
              <a:gd name="connsiteX91" fmla="*/ 447040 w 3505200"/>
              <a:gd name="connsiteY91" fmla="*/ 7691120 h 8260080"/>
              <a:gd name="connsiteX92" fmla="*/ 518160 w 3505200"/>
              <a:gd name="connsiteY92" fmla="*/ 7741920 h 8260080"/>
              <a:gd name="connsiteX93" fmla="*/ 457200 w 3505200"/>
              <a:gd name="connsiteY93" fmla="*/ 7792720 h 8260080"/>
              <a:gd name="connsiteX94" fmla="*/ 396240 w 3505200"/>
              <a:gd name="connsiteY94" fmla="*/ 7701280 h 8260080"/>
              <a:gd name="connsiteX95" fmla="*/ 396240 w 3505200"/>
              <a:gd name="connsiteY95" fmla="*/ 7701280 h 8260080"/>
              <a:gd name="connsiteX96" fmla="*/ 436880 w 3505200"/>
              <a:gd name="connsiteY96" fmla="*/ 7874000 h 8260080"/>
              <a:gd name="connsiteX97" fmla="*/ 436880 w 3505200"/>
              <a:gd name="connsiteY97" fmla="*/ 7924800 h 8260080"/>
              <a:gd name="connsiteX98" fmla="*/ 548640 w 3505200"/>
              <a:gd name="connsiteY98" fmla="*/ 7965440 h 8260080"/>
              <a:gd name="connsiteX99" fmla="*/ 508000 w 3505200"/>
              <a:gd name="connsiteY99" fmla="*/ 8016240 h 8260080"/>
              <a:gd name="connsiteX100" fmla="*/ 589280 w 3505200"/>
              <a:gd name="connsiteY100" fmla="*/ 8056880 h 8260080"/>
              <a:gd name="connsiteX101" fmla="*/ 497840 w 3505200"/>
              <a:gd name="connsiteY101" fmla="*/ 8117840 h 8260080"/>
              <a:gd name="connsiteX102" fmla="*/ 518160 w 3505200"/>
              <a:gd name="connsiteY102" fmla="*/ 8209280 h 8260080"/>
              <a:gd name="connsiteX103" fmla="*/ 640080 w 3505200"/>
              <a:gd name="connsiteY103" fmla="*/ 8260080 h 8260080"/>
              <a:gd name="connsiteX104" fmla="*/ 731520 w 3505200"/>
              <a:gd name="connsiteY104" fmla="*/ 8219440 h 8260080"/>
              <a:gd name="connsiteX105" fmla="*/ 853440 w 3505200"/>
              <a:gd name="connsiteY105" fmla="*/ 8209280 h 8260080"/>
              <a:gd name="connsiteX106" fmla="*/ 955040 w 3505200"/>
              <a:gd name="connsiteY106" fmla="*/ 8260080 h 8260080"/>
              <a:gd name="connsiteX107" fmla="*/ 965200 w 3505200"/>
              <a:gd name="connsiteY107" fmla="*/ 8107680 h 8260080"/>
              <a:gd name="connsiteX108" fmla="*/ 894080 w 3505200"/>
              <a:gd name="connsiteY108" fmla="*/ 8026400 h 8260080"/>
              <a:gd name="connsiteX109" fmla="*/ 1016000 w 3505200"/>
              <a:gd name="connsiteY109" fmla="*/ 7863840 h 8260080"/>
              <a:gd name="connsiteX110" fmla="*/ 1107440 w 3505200"/>
              <a:gd name="connsiteY110" fmla="*/ 7894320 h 8260080"/>
              <a:gd name="connsiteX111" fmla="*/ 1127760 w 3505200"/>
              <a:gd name="connsiteY111" fmla="*/ 7853680 h 8260080"/>
              <a:gd name="connsiteX112" fmla="*/ 1066800 w 3505200"/>
              <a:gd name="connsiteY112" fmla="*/ 7813040 h 8260080"/>
              <a:gd name="connsiteX113" fmla="*/ 1137920 w 3505200"/>
              <a:gd name="connsiteY113" fmla="*/ 7762240 h 8260080"/>
              <a:gd name="connsiteX114" fmla="*/ 1330960 w 3505200"/>
              <a:gd name="connsiteY114" fmla="*/ 7802880 h 8260080"/>
              <a:gd name="connsiteX115" fmla="*/ 1361440 w 3505200"/>
              <a:gd name="connsiteY115" fmla="*/ 7772400 h 8260080"/>
              <a:gd name="connsiteX116" fmla="*/ 1483360 w 3505200"/>
              <a:gd name="connsiteY116" fmla="*/ 7823200 h 8260080"/>
              <a:gd name="connsiteX117" fmla="*/ 1554480 w 3505200"/>
              <a:gd name="connsiteY117" fmla="*/ 7731760 h 8260080"/>
              <a:gd name="connsiteX118" fmla="*/ 1524000 w 3505200"/>
              <a:gd name="connsiteY118" fmla="*/ 7640320 h 8260080"/>
              <a:gd name="connsiteX119" fmla="*/ 1645920 w 3505200"/>
              <a:gd name="connsiteY119" fmla="*/ 7437120 h 8260080"/>
              <a:gd name="connsiteX120" fmla="*/ 1635760 w 3505200"/>
              <a:gd name="connsiteY120" fmla="*/ 7335520 h 8260080"/>
              <a:gd name="connsiteX121" fmla="*/ 1696720 w 3505200"/>
              <a:gd name="connsiteY121" fmla="*/ 7223760 h 8260080"/>
              <a:gd name="connsiteX122" fmla="*/ 1625600 w 3505200"/>
              <a:gd name="connsiteY122" fmla="*/ 7172960 h 8260080"/>
              <a:gd name="connsiteX123" fmla="*/ 1747520 w 3505200"/>
              <a:gd name="connsiteY123" fmla="*/ 6990080 h 8260080"/>
              <a:gd name="connsiteX124" fmla="*/ 1666240 w 3505200"/>
              <a:gd name="connsiteY124" fmla="*/ 6939280 h 8260080"/>
              <a:gd name="connsiteX125" fmla="*/ 1737360 w 3505200"/>
              <a:gd name="connsiteY125" fmla="*/ 6888480 h 8260080"/>
              <a:gd name="connsiteX126" fmla="*/ 1645920 w 3505200"/>
              <a:gd name="connsiteY126" fmla="*/ 6776720 h 8260080"/>
              <a:gd name="connsiteX127" fmla="*/ 1808480 w 3505200"/>
              <a:gd name="connsiteY127" fmla="*/ 6715760 h 8260080"/>
              <a:gd name="connsiteX128" fmla="*/ 1727200 w 3505200"/>
              <a:gd name="connsiteY128" fmla="*/ 6614160 h 8260080"/>
              <a:gd name="connsiteX129" fmla="*/ 1686560 w 3505200"/>
              <a:gd name="connsiteY129" fmla="*/ 6421120 h 8260080"/>
              <a:gd name="connsiteX130" fmla="*/ 1889760 w 3505200"/>
              <a:gd name="connsiteY130" fmla="*/ 6299200 h 8260080"/>
              <a:gd name="connsiteX131" fmla="*/ 1940560 w 3505200"/>
              <a:gd name="connsiteY131" fmla="*/ 6228080 h 8260080"/>
              <a:gd name="connsiteX132" fmla="*/ 2032000 w 3505200"/>
              <a:gd name="connsiteY132" fmla="*/ 6136640 h 8260080"/>
              <a:gd name="connsiteX133" fmla="*/ 2011680 w 3505200"/>
              <a:gd name="connsiteY133" fmla="*/ 6014720 h 8260080"/>
              <a:gd name="connsiteX134" fmla="*/ 2123440 w 3505200"/>
              <a:gd name="connsiteY134" fmla="*/ 6065520 h 8260080"/>
              <a:gd name="connsiteX135" fmla="*/ 2092960 w 3505200"/>
              <a:gd name="connsiteY135" fmla="*/ 6167120 h 8260080"/>
              <a:gd name="connsiteX136" fmla="*/ 2286000 w 3505200"/>
              <a:gd name="connsiteY136" fmla="*/ 5933440 h 8260080"/>
              <a:gd name="connsiteX137" fmla="*/ 2255520 w 3505200"/>
              <a:gd name="connsiteY137" fmla="*/ 5801360 h 8260080"/>
              <a:gd name="connsiteX138" fmla="*/ 2448560 w 3505200"/>
              <a:gd name="connsiteY138" fmla="*/ 5598160 h 8260080"/>
              <a:gd name="connsiteX139" fmla="*/ 2357120 w 3505200"/>
              <a:gd name="connsiteY139" fmla="*/ 5435600 h 8260080"/>
              <a:gd name="connsiteX140" fmla="*/ 2225040 w 3505200"/>
              <a:gd name="connsiteY140" fmla="*/ 5415280 h 8260080"/>
              <a:gd name="connsiteX141" fmla="*/ 2103120 w 3505200"/>
              <a:gd name="connsiteY141" fmla="*/ 5222240 h 8260080"/>
              <a:gd name="connsiteX142" fmla="*/ 2092960 w 3505200"/>
              <a:gd name="connsiteY142" fmla="*/ 5110480 h 8260080"/>
              <a:gd name="connsiteX143" fmla="*/ 2052320 w 3505200"/>
              <a:gd name="connsiteY143" fmla="*/ 5151120 h 8260080"/>
              <a:gd name="connsiteX144" fmla="*/ 2042160 w 3505200"/>
              <a:gd name="connsiteY144" fmla="*/ 5242560 h 8260080"/>
              <a:gd name="connsiteX145" fmla="*/ 1981200 w 3505200"/>
              <a:gd name="connsiteY145" fmla="*/ 5191760 h 8260080"/>
              <a:gd name="connsiteX146" fmla="*/ 2011680 w 3505200"/>
              <a:gd name="connsiteY146" fmla="*/ 5120640 h 8260080"/>
              <a:gd name="connsiteX147" fmla="*/ 1930400 w 3505200"/>
              <a:gd name="connsiteY147" fmla="*/ 5100320 h 8260080"/>
              <a:gd name="connsiteX148" fmla="*/ 1859280 w 3505200"/>
              <a:gd name="connsiteY148" fmla="*/ 4917440 h 8260080"/>
              <a:gd name="connsiteX149" fmla="*/ 1828800 w 3505200"/>
              <a:gd name="connsiteY149" fmla="*/ 4622800 h 8260080"/>
              <a:gd name="connsiteX150" fmla="*/ 1910080 w 3505200"/>
              <a:gd name="connsiteY150" fmla="*/ 4419600 h 8260080"/>
              <a:gd name="connsiteX151" fmla="*/ 1920240 w 3505200"/>
              <a:gd name="connsiteY151" fmla="*/ 4277360 h 8260080"/>
              <a:gd name="connsiteX152" fmla="*/ 1971040 w 3505200"/>
              <a:gd name="connsiteY152" fmla="*/ 4124960 h 8260080"/>
              <a:gd name="connsiteX153" fmla="*/ 1879600 w 3505200"/>
              <a:gd name="connsiteY153" fmla="*/ 4023360 h 8260080"/>
              <a:gd name="connsiteX154" fmla="*/ 2072640 w 3505200"/>
              <a:gd name="connsiteY154" fmla="*/ 4003040 h 8260080"/>
              <a:gd name="connsiteX155" fmla="*/ 2092960 w 3505200"/>
              <a:gd name="connsiteY155" fmla="*/ 3850640 h 8260080"/>
              <a:gd name="connsiteX156" fmla="*/ 2001520 w 3505200"/>
              <a:gd name="connsiteY156" fmla="*/ 3728720 h 8260080"/>
              <a:gd name="connsiteX157" fmla="*/ 2164080 w 3505200"/>
              <a:gd name="connsiteY157" fmla="*/ 3769360 h 8260080"/>
              <a:gd name="connsiteX158" fmla="*/ 2265680 w 3505200"/>
              <a:gd name="connsiteY158" fmla="*/ 3566160 h 8260080"/>
              <a:gd name="connsiteX159" fmla="*/ 2336800 w 3505200"/>
              <a:gd name="connsiteY159" fmla="*/ 3515360 h 8260080"/>
              <a:gd name="connsiteX160" fmla="*/ 2367280 w 3505200"/>
              <a:gd name="connsiteY160" fmla="*/ 3362960 h 8260080"/>
              <a:gd name="connsiteX161" fmla="*/ 2489200 w 3505200"/>
              <a:gd name="connsiteY161" fmla="*/ 3423920 h 8260080"/>
              <a:gd name="connsiteX162" fmla="*/ 2560320 w 3505200"/>
              <a:gd name="connsiteY162" fmla="*/ 3302000 h 8260080"/>
              <a:gd name="connsiteX163" fmla="*/ 2743200 w 3505200"/>
              <a:gd name="connsiteY163" fmla="*/ 3149600 h 8260080"/>
              <a:gd name="connsiteX164" fmla="*/ 2844800 w 3505200"/>
              <a:gd name="connsiteY164" fmla="*/ 3088640 h 8260080"/>
              <a:gd name="connsiteX165" fmla="*/ 2804160 w 3505200"/>
              <a:gd name="connsiteY165" fmla="*/ 2966720 h 8260080"/>
              <a:gd name="connsiteX166" fmla="*/ 2976880 w 3505200"/>
              <a:gd name="connsiteY166" fmla="*/ 2763520 h 8260080"/>
              <a:gd name="connsiteX167" fmla="*/ 2794000 w 3505200"/>
              <a:gd name="connsiteY167" fmla="*/ 2621280 h 8260080"/>
              <a:gd name="connsiteX168" fmla="*/ 2946400 w 3505200"/>
              <a:gd name="connsiteY168" fmla="*/ 2377440 h 8260080"/>
              <a:gd name="connsiteX169" fmla="*/ 2854960 w 3505200"/>
              <a:gd name="connsiteY169" fmla="*/ 2255520 h 8260080"/>
              <a:gd name="connsiteX170" fmla="*/ 3027680 w 3505200"/>
              <a:gd name="connsiteY170" fmla="*/ 2113280 h 8260080"/>
              <a:gd name="connsiteX171" fmla="*/ 3119120 w 3505200"/>
              <a:gd name="connsiteY171" fmla="*/ 2021840 h 8260080"/>
              <a:gd name="connsiteX172" fmla="*/ 3027680 w 3505200"/>
              <a:gd name="connsiteY172" fmla="*/ 1960880 h 8260080"/>
              <a:gd name="connsiteX173" fmla="*/ 3139440 w 3505200"/>
              <a:gd name="connsiteY173" fmla="*/ 1869440 h 8260080"/>
              <a:gd name="connsiteX174" fmla="*/ 3281680 w 3505200"/>
              <a:gd name="connsiteY174" fmla="*/ 1950720 h 8260080"/>
              <a:gd name="connsiteX175" fmla="*/ 3403600 w 3505200"/>
              <a:gd name="connsiteY175" fmla="*/ 1889760 h 8260080"/>
              <a:gd name="connsiteX176" fmla="*/ 3505200 w 3505200"/>
              <a:gd name="connsiteY176" fmla="*/ 1910080 h 8260080"/>
              <a:gd name="connsiteX177" fmla="*/ 3444240 w 3505200"/>
              <a:gd name="connsiteY177" fmla="*/ 1656080 h 8260080"/>
              <a:gd name="connsiteX178" fmla="*/ 3373120 w 3505200"/>
              <a:gd name="connsiteY178" fmla="*/ 1635760 h 8260080"/>
              <a:gd name="connsiteX179" fmla="*/ 3352800 w 3505200"/>
              <a:gd name="connsiteY179" fmla="*/ 1503680 h 8260080"/>
              <a:gd name="connsiteX180" fmla="*/ 3444240 w 3505200"/>
              <a:gd name="connsiteY180" fmla="*/ 1412240 h 8260080"/>
              <a:gd name="connsiteX181" fmla="*/ 3393440 w 3505200"/>
              <a:gd name="connsiteY181" fmla="*/ 1280160 h 8260080"/>
              <a:gd name="connsiteX182" fmla="*/ 3434080 w 3505200"/>
              <a:gd name="connsiteY182" fmla="*/ 1249680 h 8260080"/>
              <a:gd name="connsiteX183" fmla="*/ 3281680 w 3505200"/>
              <a:gd name="connsiteY183" fmla="*/ 1066800 h 8260080"/>
              <a:gd name="connsiteX184" fmla="*/ 3383280 w 3505200"/>
              <a:gd name="connsiteY184" fmla="*/ 975360 h 8260080"/>
              <a:gd name="connsiteX185" fmla="*/ 3302000 w 3505200"/>
              <a:gd name="connsiteY185" fmla="*/ 924560 h 8260080"/>
              <a:gd name="connsiteX186" fmla="*/ 3190240 w 3505200"/>
              <a:gd name="connsiteY186" fmla="*/ 944880 h 8260080"/>
              <a:gd name="connsiteX187" fmla="*/ 3281680 w 3505200"/>
              <a:gd name="connsiteY187" fmla="*/ 792480 h 8260080"/>
              <a:gd name="connsiteX188" fmla="*/ 3210560 w 3505200"/>
              <a:gd name="connsiteY188" fmla="*/ 650240 h 8260080"/>
              <a:gd name="connsiteX189" fmla="*/ 3302000 w 3505200"/>
              <a:gd name="connsiteY189" fmla="*/ 568960 h 8260080"/>
              <a:gd name="connsiteX190" fmla="*/ 3190240 w 3505200"/>
              <a:gd name="connsiteY190" fmla="*/ 487680 h 8260080"/>
              <a:gd name="connsiteX191" fmla="*/ 3108960 w 3505200"/>
              <a:gd name="connsiteY191" fmla="*/ 528320 h 8260080"/>
              <a:gd name="connsiteX192" fmla="*/ 3108960 w 3505200"/>
              <a:gd name="connsiteY192" fmla="*/ 406400 h 8260080"/>
              <a:gd name="connsiteX193" fmla="*/ 2926080 w 3505200"/>
              <a:gd name="connsiteY193" fmla="*/ 314960 h 8260080"/>
              <a:gd name="connsiteX194" fmla="*/ 2834640 w 3505200"/>
              <a:gd name="connsiteY194" fmla="*/ 355600 h 8260080"/>
              <a:gd name="connsiteX195" fmla="*/ 2682240 w 3505200"/>
              <a:gd name="connsiteY195" fmla="*/ 111760 h 8260080"/>
              <a:gd name="connsiteX196" fmla="*/ 2590800 w 3505200"/>
              <a:gd name="connsiteY196" fmla="*/ 121920 h 8260080"/>
              <a:gd name="connsiteX197" fmla="*/ 2611120 w 3505200"/>
              <a:gd name="connsiteY197" fmla="*/ 0 h 8260080"/>
              <a:gd name="connsiteX198" fmla="*/ 2438400 w 3505200"/>
              <a:gd name="connsiteY198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50106 w 3505200"/>
              <a:gd name="connsiteY79" fmla="*/ 7088634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50106 w 3505200"/>
              <a:gd name="connsiteY79" fmla="*/ 7088634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50106 w 3505200"/>
              <a:gd name="connsiteY79" fmla="*/ 7088634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47725 w 3505200"/>
              <a:gd name="connsiteY79" fmla="*/ 7088634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7242 w 3505200"/>
              <a:gd name="connsiteY78" fmla="*/ 7055296 h 8260080"/>
              <a:gd name="connsiteX79" fmla="*/ 247725 w 3505200"/>
              <a:gd name="connsiteY79" fmla="*/ 7088634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7242 w 3505200"/>
              <a:gd name="connsiteY78" fmla="*/ 7055296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7242 w 3505200"/>
              <a:gd name="connsiteY78" fmla="*/ 7055296 h 8260080"/>
              <a:gd name="connsiteX79" fmla="*/ 240581 w 3505200"/>
              <a:gd name="connsiteY79" fmla="*/ 6983859 h 8260080"/>
              <a:gd name="connsiteX80" fmla="*/ 240582 w 3505200"/>
              <a:gd name="connsiteY80" fmla="*/ 7079109 h 8260080"/>
              <a:gd name="connsiteX81" fmla="*/ 280829 w 3505200"/>
              <a:gd name="connsiteY81" fmla="*/ 7148354 h 8260080"/>
              <a:gd name="connsiteX82" fmla="*/ 242962 w 3505200"/>
              <a:gd name="connsiteY82" fmla="*/ 7226746 h 8260080"/>
              <a:gd name="connsiteX83" fmla="*/ 282892 w 3505200"/>
              <a:gd name="connsiteY83" fmla="*/ 7300436 h 8260080"/>
              <a:gd name="connsiteX84" fmla="*/ 310833 w 3505200"/>
              <a:gd name="connsiteY84" fmla="*/ 7299484 h 8260080"/>
              <a:gd name="connsiteX85" fmla="*/ 319162 w 3505200"/>
              <a:gd name="connsiteY85" fmla="*/ 7310089 h 8260080"/>
              <a:gd name="connsiteX86" fmla="*/ 337026 w 3505200"/>
              <a:gd name="connsiteY86" fmla="*/ 7316154 h 8260080"/>
              <a:gd name="connsiteX87" fmla="*/ 370364 w 3505200"/>
              <a:gd name="connsiteY87" fmla="*/ 7360602 h 8260080"/>
              <a:gd name="connsiteX88" fmla="*/ 447040 w 3505200"/>
              <a:gd name="connsiteY88" fmla="*/ 7366000 h 8260080"/>
              <a:gd name="connsiteX89" fmla="*/ 447040 w 3505200"/>
              <a:gd name="connsiteY89" fmla="*/ 7477760 h 8260080"/>
              <a:gd name="connsiteX90" fmla="*/ 558800 w 3505200"/>
              <a:gd name="connsiteY90" fmla="*/ 7528560 h 8260080"/>
              <a:gd name="connsiteX91" fmla="*/ 508000 w 3505200"/>
              <a:gd name="connsiteY91" fmla="*/ 7630160 h 8260080"/>
              <a:gd name="connsiteX92" fmla="*/ 436880 w 3505200"/>
              <a:gd name="connsiteY92" fmla="*/ 7609840 h 8260080"/>
              <a:gd name="connsiteX93" fmla="*/ 447040 w 3505200"/>
              <a:gd name="connsiteY93" fmla="*/ 7691120 h 8260080"/>
              <a:gd name="connsiteX94" fmla="*/ 518160 w 3505200"/>
              <a:gd name="connsiteY94" fmla="*/ 7741920 h 8260080"/>
              <a:gd name="connsiteX95" fmla="*/ 457200 w 3505200"/>
              <a:gd name="connsiteY95" fmla="*/ 7792720 h 8260080"/>
              <a:gd name="connsiteX96" fmla="*/ 396240 w 3505200"/>
              <a:gd name="connsiteY96" fmla="*/ 7701280 h 8260080"/>
              <a:gd name="connsiteX97" fmla="*/ 396240 w 3505200"/>
              <a:gd name="connsiteY97" fmla="*/ 7701280 h 8260080"/>
              <a:gd name="connsiteX98" fmla="*/ 436880 w 3505200"/>
              <a:gd name="connsiteY98" fmla="*/ 7874000 h 8260080"/>
              <a:gd name="connsiteX99" fmla="*/ 436880 w 3505200"/>
              <a:gd name="connsiteY99" fmla="*/ 7924800 h 8260080"/>
              <a:gd name="connsiteX100" fmla="*/ 548640 w 3505200"/>
              <a:gd name="connsiteY100" fmla="*/ 7965440 h 8260080"/>
              <a:gd name="connsiteX101" fmla="*/ 508000 w 3505200"/>
              <a:gd name="connsiteY101" fmla="*/ 8016240 h 8260080"/>
              <a:gd name="connsiteX102" fmla="*/ 589280 w 3505200"/>
              <a:gd name="connsiteY102" fmla="*/ 8056880 h 8260080"/>
              <a:gd name="connsiteX103" fmla="*/ 497840 w 3505200"/>
              <a:gd name="connsiteY103" fmla="*/ 8117840 h 8260080"/>
              <a:gd name="connsiteX104" fmla="*/ 518160 w 3505200"/>
              <a:gd name="connsiteY104" fmla="*/ 8209280 h 8260080"/>
              <a:gd name="connsiteX105" fmla="*/ 640080 w 3505200"/>
              <a:gd name="connsiteY105" fmla="*/ 8260080 h 8260080"/>
              <a:gd name="connsiteX106" fmla="*/ 731520 w 3505200"/>
              <a:gd name="connsiteY106" fmla="*/ 8219440 h 8260080"/>
              <a:gd name="connsiteX107" fmla="*/ 853440 w 3505200"/>
              <a:gd name="connsiteY107" fmla="*/ 8209280 h 8260080"/>
              <a:gd name="connsiteX108" fmla="*/ 955040 w 3505200"/>
              <a:gd name="connsiteY108" fmla="*/ 8260080 h 8260080"/>
              <a:gd name="connsiteX109" fmla="*/ 965200 w 3505200"/>
              <a:gd name="connsiteY109" fmla="*/ 8107680 h 8260080"/>
              <a:gd name="connsiteX110" fmla="*/ 894080 w 3505200"/>
              <a:gd name="connsiteY110" fmla="*/ 8026400 h 8260080"/>
              <a:gd name="connsiteX111" fmla="*/ 1016000 w 3505200"/>
              <a:gd name="connsiteY111" fmla="*/ 7863840 h 8260080"/>
              <a:gd name="connsiteX112" fmla="*/ 1107440 w 3505200"/>
              <a:gd name="connsiteY112" fmla="*/ 7894320 h 8260080"/>
              <a:gd name="connsiteX113" fmla="*/ 1127760 w 3505200"/>
              <a:gd name="connsiteY113" fmla="*/ 7853680 h 8260080"/>
              <a:gd name="connsiteX114" fmla="*/ 1066800 w 3505200"/>
              <a:gd name="connsiteY114" fmla="*/ 7813040 h 8260080"/>
              <a:gd name="connsiteX115" fmla="*/ 1137920 w 3505200"/>
              <a:gd name="connsiteY115" fmla="*/ 7762240 h 8260080"/>
              <a:gd name="connsiteX116" fmla="*/ 1330960 w 3505200"/>
              <a:gd name="connsiteY116" fmla="*/ 7802880 h 8260080"/>
              <a:gd name="connsiteX117" fmla="*/ 1361440 w 3505200"/>
              <a:gd name="connsiteY117" fmla="*/ 7772400 h 8260080"/>
              <a:gd name="connsiteX118" fmla="*/ 1483360 w 3505200"/>
              <a:gd name="connsiteY118" fmla="*/ 7823200 h 8260080"/>
              <a:gd name="connsiteX119" fmla="*/ 1554480 w 3505200"/>
              <a:gd name="connsiteY119" fmla="*/ 7731760 h 8260080"/>
              <a:gd name="connsiteX120" fmla="*/ 1524000 w 3505200"/>
              <a:gd name="connsiteY120" fmla="*/ 7640320 h 8260080"/>
              <a:gd name="connsiteX121" fmla="*/ 1645920 w 3505200"/>
              <a:gd name="connsiteY121" fmla="*/ 7437120 h 8260080"/>
              <a:gd name="connsiteX122" fmla="*/ 1635760 w 3505200"/>
              <a:gd name="connsiteY122" fmla="*/ 7335520 h 8260080"/>
              <a:gd name="connsiteX123" fmla="*/ 1696720 w 3505200"/>
              <a:gd name="connsiteY123" fmla="*/ 7223760 h 8260080"/>
              <a:gd name="connsiteX124" fmla="*/ 1625600 w 3505200"/>
              <a:gd name="connsiteY124" fmla="*/ 7172960 h 8260080"/>
              <a:gd name="connsiteX125" fmla="*/ 1747520 w 3505200"/>
              <a:gd name="connsiteY125" fmla="*/ 6990080 h 8260080"/>
              <a:gd name="connsiteX126" fmla="*/ 1666240 w 3505200"/>
              <a:gd name="connsiteY126" fmla="*/ 6939280 h 8260080"/>
              <a:gd name="connsiteX127" fmla="*/ 1737360 w 3505200"/>
              <a:gd name="connsiteY127" fmla="*/ 6888480 h 8260080"/>
              <a:gd name="connsiteX128" fmla="*/ 1645920 w 3505200"/>
              <a:gd name="connsiteY128" fmla="*/ 6776720 h 8260080"/>
              <a:gd name="connsiteX129" fmla="*/ 1808480 w 3505200"/>
              <a:gd name="connsiteY129" fmla="*/ 6715760 h 8260080"/>
              <a:gd name="connsiteX130" fmla="*/ 1727200 w 3505200"/>
              <a:gd name="connsiteY130" fmla="*/ 6614160 h 8260080"/>
              <a:gd name="connsiteX131" fmla="*/ 1686560 w 3505200"/>
              <a:gd name="connsiteY131" fmla="*/ 6421120 h 8260080"/>
              <a:gd name="connsiteX132" fmla="*/ 1889760 w 3505200"/>
              <a:gd name="connsiteY132" fmla="*/ 6299200 h 8260080"/>
              <a:gd name="connsiteX133" fmla="*/ 1940560 w 3505200"/>
              <a:gd name="connsiteY133" fmla="*/ 6228080 h 8260080"/>
              <a:gd name="connsiteX134" fmla="*/ 2032000 w 3505200"/>
              <a:gd name="connsiteY134" fmla="*/ 6136640 h 8260080"/>
              <a:gd name="connsiteX135" fmla="*/ 2011680 w 3505200"/>
              <a:gd name="connsiteY135" fmla="*/ 6014720 h 8260080"/>
              <a:gd name="connsiteX136" fmla="*/ 2123440 w 3505200"/>
              <a:gd name="connsiteY136" fmla="*/ 6065520 h 8260080"/>
              <a:gd name="connsiteX137" fmla="*/ 2092960 w 3505200"/>
              <a:gd name="connsiteY137" fmla="*/ 6167120 h 8260080"/>
              <a:gd name="connsiteX138" fmla="*/ 2286000 w 3505200"/>
              <a:gd name="connsiteY138" fmla="*/ 5933440 h 8260080"/>
              <a:gd name="connsiteX139" fmla="*/ 2255520 w 3505200"/>
              <a:gd name="connsiteY139" fmla="*/ 5801360 h 8260080"/>
              <a:gd name="connsiteX140" fmla="*/ 2448560 w 3505200"/>
              <a:gd name="connsiteY140" fmla="*/ 5598160 h 8260080"/>
              <a:gd name="connsiteX141" fmla="*/ 2357120 w 3505200"/>
              <a:gd name="connsiteY141" fmla="*/ 5435600 h 8260080"/>
              <a:gd name="connsiteX142" fmla="*/ 2225040 w 3505200"/>
              <a:gd name="connsiteY142" fmla="*/ 5415280 h 8260080"/>
              <a:gd name="connsiteX143" fmla="*/ 2103120 w 3505200"/>
              <a:gd name="connsiteY143" fmla="*/ 5222240 h 8260080"/>
              <a:gd name="connsiteX144" fmla="*/ 2092960 w 3505200"/>
              <a:gd name="connsiteY144" fmla="*/ 5110480 h 8260080"/>
              <a:gd name="connsiteX145" fmla="*/ 2052320 w 3505200"/>
              <a:gd name="connsiteY145" fmla="*/ 5151120 h 8260080"/>
              <a:gd name="connsiteX146" fmla="*/ 2042160 w 3505200"/>
              <a:gd name="connsiteY146" fmla="*/ 5242560 h 8260080"/>
              <a:gd name="connsiteX147" fmla="*/ 1981200 w 3505200"/>
              <a:gd name="connsiteY147" fmla="*/ 5191760 h 8260080"/>
              <a:gd name="connsiteX148" fmla="*/ 2011680 w 3505200"/>
              <a:gd name="connsiteY148" fmla="*/ 5120640 h 8260080"/>
              <a:gd name="connsiteX149" fmla="*/ 1930400 w 3505200"/>
              <a:gd name="connsiteY149" fmla="*/ 5100320 h 8260080"/>
              <a:gd name="connsiteX150" fmla="*/ 1859280 w 3505200"/>
              <a:gd name="connsiteY150" fmla="*/ 4917440 h 8260080"/>
              <a:gd name="connsiteX151" fmla="*/ 1828800 w 3505200"/>
              <a:gd name="connsiteY151" fmla="*/ 4622800 h 8260080"/>
              <a:gd name="connsiteX152" fmla="*/ 1910080 w 3505200"/>
              <a:gd name="connsiteY152" fmla="*/ 4419600 h 8260080"/>
              <a:gd name="connsiteX153" fmla="*/ 1920240 w 3505200"/>
              <a:gd name="connsiteY153" fmla="*/ 4277360 h 8260080"/>
              <a:gd name="connsiteX154" fmla="*/ 1971040 w 3505200"/>
              <a:gd name="connsiteY154" fmla="*/ 4124960 h 8260080"/>
              <a:gd name="connsiteX155" fmla="*/ 1879600 w 3505200"/>
              <a:gd name="connsiteY155" fmla="*/ 4023360 h 8260080"/>
              <a:gd name="connsiteX156" fmla="*/ 2072640 w 3505200"/>
              <a:gd name="connsiteY156" fmla="*/ 4003040 h 8260080"/>
              <a:gd name="connsiteX157" fmla="*/ 2092960 w 3505200"/>
              <a:gd name="connsiteY157" fmla="*/ 3850640 h 8260080"/>
              <a:gd name="connsiteX158" fmla="*/ 2001520 w 3505200"/>
              <a:gd name="connsiteY158" fmla="*/ 3728720 h 8260080"/>
              <a:gd name="connsiteX159" fmla="*/ 2164080 w 3505200"/>
              <a:gd name="connsiteY159" fmla="*/ 3769360 h 8260080"/>
              <a:gd name="connsiteX160" fmla="*/ 2265680 w 3505200"/>
              <a:gd name="connsiteY160" fmla="*/ 3566160 h 8260080"/>
              <a:gd name="connsiteX161" fmla="*/ 2336800 w 3505200"/>
              <a:gd name="connsiteY161" fmla="*/ 3515360 h 8260080"/>
              <a:gd name="connsiteX162" fmla="*/ 2367280 w 3505200"/>
              <a:gd name="connsiteY162" fmla="*/ 3362960 h 8260080"/>
              <a:gd name="connsiteX163" fmla="*/ 2489200 w 3505200"/>
              <a:gd name="connsiteY163" fmla="*/ 3423920 h 8260080"/>
              <a:gd name="connsiteX164" fmla="*/ 2560320 w 3505200"/>
              <a:gd name="connsiteY164" fmla="*/ 3302000 h 8260080"/>
              <a:gd name="connsiteX165" fmla="*/ 2743200 w 3505200"/>
              <a:gd name="connsiteY165" fmla="*/ 3149600 h 8260080"/>
              <a:gd name="connsiteX166" fmla="*/ 2844800 w 3505200"/>
              <a:gd name="connsiteY166" fmla="*/ 3088640 h 8260080"/>
              <a:gd name="connsiteX167" fmla="*/ 2804160 w 3505200"/>
              <a:gd name="connsiteY167" fmla="*/ 2966720 h 8260080"/>
              <a:gd name="connsiteX168" fmla="*/ 2976880 w 3505200"/>
              <a:gd name="connsiteY168" fmla="*/ 2763520 h 8260080"/>
              <a:gd name="connsiteX169" fmla="*/ 2794000 w 3505200"/>
              <a:gd name="connsiteY169" fmla="*/ 2621280 h 8260080"/>
              <a:gd name="connsiteX170" fmla="*/ 2946400 w 3505200"/>
              <a:gd name="connsiteY170" fmla="*/ 2377440 h 8260080"/>
              <a:gd name="connsiteX171" fmla="*/ 2854960 w 3505200"/>
              <a:gd name="connsiteY171" fmla="*/ 2255520 h 8260080"/>
              <a:gd name="connsiteX172" fmla="*/ 3027680 w 3505200"/>
              <a:gd name="connsiteY172" fmla="*/ 2113280 h 8260080"/>
              <a:gd name="connsiteX173" fmla="*/ 3119120 w 3505200"/>
              <a:gd name="connsiteY173" fmla="*/ 2021840 h 8260080"/>
              <a:gd name="connsiteX174" fmla="*/ 3027680 w 3505200"/>
              <a:gd name="connsiteY174" fmla="*/ 1960880 h 8260080"/>
              <a:gd name="connsiteX175" fmla="*/ 3139440 w 3505200"/>
              <a:gd name="connsiteY175" fmla="*/ 1869440 h 8260080"/>
              <a:gd name="connsiteX176" fmla="*/ 3281680 w 3505200"/>
              <a:gd name="connsiteY176" fmla="*/ 1950720 h 8260080"/>
              <a:gd name="connsiteX177" fmla="*/ 3403600 w 3505200"/>
              <a:gd name="connsiteY177" fmla="*/ 1889760 h 8260080"/>
              <a:gd name="connsiteX178" fmla="*/ 3505200 w 3505200"/>
              <a:gd name="connsiteY178" fmla="*/ 1910080 h 8260080"/>
              <a:gd name="connsiteX179" fmla="*/ 3444240 w 3505200"/>
              <a:gd name="connsiteY179" fmla="*/ 1656080 h 8260080"/>
              <a:gd name="connsiteX180" fmla="*/ 3373120 w 3505200"/>
              <a:gd name="connsiteY180" fmla="*/ 1635760 h 8260080"/>
              <a:gd name="connsiteX181" fmla="*/ 3352800 w 3505200"/>
              <a:gd name="connsiteY181" fmla="*/ 1503680 h 8260080"/>
              <a:gd name="connsiteX182" fmla="*/ 3444240 w 3505200"/>
              <a:gd name="connsiteY182" fmla="*/ 1412240 h 8260080"/>
              <a:gd name="connsiteX183" fmla="*/ 3393440 w 3505200"/>
              <a:gd name="connsiteY183" fmla="*/ 1280160 h 8260080"/>
              <a:gd name="connsiteX184" fmla="*/ 3434080 w 3505200"/>
              <a:gd name="connsiteY184" fmla="*/ 1249680 h 8260080"/>
              <a:gd name="connsiteX185" fmla="*/ 3281680 w 3505200"/>
              <a:gd name="connsiteY185" fmla="*/ 1066800 h 8260080"/>
              <a:gd name="connsiteX186" fmla="*/ 3383280 w 3505200"/>
              <a:gd name="connsiteY186" fmla="*/ 975360 h 8260080"/>
              <a:gd name="connsiteX187" fmla="*/ 3302000 w 3505200"/>
              <a:gd name="connsiteY187" fmla="*/ 924560 h 8260080"/>
              <a:gd name="connsiteX188" fmla="*/ 3190240 w 3505200"/>
              <a:gd name="connsiteY188" fmla="*/ 944880 h 8260080"/>
              <a:gd name="connsiteX189" fmla="*/ 3281680 w 3505200"/>
              <a:gd name="connsiteY189" fmla="*/ 792480 h 8260080"/>
              <a:gd name="connsiteX190" fmla="*/ 3210560 w 3505200"/>
              <a:gd name="connsiteY190" fmla="*/ 650240 h 8260080"/>
              <a:gd name="connsiteX191" fmla="*/ 3302000 w 3505200"/>
              <a:gd name="connsiteY191" fmla="*/ 568960 h 8260080"/>
              <a:gd name="connsiteX192" fmla="*/ 3190240 w 3505200"/>
              <a:gd name="connsiteY192" fmla="*/ 487680 h 8260080"/>
              <a:gd name="connsiteX193" fmla="*/ 3108960 w 3505200"/>
              <a:gd name="connsiteY193" fmla="*/ 528320 h 8260080"/>
              <a:gd name="connsiteX194" fmla="*/ 3108960 w 3505200"/>
              <a:gd name="connsiteY194" fmla="*/ 406400 h 8260080"/>
              <a:gd name="connsiteX195" fmla="*/ 2926080 w 3505200"/>
              <a:gd name="connsiteY195" fmla="*/ 314960 h 8260080"/>
              <a:gd name="connsiteX196" fmla="*/ 2834640 w 3505200"/>
              <a:gd name="connsiteY196" fmla="*/ 355600 h 8260080"/>
              <a:gd name="connsiteX197" fmla="*/ 2682240 w 3505200"/>
              <a:gd name="connsiteY197" fmla="*/ 111760 h 8260080"/>
              <a:gd name="connsiteX198" fmla="*/ 2590800 w 3505200"/>
              <a:gd name="connsiteY198" fmla="*/ 121920 h 8260080"/>
              <a:gd name="connsiteX199" fmla="*/ 2611120 w 3505200"/>
              <a:gd name="connsiteY199" fmla="*/ 0 h 8260080"/>
              <a:gd name="connsiteX200" fmla="*/ 2438400 w 3505200"/>
              <a:gd name="connsiteY20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7242 w 3505200"/>
              <a:gd name="connsiteY78" fmla="*/ 7055296 h 8260080"/>
              <a:gd name="connsiteX79" fmla="*/ 240581 w 3505200"/>
              <a:gd name="connsiteY79" fmla="*/ 6983859 h 8260080"/>
              <a:gd name="connsiteX80" fmla="*/ 247724 w 3505200"/>
              <a:gd name="connsiteY80" fmla="*/ 7031484 h 8260080"/>
              <a:gd name="connsiteX81" fmla="*/ 240582 w 3505200"/>
              <a:gd name="connsiteY81" fmla="*/ 7079109 h 8260080"/>
              <a:gd name="connsiteX82" fmla="*/ 280829 w 3505200"/>
              <a:gd name="connsiteY82" fmla="*/ 7148354 h 8260080"/>
              <a:gd name="connsiteX83" fmla="*/ 242962 w 3505200"/>
              <a:gd name="connsiteY83" fmla="*/ 7226746 h 8260080"/>
              <a:gd name="connsiteX84" fmla="*/ 282892 w 3505200"/>
              <a:gd name="connsiteY84" fmla="*/ 7300436 h 8260080"/>
              <a:gd name="connsiteX85" fmla="*/ 310833 w 3505200"/>
              <a:gd name="connsiteY85" fmla="*/ 7299484 h 8260080"/>
              <a:gd name="connsiteX86" fmla="*/ 319162 w 3505200"/>
              <a:gd name="connsiteY86" fmla="*/ 7310089 h 8260080"/>
              <a:gd name="connsiteX87" fmla="*/ 337026 w 3505200"/>
              <a:gd name="connsiteY87" fmla="*/ 7316154 h 8260080"/>
              <a:gd name="connsiteX88" fmla="*/ 370364 w 3505200"/>
              <a:gd name="connsiteY88" fmla="*/ 7360602 h 8260080"/>
              <a:gd name="connsiteX89" fmla="*/ 447040 w 3505200"/>
              <a:gd name="connsiteY89" fmla="*/ 7366000 h 8260080"/>
              <a:gd name="connsiteX90" fmla="*/ 447040 w 3505200"/>
              <a:gd name="connsiteY90" fmla="*/ 7477760 h 8260080"/>
              <a:gd name="connsiteX91" fmla="*/ 558800 w 3505200"/>
              <a:gd name="connsiteY91" fmla="*/ 7528560 h 8260080"/>
              <a:gd name="connsiteX92" fmla="*/ 508000 w 3505200"/>
              <a:gd name="connsiteY92" fmla="*/ 7630160 h 8260080"/>
              <a:gd name="connsiteX93" fmla="*/ 436880 w 3505200"/>
              <a:gd name="connsiteY93" fmla="*/ 7609840 h 8260080"/>
              <a:gd name="connsiteX94" fmla="*/ 447040 w 3505200"/>
              <a:gd name="connsiteY94" fmla="*/ 7691120 h 8260080"/>
              <a:gd name="connsiteX95" fmla="*/ 518160 w 3505200"/>
              <a:gd name="connsiteY95" fmla="*/ 7741920 h 8260080"/>
              <a:gd name="connsiteX96" fmla="*/ 457200 w 3505200"/>
              <a:gd name="connsiteY96" fmla="*/ 7792720 h 8260080"/>
              <a:gd name="connsiteX97" fmla="*/ 396240 w 3505200"/>
              <a:gd name="connsiteY97" fmla="*/ 7701280 h 8260080"/>
              <a:gd name="connsiteX98" fmla="*/ 396240 w 3505200"/>
              <a:gd name="connsiteY98" fmla="*/ 7701280 h 8260080"/>
              <a:gd name="connsiteX99" fmla="*/ 436880 w 3505200"/>
              <a:gd name="connsiteY99" fmla="*/ 7874000 h 8260080"/>
              <a:gd name="connsiteX100" fmla="*/ 436880 w 3505200"/>
              <a:gd name="connsiteY100" fmla="*/ 7924800 h 8260080"/>
              <a:gd name="connsiteX101" fmla="*/ 548640 w 3505200"/>
              <a:gd name="connsiteY101" fmla="*/ 7965440 h 8260080"/>
              <a:gd name="connsiteX102" fmla="*/ 508000 w 3505200"/>
              <a:gd name="connsiteY102" fmla="*/ 8016240 h 8260080"/>
              <a:gd name="connsiteX103" fmla="*/ 589280 w 3505200"/>
              <a:gd name="connsiteY103" fmla="*/ 8056880 h 8260080"/>
              <a:gd name="connsiteX104" fmla="*/ 497840 w 3505200"/>
              <a:gd name="connsiteY104" fmla="*/ 8117840 h 8260080"/>
              <a:gd name="connsiteX105" fmla="*/ 518160 w 3505200"/>
              <a:gd name="connsiteY105" fmla="*/ 8209280 h 8260080"/>
              <a:gd name="connsiteX106" fmla="*/ 640080 w 3505200"/>
              <a:gd name="connsiteY106" fmla="*/ 8260080 h 8260080"/>
              <a:gd name="connsiteX107" fmla="*/ 731520 w 3505200"/>
              <a:gd name="connsiteY107" fmla="*/ 8219440 h 8260080"/>
              <a:gd name="connsiteX108" fmla="*/ 853440 w 3505200"/>
              <a:gd name="connsiteY108" fmla="*/ 8209280 h 8260080"/>
              <a:gd name="connsiteX109" fmla="*/ 955040 w 3505200"/>
              <a:gd name="connsiteY109" fmla="*/ 8260080 h 8260080"/>
              <a:gd name="connsiteX110" fmla="*/ 965200 w 3505200"/>
              <a:gd name="connsiteY110" fmla="*/ 8107680 h 8260080"/>
              <a:gd name="connsiteX111" fmla="*/ 894080 w 3505200"/>
              <a:gd name="connsiteY111" fmla="*/ 8026400 h 8260080"/>
              <a:gd name="connsiteX112" fmla="*/ 1016000 w 3505200"/>
              <a:gd name="connsiteY112" fmla="*/ 7863840 h 8260080"/>
              <a:gd name="connsiteX113" fmla="*/ 1107440 w 3505200"/>
              <a:gd name="connsiteY113" fmla="*/ 7894320 h 8260080"/>
              <a:gd name="connsiteX114" fmla="*/ 1127760 w 3505200"/>
              <a:gd name="connsiteY114" fmla="*/ 7853680 h 8260080"/>
              <a:gd name="connsiteX115" fmla="*/ 1066800 w 3505200"/>
              <a:gd name="connsiteY115" fmla="*/ 7813040 h 8260080"/>
              <a:gd name="connsiteX116" fmla="*/ 1137920 w 3505200"/>
              <a:gd name="connsiteY116" fmla="*/ 7762240 h 8260080"/>
              <a:gd name="connsiteX117" fmla="*/ 1330960 w 3505200"/>
              <a:gd name="connsiteY117" fmla="*/ 7802880 h 8260080"/>
              <a:gd name="connsiteX118" fmla="*/ 1361440 w 3505200"/>
              <a:gd name="connsiteY118" fmla="*/ 7772400 h 8260080"/>
              <a:gd name="connsiteX119" fmla="*/ 1483360 w 3505200"/>
              <a:gd name="connsiteY119" fmla="*/ 7823200 h 8260080"/>
              <a:gd name="connsiteX120" fmla="*/ 1554480 w 3505200"/>
              <a:gd name="connsiteY120" fmla="*/ 7731760 h 8260080"/>
              <a:gd name="connsiteX121" fmla="*/ 1524000 w 3505200"/>
              <a:gd name="connsiteY121" fmla="*/ 7640320 h 8260080"/>
              <a:gd name="connsiteX122" fmla="*/ 1645920 w 3505200"/>
              <a:gd name="connsiteY122" fmla="*/ 7437120 h 8260080"/>
              <a:gd name="connsiteX123" fmla="*/ 1635760 w 3505200"/>
              <a:gd name="connsiteY123" fmla="*/ 7335520 h 8260080"/>
              <a:gd name="connsiteX124" fmla="*/ 1696720 w 3505200"/>
              <a:gd name="connsiteY124" fmla="*/ 7223760 h 8260080"/>
              <a:gd name="connsiteX125" fmla="*/ 1625600 w 3505200"/>
              <a:gd name="connsiteY125" fmla="*/ 7172960 h 8260080"/>
              <a:gd name="connsiteX126" fmla="*/ 1747520 w 3505200"/>
              <a:gd name="connsiteY126" fmla="*/ 6990080 h 8260080"/>
              <a:gd name="connsiteX127" fmla="*/ 1666240 w 3505200"/>
              <a:gd name="connsiteY127" fmla="*/ 6939280 h 8260080"/>
              <a:gd name="connsiteX128" fmla="*/ 1737360 w 3505200"/>
              <a:gd name="connsiteY128" fmla="*/ 6888480 h 8260080"/>
              <a:gd name="connsiteX129" fmla="*/ 1645920 w 3505200"/>
              <a:gd name="connsiteY129" fmla="*/ 6776720 h 8260080"/>
              <a:gd name="connsiteX130" fmla="*/ 1808480 w 3505200"/>
              <a:gd name="connsiteY130" fmla="*/ 6715760 h 8260080"/>
              <a:gd name="connsiteX131" fmla="*/ 1727200 w 3505200"/>
              <a:gd name="connsiteY131" fmla="*/ 6614160 h 8260080"/>
              <a:gd name="connsiteX132" fmla="*/ 1686560 w 3505200"/>
              <a:gd name="connsiteY132" fmla="*/ 6421120 h 8260080"/>
              <a:gd name="connsiteX133" fmla="*/ 1889760 w 3505200"/>
              <a:gd name="connsiteY133" fmla="*/ 6299200 h 8260080"/>
              <a:gd name="connsiteX134" fmla="*/ 1940560 w 3505200"/>
              <a:gd name="connsiteY134" fmla="*/ 6228080 h 8260080"/>
              <a:gd name="connsiteX135" fmla="*/ 2032000 w 3505200"/>
              <a:gd name="connsiteY135" fmla="*/ 6136640 h 8260080"/>
              <a:gd name="connsiteX136" fmla="*/ 2011680 w 3505200"/>
              <a:gd name="connsiteY136" fmla="*/ 6014720 h 8260080"/>
              <a:gd name="connsiteX137" fmla="*/ 2123440 w 3505200"/>
              <a:gd name="connsiteY137" fmla="*/ 6065520 h 8260080"/>
              <a:gd name="connsiteX138" fmla="*/ 2092960 w 3505200"/>
              <a:gd name="connsiteY138" fmla="*/ 6167120 h 8260080"/>
              <a:gd name="connsiteX139" fmla="*/ 2286000 w 3505200"/>
              <a:gd name="connsiteY139" fmla="*/ 5933440 h 8260080"/>
              <a:gd name="connsiteX140" fmla="*/ 2255520 w 3505200"/>
              <a:gd name="connsiteY140" fmla="*/ 5801360 h 8260080"/>
              <a:gd name="connsiteX141" fmla="*/ 2448560 w 3505200"/>
              <a:gd name="connsiteY141" fmla="*/ 5598160 h 8260080"/>
              <a:gd name="connsiteX142" fmla="*/ 2357120 w 3505200"/>
              <a:gd name="connsiteY142" fmla="*/ 5435600 h 8260080"/>
              <a:gd name="connsiteX143" fmla="*/ 2225040 w 3505200"/>
              <a:gd name="connsiteY143" fmla="*/ 5415280 h 8260080"/>
              <a:gd name="connsiteX144" fmla="*/ 2103120 w 3505200"/>
              <a:gd name="connsiteY144" fmla="*/ 5222240 h 8260080"/>
              <a:gd name="connsiteX145" fmla="*/ 2092960 w 3505200"/>
              <a:gd name="connsiteY145" fmla="*/ 5110480 h 8260080"/>
              <a:gd name="connsiteX146" fmla="*/ 2052320 w 3505200"/>
              <a:gd name="connsiteY146" fmla="*/ 5151120 h 8260080"/>
              <a:gd name="connsiteX147" fmla="*/ 2042160 w 3505200"/>
              <a:gd name="connsiteY147" fmla="*/ 5242560 h 8260080"/>
              <a:gd name="connsiteX148" fmla="*/ 1981200 w 3505200"/>
              <a:gd name="connsiteY148" fmla="*/ 5191760 h 8260080"/>
              <a:gd name="connsiteX149" fmla="*/ 2011680 w 3505200"/>
              <a:gd name="connsiteY149" fmla="*/ 5120640 h 8260080"/>
              <a:gd name="connsiteX150" fmla="*/ 1930400 w 3505200"/>
              <a:gd name="connsiteY150" fmla="*/ 5100320 h 8260080"/>
              <a:gd name="connsiteX151" fmla="*/ 1859280 w 3505200"/>
              <a:gd name="connsiteY151" fmla="*/ 4917440 h 8260080"/>
              <a:gd name="connsiteX152" fmla="*/ 1828800 w 3505200"/>
              <a:gd name="connsiteY152" fmla="*/ 4622800 h 8260080"/>
              <a:gd name="connsiteX153" fmla="*/ 1910080 w 3505200"/>
              <a:gd name="connsiteY153" fmla="*/ 4419600 h 8260080"/>
              <a:gd name="connsiteX154" fmla="*/ 1920240 w 3505200"/>
              <a:gd name="connsiteY154" fmla="*/ 4277360 h 8260080"/>
              <a:gd name="connsiteX155" fmla="*/ 1971040 w 3505200"/>
              <a:gd name="connsiteY155" fmla="*/ 4124960 h 8260080"/>
              <a:gd name="connsiteX156" fmla="*/ 1879600 w 3505200"/>
              <a:gd name="connsiteY156" fmla="*/ 4023360 h 8260080"/>
              <a:gd name="connsiteX157" fmla="*/ 2072640 w 3505200"/>
              <a:gd name="connsiteY157" fmla="*/ 4003040 h 8260080"/>
              <a:gd name="connsiteX158" fmla="*/ 2092960 w 3505200"/>
              <a:gd name="connsiteY158" fmla="*/ 3850640 h 8260080"/>
              <a:gd name="connsiteX159" fmla="*/ 2001520 w 3505200"/>
              <a:gd name="connsiteY159" fmla="*/ 3728720 h 8260080"/>
              <a:gd name="connsiteX160" fmla="*/ 2164080 w 3505200"/>
              <a:gd name="connsiteY160" fmla="*/ 3769360 h 8260080"/>
              <a:gd name="connsiteX161" fmla="*/ 2265680 w 3505200"/>
              <a:gd name="connsiteY161" fmla="*/ 3566160 h 8260080"/>
              <a:gd name="connsiteX162" fmla="*/ 2336800 w 3505200"/>
              <a:gd name="connsiteY162" fmla="*/ 3515360 h 8260080"/>
              <a:gd name="connsiteX163" fmla="*/ 2367280 w 3505200"/>
              <a:gd name="connsiteY163" fmla="*/ 3362960 h 8260080"/>
              <a:gd name="connsiteX164" fmla="*/ 2489200 w 3505200"/>
              <a:gd name="connsiteY164" fmla="*/ 3423920 h 8260080"/>
              <a:gd name="connsiteX165" fmla="*/ 2560320 w 3505200"/>
              <a:gd name="connsiteY165" fmla="*/ 3302000 h 8260080"/>
              <a:gd name="connsiteX166" fmla="*/ 2743200 w 3505200"/>
              <a:gd name="connsiteY166" fmla="*/ 3149600 h 8260080"/>
              <a:gd name="connsiteX167" fmla="*/ 2844800 w 3505200"/>
              <a:gd name="connsiteY167" fmla="*/ 3088640 h 8260080"/>
              <a:gd name="connsiteX168" fmla="*/ 2804160 w 3505200"/>
              <a:gd name="connsiteY168" fmla="*/ 2966720 h 8260080"/>
              <a:gd name="connsiteX169" fmla="*/ 2976880 w 3505200"/>
              <a:gd name="connsiteY169" fmla="*/ 2763520 h 8260080"/>
              <a:gd name="connsiteX170" fmla="*/ 2794000 w 3505200"/>
              <a:gd name="connsiteY170" fmla="*/ 2621280 h 8260080"/>
              <a:gd name="connsiteX171" fmla="*/ 2946400 w 3505200"/>
              <a:gd name="connsiteY171" fmla="*/ 2377440 h 8260080"/>
              <a:gd name="connsiteX172" fmla="*/ 2854960 w 3505200"/>
              <a:gd name="connsiteY172" fmla="*/ 2255520 h 8260080"/>
              <a:gd name="connsiteX173" fmla="*/ 3027680 w 3505200"/>
              <a:gd name="connsiteY173" fmla="*/ 2113280 h 8260080"/>
              <a:gd name="connsiteX174" fmla="*/ 3119120 w 3505200"/>
              <a:gd name="connsiteY174" fmla="*/ 2021840 h 8260080"/>
              <a:gd name="connsiteX175" fmla="*/ 3027680 w 3505200"/>
              <a:gd name="connsiteY175" fmla="*/ 1960880 h 8260080"/>
              <a:gd name="connsiteX176" fmla="*/ 3139440 w 3505200"/>
              <a:gd name="connsiteY176" fmla="*/ 1869440 h 8260080"/>
              <a:gd name="connsiteX177" fmla="*/ 3281680 w 3505200"/>
              <a:gd name="connsiteY177" fmla="*/ 1950720 h 8260080"/>
              <a:gd name="connsiteX178" fmla="*/ 3403600 w 3505200"/>
              <a:gd name="connsiteY178" fmla="*/ 1889760 h 8260080"/>
              <a:gd name="connsiteX179" fmla="*/ 3505200 w 3505200"/>
              <a:gd name="connsiteY179" fmla="*/ 1910080 h 8260080"/>
              <a:gd name="connsiteX180" fmla="*/ 3444240 w 3505200"/>
              <a:gd name="connsiteY180" fmla="*/ 1656080 h 8260080"/>
              <a:gd name="connsiteX181" fmla="*/ 3373120 w 3505200"/>
              <a:gd name="connsiteY181" fmla="*/ 1635760 h 8260080"/>
              <a:gd name="connsiteX182" fmla="*/ 3352800 w 3505200"/>
              <a:gd name="connsiteY182" fmla="*/ 1503680 h 8260080"/>
              <a:gd name="connsiteX183" fmla="*/ 3444240 w 3505200"/>
              <a:gd name="connsiteY183" fmla="*/ 1412240 h 8260080"/>
              <a:gd name="connsiteX184" fmla="*/ 3393440 w 3505200"/>
              <a:gd name="connsiteY184" fmla="*/ 1280160 h 8260080"/>
              <a:gd name="connsiteX185" fmla="*/ 3434080 w 3505200"/>
              <a:gd name="connsiteY185" fmla="*/ 1249680 h 8260080"/>
              <a:gd name="connsiteX186" fmla="*/ 3281680 w 3505200"/>
              <a:gd name="connsiteY186" fmla="*/ 1066800 h 8260080"/>
              <a:gd name="connsiteX187" fmla="*/ 3383280 w 3505200"/>
              <a:gd name="connsiteY187" fmla="*/ 975360 h 8260080"/>
              <a:gd name="connsiteX188" fmla="*/ 3302000 w 3505200"/>
              <a:gd name="connsiteY188" fmla="*/ 924560 h 8260080"/>
              <a:gd name="connsiteX189" fmla="*/ 3190240 w 3505200"/>
              <a:gd name="connsiteY189" fmla="*/ 944880 h 8260080"/>
              <a:gd name="connsiteX190" fmla="*/ 3281680 w 3505200"/>
              <a:gd name="connsiteY190" fmla="*/ 792480 h 8260080"/>
              <a:gd name="connsiteX191" fmla="*/ 3210560 w 3505200"/>
              <a:gd name="connsiteY191" fmla="*/ 650240 h 8260080"/>
              <a:gd name="connsiteX192" fmla="*/ 3302000 w 3505200"/>
              <a:gd name="connsiteY192" fmla="*/ 568960 h 8260080"/>
              <a:gd name="connsiteX193" fmla="*/ 3190240 w 3505200"/>
              <a:gd name="connsiteY193" fmla="*/ 487680 h 8260080"/>
              <a:gd name="connsiteX194" fmla="*/ 3108960 w 3505200"/>
              <a:gd name="connsiteY194" fmla="*/ 528320 h 8260080"/>
              <a:gd name="connsiteX195" fmla="*/ 3108960 w 3505200"/>
              <a:gd name="connsiteY195" fmla="*/ 406400 h 8260080"/>
              <a:gd name="connsiteX196" fmla="*/ 2926080 w 3505200"/>
              <a:gd name="connsiteY196" fmla="*/ 314960 h 8260080"/>
              <a:gd name="connsiteX197" fmla="*/ 2834640 w 3505200"/>
              <a:gd name="connsiteY197" fmla="*/ 355600 h 8260080"/>
              <a:gd name="connsiteX198" fmla="*/ 2682240 w 3505200"/>
              <a:gd name="connsiteY198" fmla="*/ 111760 h 8260080"/>
              <a:gd name="connsiteX199" fmla="*/ 2590800 w 3505200"/>
              <a:gd name="connsiteY199" fmla="*/ 121920 h 8260080"/>
              <a:gd name="connsiteX200" fmla="*/ 2611120 w 3505200"/>
              <a:gd name="connsiteY200" fmla="*/ 0 h 8260080"/>
              <a:gd name="connsiteX201" fmla="*/ 2438400 w 3505200"/>
              <a:gd name="connsiteY20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7242 w 3505200"/>
              <a:gd name="connsiteY78" fmla="*/ 7055296 h 8260080"/>
              <a:gd name="connsiteX79" fmla="*/ 21438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196129 w 3505200"/>
              <a:gd name="connsiteY78" fmla="*/ 7052121 h 8260080"/>
              <a:gd name="connsiteX79" fmla="*/ 21438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196129 w 3505200"/>
              <a:gd name="connsiteY78" fmla="*/ 7052121 h 8260080"/>
              <a:gd name="connsiteX79" fmla="*/ 20803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196129 w 3505200"/>
              <a:gd name="connsiteY78" fmla="*/ 7052121 h 8260080"/>
              <a:gd name="connsiteX79" fmla="*/ 20803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891 w 3505200"/>
              <a:gd name="connsiteY78" fmla="*/ 7066409 h 8260080"/>
              <a:gd name="connsiteX79" fmla="*/ 20803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891 w 3505200"/>
              <a:gd name="connsiteY78" fmla="*/ 7066409 h 8260080"/>
              <a:gd name="connsiteX79" fmla="*/ 20803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891 w 3505200"/>
              <a:gd name="connsiteY78" fmla="*/ 7066409 h 8260080"/>
              <a:gd name="connsiteX79" fmla="*/ 20803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891 w 3505200"/>
              <a:gd name="connsiteY78" fmla="*/ 7066409 h 8260080"/>
              <a:gd name="connsiteX79" fmla="*/ 208037 w 3505200"/>
              <a:gd name="connsiteY79" fmla="*/ 7014815 h 8260080"/>
              <a:gd name="connsiteX80" fmla="*/ 240581 w 3505200"/>
              <a:gd name="connsiteY80" fmla="*/ 6983859 h 8260080"/>
              <a:gd name="connsiteX81" fmla="*/ 262012 w 3505200"/>
              <a:gd name="connsiteY81" fmla="*/ 7020371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891 w 3505200"/>
              <a:gd name="connsiteY78" fmla="*/ 7066409 h 8260080"/>
              <a:gd name="connsiteX79" fmla="*/ 208037 w 3505200"/>
              <a:gd name="connsiteY79" fmla="*/ 7014815 h 8260080"/>
              <a:gd name="connsiteX80" fmla="*/ 240581 w 3505200"/>
              <a:gd name="connsiteY80" fmla="*/ 6950522 h 8260080"/>
              <a:gd name="connsiteX81" fmla="*/ 262012 w 3505200"/>
              <a:gd name="connsiteY81" fmla="*/ 7020371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194541 w 3505200"/>
              <a:gd name="connsiteY78" fmla="*/ 7034659 h 8260080"/>
              <a:gd name="connsiteX79" fmla="*/ 208037 w 3505200"/>
              <a:gd name="connsiteY79" fmla="*/ 7014815 h 8260080"/>
              <a:gd name="connsiteX80" fmla="*/ 240581 w 3505200"/>
              <a:gd name="connsiteY80" fmla="*/ 6950522 h 8260080"/>
              <a:gd name="connsiteX81" fmla="*/ 262012 w 3505200"/>
              <a:gd name="connsiteY81" fmla="*/ 7020371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188119 w 3505200"/>
              <a:gd name="connsiteY77" fmla="*/ 6996747 h 8260080"/>
              <a:gd name="connsiteX78" fmla="*/ 194541 w 3505200"/>
              <a:gd name="connsiteY78" fmla="*/ 7034659 h 8260080"/>
              <a:gd name="connsiteX79" fmla="*/ 208037 w 3505200"/>
              <a:gd name="connsiteY79" fmla="*/ 7014815 h 8260080"/>
              <a:gd name="connsiteX80" fmla="*/ 240581 w 3505200"/>
              <a:gd name="connsiteY80" fmla="*/ 6950522 h 8260080"/>
              <a:gd name="connsiteX81" fmla="*/ 262012 w 3505200"/>
              <a:gd name="connsiteY81" fmla="*/ 7020371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188119 w 3505200"/>
              <a:gd name="connsiteY77" fmla="*/ 7009447 h 8260080"/>
              <a:gd name="connsiteX78" fmla="*/ 194541 w 3505200"/>
              <a:gd name="connsiteY78" fmla="*/ 7034659 h 8260080"/>
              <a:gd name="connsiteX79" fmla="*/ 208037 w 3505200"/>
              <a:gd name="connsiteY79" fmla="*/ 7014815 h 8260080"/>
              <a:gd name="connsiteX80" fmla="*/ 240581 w 3505200"/>
              <a:gd name="connsiteY80" fmla="*/ 6950522 h 8260080"/>
              <a:gd name="connsiteX81" fmla="*/ 262012 w 3505200"/>
              <a:gd name="connsiteY81" fmla="*/ 7020371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188119 w 3505200"/>
              <a:gd name="connsiteY77" fmla="*/ 7009447 h 8260080"/>
              <a:gd name="connsiteX78" fmla="*/ 194541 w 3505200"/>
              <a:gd name="connsiteY78" fmla="*/ 7034659 h 8260080"/>
              <a:gd name="connsiteX79" fmla="*/ 219149 w 3505200"/>
              <a:gd name="connsiteY79" fmla="*/ 7000528 h 8260080"/>
              <a:gd name="connsiteX80" fmla="*/ 240581 w 3505200"/>
              <a:gd name="connsiteY80" fmla="*/ 6950522 h 8260080"/>
              <a:gd name="connsiteX81" fmla="*/ 262012 w 3505200"/>
              <a:gd name="connsiteY81" fmla="*/ 7020371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188119 w 3505200"/>
              <a:gd name="connsiteY77" fmla="*/ 7009447 h 8260080"/>
              <a:gd name="connsiteX78" fmla="*/ 194541 w 3505200"/>
              <a:gd name="connsiteY78" fmla="*/ 7034659 h 8260080"/>
              <a:gd name="connsiteX79" fmla="*/ 240581 w 3505200"/>
              <a:gd name="connsiteY79" fmla="*/ 6950522 h 8260080"/>
              <a:gd name="connsiteX80" fmla="*/ 262012 w 3505200"/>
              <a:gd name="connsiteY80" fmla="*/ 7020371 h 8260080"/>
              <a:gd name="connsiteX81" fmla="*/ 240582 w 3505200"/>
              <a:gd name="connsiteY81" fmla="*/ 7079109 h 8260080"/>
              <a:gd name="connsiteX82" fmla="*/ 280829 w 3505200"/>
              <a:gd name="connsiteY82" fmla="*/ 7148354 h 8260080"/>
              <a:gd name="connsiteX83" fmla="*/ 242962 w 3505200"/>
              <a:gd name="connsiteY83" fmla="*/ 7226746 h 8260080"/>
              <a:gd name="connsiteX84" fmla="*/ 282892 w 3505200"/>
              <a:gd name="connsiteY84" fmla="*/ 7300436 h 8260080"/>
              <a:gd name="connsiteX85" fmla="*/ 310833 w 3505200"/>
              <a:gd name="connsiteY85" fmla="*/ 7299484 h 8260080"/>
              <a:gd name="connsiteX86" fmla="*/ 319162 w 3505200"/>
              <a:gd name="connsiteY86" fmla="*/ 7310089 h 8260080"/>
              <a:gd name="connsiteX87" fmla="*/ 337026 w 3505200"/>
              <a:gd name="connsiteY87" fmla="*/ 7316154 h 8260080"/>
              <a:gd name="connsiteX88" fmla="*/ 370364 w 3505200"/>
              <a:gd name="connsiteY88" fmla="*/ 7360602 h 8260080"/>
              <a:gd name="connsiteX89" fmla="*/ 447040 w 3505200"/>
              <a:gd name="connsiteY89" fmla="*/ 7366000 h 8260080"/>
              <a:gd name="connsiteX90" fmla="*/ 447040 w 3505200"/>
              <a:gd name="connsiteY90" fmla="*/ 7477760 h 8260080"/>
              <a:gd name="connsiteX91" fmla="*/ 558800 w 3505200"/>
              <a:gd name="connsiteY91" fmla="*/ 7528560 h 8260080"/>
              <a:gd name="connsiteX92" fmla="*/ 508000 w 3505200"/>
              <a:gd name="connsiteY92" fmla="*/ 7630160 h 8260080"/>
              <a:gd name="connsiteX93" fmla="*/ 436880 w 3505200"/>
              <a:gd name="connsiteY93" fmla="*/ 7609840 h 8260080"/>
              <a:gd name="connsiteX94" fmla="*/ 447040 w 3505200"/>
              <a:gd name="connsiteY94" fmla="*/ 7691120 h 8260080"/>
              <a:gd name="connsiteX95" fmla="*/ 518160 w 3505200"/>
              <a:gd name="connsiteY95" fmla="*/ 7741920 h 8260080"/>
              <a:gd name="connsiteX96" fmla="*/ 457200 w 3505200"/>
              <a:gd name="connsiteY96" fmla="*/ 7792720 h 8260080"/>
              <a:gd name="connsiteX97" fmla="*/ 396240 w 3505200"/>
              <a:gd name="connsiteY97" fmla="*/ 7701280 h 8260080"/>
              <a:gd name="connsiteX98" fmla="*/ 396240 w 3505200"/>
              <a:gd name="connsiteY98" fmla="*/ 7701280 h 8260080"/>
              <a:gd name="connsiteX99" fmla="*/ 436880 w 3505200"/>
              <a:gd name="connsiteY99" fmla="*/ 7874000 h 8260080"/>
              <a:gd name="connsiteX100" fmla="*/ 436880 w 3505200"/>
              <a:gd name="connsiteY100" fmla="*/ 7924800 h 8260080"/>
              <a:gd name="connsiteX101" fmla="*/ 548640 w 3505200"/>
              <a:gd name="connsiteY101" fmla="*/ 7965440 h 8260080"/>
              <a:gd name="connsiteX102" fmla="*/ 508000 w 3505200"/>
              <a:gd name="connsiteY102" fmla="*/ 8016240 h 8260080"/>
              <a:gd name="connsiteX103" fmla="*/ 589280 w 3505200"/>
              <a:gd name="connsiteY103" fmla="*/ 8056880 h 8260080"/>
              <a:gd name="connsiteX104" fmla="*/ 497840 w 3505200"/>
              <a:gd name="connsiteY104" fmla="*/ 8117840 h 8260080"/>
              <a:gd name="connsiteX105" fmla="*/ 518160 w 3505200"/>
              <a:gd name="connsiteY105" fmla="*/ 8209280 h 8260080"/>
              <a:gd name="connsiteX106" fmla="*/ 640080 w 3505200"/>
              <a:gd name="connsiteY106" fmla="*/ 8260080 h 8260080"/>
              <a:gd name="connsiteX107" fmla="*/ 731520 w 3505200"/>
              <a:gd name="connsiteY107" fmla="*/ 8219440 h 8260080"/>
              <a:gd name="connsiteX108" fmla="*/ 853440 w 3505200"/>
              <a:gd name="connsiteY108" fmla="*/ 8209280 h 8260080"/>
              <a:gd name="connsiteX109" fmla="*/ 955040 w 3505200"/>
              <a:gd name="connsiteY109" fmla="*/ 8260080 h 8260080"/>
              <a:gd name="connsiteX110" fmla="*/ 965200 w 3505200"/>
              <a:gd name="connsiteY110" fmla="*/ 8107680 h 8260080"/>
              <a:gd name="connsiteX111" fmla="*/ 894080 w 3505200"/>
              <a:gd name="connsiteY111" fmla="*/ 8026400 h 8260080"/>
              <a:gd name="connsiteX112" fmla="*/ 1016000 w 3505200"/>
              <a:gd name="connsiteY112" fmla="*/ 7863840 h 8260080"/>
              <a:gd name="connsiteX113" fmla="*/ 1107440 w 3505200"/>
              <a:gd name="connsiteY113" fmla="*/ 7894320 h 8260080"/>
              <a:gd name="connsiteX114" fmla="*/ 1127760 w 3505200"/>
              <a:gd name="connsiteY114" fmla="*/ 7853680 h 8260080"/>
              <a:gd name="connsiteX115" fmla="*/ 1066800 w 3505200"/>
              <a:gd name="connsiteY115" fmla="*/ 7813040 h 8260080"/>
              <a:gd name="connsiteX116" fmla="*/ 1137920 w 3505200"/>
              <a:gd name="connsiteY116" fmla="*/ 7762240 h 8260080"/>
              <a:gd name="connsiteX117" fmla="*/ 1330960 w 3505200"/>
              <a:gd name="connsiteY117" fmla="*/ 7802880 h 8260080"/>
              <a:gd name="connsiteX118" fmla="*/ 1361440 w 3505200"/>
              <a:gd name="connsiteY118" fmla="*/ 7772400 h 8260080"/>
              <a:gd name="connsiteX119" fmla="*/ 1483360 w 3505200"/>
              <a:gd name="connsiteY119" fmla="*/ 7823200 h 8260080"/>
              <a:gd name="connsiteX120" fmla="*/ 1554480 w 3505200"/>
              <a:gd name="connsiteY120" fmla="*/ 7731760 h 8260080"/>
              <a:gd name="connsiteX121" fmla="*/ 1524000 w 3505200"/>
              <a:gd name="connsiteY121" fmla="*/ 7640320 h 8260080"/>
              <a:gd name="connsiteX122" fmla="*/ 1645920 w 3505200"/>
              <a:gd name="connsiteY122" fmla="*/ 7437120 h 8260080"/>
              <a:gd name="connsiteX123" fmla="*/ 1635760 w 3505200"/>
              <a:gd name="connsiteY123" fmla="*/ 7335520 h 8260080"/>
              <a:gd name="connsiteX124" fmla="*/ 1696720 w 3505200"/>
              <a:gd name="connsiteY124" fmla="*/ 7223760 h 8260080"/>
              <a:gd name="connsiteX125" fmla="*/ 1625600 w 3505200"/>
              <a:gd name="connsiteY125" fmla="*/ 7172960 h 8260080"/>
              <a:gd name="connsiteX126" fmla="*/ 1747520 w 3505200"/>
              <a:gd name="connsiteY126" fmla="*/ 6990080 h 8260080"/>
              <a:gd name="connsiteX127" fmla="*/ 1666240 w 3505200"/>
              <a:gd name="connsiteY127" fmla="*/ 6939280 h 8260080"/>
              <a:gd name="connsiteX128" fmla="*/ 1737360 w 3505200"/>
              <a:gd name="connsiteY128" fmla="*/ 6888480 h 8260080"/>
              <a:gd name="connsiteX129" fmla="*/ 1645920 w 3505200"/>
              <a:gd name="connsiteY129" fmla="*/ 6776720 h 8260080"/>
              <a:gd name="connsiteX130" fmla="*/ 1808480 w 3505200"/>
              <a:gd name="connsiteY130" fmla="*/ 6715760 h 8260080"/>
              <a:gd name="connsiteX131" fmla="*/ 1727200 w 3505200"/>
              <a:gd name="connsiteY131" fmla="*/ 6614160 h 8260080"/>
              <a:gd name="connsiteX132" fmla="*/ 1686560 w 3505200"/>
              <a:gd name="connsiteY132" fmla="*/ 6421120 h 8260080"/>
              <a:gd name="connsiteX133" fmla="*/ 1889760 w 3505200"/>
              <a:gd name="connsiteY133" fmla="*/ 6299200 h 8260080"/>
              <a:gd name="connsiteX134" fmla="*/ 1940560 w 3505200"/>
              <a:gd name="connsiteY134" fmla="*/ 6228080 h 8260080"/>
              <a:gd name="connsiteX135" fmla="*/ 2032000 w 3505200"/>
              <a:gd name="connsiteY135" fmla="*/ 6136640 h 8260080"/>
              <a:gd name="connsiteX136" fmla="*/ 2011680 w 3505200"/>
              <a:gd name="connsiteY136" fmla="*/ 6014720 h 8260080"/>
              <a:gd name="connsiteX137" fmla="*/ 2123440 w 3505200"/>
              <a:gd name="connsiteY137" fmla="*/ 6065520 h 8260080"/>
              <a:gd name="connsiteX138" fmla="*/ 2092960 w 3505200"/>
              <a:gd name="connsiteY138" fmla="*/ 6167120 h 8260080"/>
              <a:gd name="connsiteX139" fmla="*/ 2286000 w 3505200"/>
              <a:gd name="connsiteY139" fmla="*/ 5933440 h 8260080"/>
              <a:gd name="connsiteX140" fmla="*/ 2255520 w 3505200"/>
              <a:gd name="connsiteY140" fmla="*/ 5801360 h 8260080"/>
              <a:gd name="connsiteX141" fmla="*/ 2448560 w 3505200"/>
              <a:gd name="connsiteY141" fmla="*/ 5598160 h 8260080"/>
              <a:gd name="connsiteX142" fmla="*/ 2357120 w 3505200"/>
              <a:gd name="connsiteY142" fmla="*/ 5435600 h 8260080"/>
              <a:gd name="connsiteX143" fmla="*/ 2225040 w 3505200"/>
              <a:gd name="connsiteY143" fmla="*/ 5415280 h 8260080"/>
              <a:gd name="connsiteX144" fmla="*/ 2103120 w 3505200"/>
              <a:gd name="connsiteY144" fmla="*/ 5222240 h 8260080"/>
              <a:gd name="connsiteX145" fmla="*/ 2092960 w 3505200"/>
              <a:gd name="connsiteY145" fmla="*/ 5110480 h 8260080"/>
              <a:gd name="connsiteX146" fmla="*/ 2052320 w 3505200"/>
              <a:gd name="connsiteY146" fmla="*/ 5151120 h 8260080"/>
              <a:gd name="connsiteX147" fmla="*/ 2042160 w 3505200"/>
              <a:gd name="connsiteY147" fmla="*/ 5242560 h 8260080"/>
              <a:gd name="connsiteX148" fmla="*/ 1981200 w 3505200"/>
              <a:gd name="connsiteY148" fmla="*/ 5191760 h 8260080"/>
              <a:gd name="connsiteX149" fmla="*/ 2011680 w 3505200"/>
              <a:gd name="connsiteY149" fmla="*/ 5120640 h 8260080"/>
              <a:gd name="connsiteX150" fmla="*/ 1930400 w 3505200"/>
              <a:gd name="connsiteY150" fmla="*/ 5100320 h 8260080"/>
              <a:gd name="connsiteX151" fmla="*/ 1859280 w 3505200"/>
              <a:gd name="connsiteY151" fmla="*/ 4917440 h 8260080"/>
              <a:gd name="connsiteX152" fmla="*/ 1828800 w 3505200"/>
              <a:gd name="connsiteY152" fmla="*/ 4622800 h 8260080"/>
              <a:gd name="connsiteX153" fmla="*/ 1910080 w 3505200"/>
              <a:gd name="connsiteY153" fmla="*/ 4419600 h 8260080"/>
              <a:gd name="connsiteX154" fmla="*/ 1920240 w 3505200"/>
              <a:gd name="connsiteY154" fmla="*/ 4277360 h 8260080"/>
              <a:gd name="connsiteX155" fmla="*/ 1971040 w 3505200"/>
              <a:gd name="connsiteY155" fmla="*/ 4124960 h 8260080"/>
              <a:gd name="connsiteX156" fmla="*/ 1879600 w 3505200"/>
              <a:gd name="connsiteY156" fmla="*/ 4023360 h 8260080"/>
              <a:gd name="connsiteX157" fmla="*/ 2072640 w 3505200"/>
              <a:gd name="connsiteY157" fmla="*/ 4003040 h 8260080"/>
              <a:gd name="connsiteX158" fmla="*/ 2092960 w 3505200"/>
              <a:gd name="connsiteY158" fmla="*/ 3850640 h 8260080"/>
              <a:gd name="connsiteX159" fmla="*/ 2001520 w 3505200"/>
              <a:gd name="connsiteY159" fmla="*/ 3728720 h 8260080"/>
              <a:gd name="connsiteX160" fmla="*/ 2164080 w 3505200"/>
              <a:gd name="connsiteY160" fmla="*/ 3769360 h 8260080"/>
              <a:gd name="connsiteX161" fmla="*/ 2265680 w 3505200"/>
              <a:gd name="connsiteY161" fmla="*/ 3566160 h 8260080"/>
              <a:gd name="connsiteX162" fmla="*/ 2336800 w 3505200"/>
              <a:gd name="connsiteY162" fmla="*/ 3515360 h 8260080"/>
              <a:gd name="connsiteX163" fmla="*/ 2367280 w 3505200"/>
              <a:gd name="connsiteY163" fmla="*/ 3362960 h 8260080"/>
              <a:gd name="connsiteX164" fmla="*/ 2489200 w 3505200"/>
              <a:gd name="connsiteY164" fmla="*/ 3423920 h 8260080"/>
              <a:gd name="connsiteX165" fmla="*/ 2560320 w 3505200"/>
              <a:gd name="connsiteY165" fmla="*/ 3302000 h 8260080"/>
              <a:gd name="connsiteX166" fmla="*/ 2743200 w 3505200"/>
              <a:gd name="connsiteY166" fmla="*/ 3149600 h 8260080"/>
              <a:gd name="connsiteX167" fmla="*/ 2844800 w 3505200"/>
              <a:gd name="connsiteY167" fmla="*/ 3088640 h 8260080"/>
              <a:gd name="connsiteX168" fmla="*/ 2804160 w 3505200"/>
              <a:gd name="connsiteY168" fmla="*/ 2966720 h 8260080"/>
              <a:gd name="connsiteX169" fmla="*/ 2976880 w 3505200"/>
              <a:gd name="connsiteY169" fmla="*/ 2763520 h 8260080"/>
              <a:gd name="connsiteX170" fmla="*/ 2794000 w 3505200"/>
              <a:gd name="connsiteY170" fmla="*/ 2621280 h 8260080"/>
              <a:gd name="connsiteX171" fmla="*/ 2946400 w 3505200"/>
              <a:gd name="connsiteY171" fmla="*/ 2377440 h 8260080"/>
              <a:gd name="connsiteX172" fmla="*/ 2854960 w 3505200"/>
              <a:gd name="connsiteY172" fmla="*/ 2255520 h 8260080"/>
              <a:gd name="connsiteX173" fmla="*/ 3027680 w 3505200"/>
              <a:gd name="connsiteY173" fmla="*/ 2113280 h 8260080"/>
              <a:gd name="connsiteX174" fmla="*/ 3119120 w 3505200"/>
              <a:gd name="connsiteY174" fmla="*/ 2021840 h 8260080"/>
              <a:gd name="connsiteX175" fmla="*/ 3027680 w 3505200"/>
              <a:gd name="connsiteY175" fmla="*/ 1960880 h 8260080"/>
              <a:gd name="connsiteX176" fmla="*/ 3139440 w 3505200"/>
              <a:gd name="connsiteY176" fmla="*/ 1869440 h 8260080"/>
              <a:gd name="connsiteX177" fmla="*/ 3281680 w 3505200"/>
              <a:gd name="connsiteY177" fmla="*/ 1950720 h 8260080"/>
              <a:gd name="connsiteX178" fmla="*/ 3403600 w 3505200"/>
              <a:gd name="connsiteY178" fmla="*/ 1889760 h 8260080"/>
              <a:gd name="connsiteX179" fmla="*/ 3505200 w 3505200"/>
              <a:gd name="connsiteY179" fmla="*/ 1910080 h 8260080"/>
              <a:gd name="connsiteX180" fmla="*/ 3444240 w 3505200"/>
              <a:gd name="connsiteY180" fmla="*/ 1656080 h 8260080"/>
              <a:gd name="connsiteX181" fmla="*/ 3373120 w 3505200"/>
              <a:gd name="connsiteY181" fmla="*/ 1635760 h 8260080"/>
              <a:gd name="connsiteX182" fmla="*/ 3352800 w 3505200"/>
              <a:gd name="connsiteY182" fmla="*/ 1503680 h 8260080"/>
              <a:gd name="connsiteX183" fmla="*/ 3444240 w 3505200"/>
              <a:gd name="connsiteY183" fmla="*/ 1412240 h 8260080"/>
              <a:gd name="connsiteX184" fmla="*/ 3393440 w 3505200"/>
              <a:gd name="connsiteY184" fmla="*/ 1280160 h 8260080"/>
              <a:gd name="connsiteX185" fmla="*/ 3434080 w 3505200"/>
              <a:gd name="connsiteY185" fmla="*/ 1249680 h 8260080"/>
              <a:gd name="connsiteX186" fmla="*/ 3281680 w 3505200"/>
              <a:gd name="connsiteY186" fmla="*/ 1066800 h 8260080"/>
              <a:gd name="connsiteX187" fmla="*/ 3383280 w 3505200"/>
              <a:gd name="connsiteY187" fmla="*/ 975360 h 8260080"/>
              <a:gd name="connsiteX188" fmla="*/ 3302000 w 3505200"/>
              <a:gd name="connsiteY188" fmla="*/ 924560 h 8260080"/>
              <a:gd name="connsiteX189" fmla="*/ 3190240 w 3505200"/>
              <a:gd name="connsiteY189" fmla="*/ 944880 h 8260080"/>
              <a:gd name="connsiteX190" fmla="*/ 3281680 w 3505200"/>
              <a:gd name="connsiteY190" fmla="*/ 792480 h 8260080"/>
              <a:gd name="connsiteX191" fmla="*/ 3210560 w 3505200"/>
              <a:gd name="connsiteY191" fmla="*/ 650240 h 8260080"/>
              <a:gd name="connsiteX192" fmla="*/ 3302000 w 3505200"/>
              <a:gd name="connsiteY192" fmla="*/ 568960 h 8260080"/>
              <a:gd name="connsiteX193" fmla="*/ 3190240 w 3505200"/>
              <a:gd name="connsiteY193" fmla="*/ 487680 h 8260080"/>
              <a:gd name="connsiteX194" fmla="*/ 3108960 w 3505200"/>
              <a:gd name="connsiteY194" fmla="*/ 528320 h 8260080"/>
              <a:gd name="connsiteX195" fmla="*/ 3108960 w 3505200"/>
              <a:gd name="connsiteY195" fmla="*/ 406400 h 8260080"/>
              <a:gd name="connsiteX196" fmla="*/ 2926080 w 3505200"/>
              <a:gd name="connsiteY196" fmla="*/ 314960 h 8260080"/>
              <a:gd name="connsiteX197" fmla="*/ 2834640 w 3505200"/>
              <a:gd name="connsiteY197" fmla="*/ 355600 h 8260080"/>
              <a:gd name="connsiteX198" fmla="*/ 2682240 w 3505200"/>
              <a:gd name="connsiteY198" fmla="*/ 111760 h 8260080"/>
              <a:gd name="connsiteX199" fmla="*/ 2590800 w 3505200"/>
              <a:gd name="connsiteY199" fmla="*/ 121920 h 8260080"/>
              <a:gd name="connsiteX200" fmla="*/ 2611120 w 3505200"/>
              <a:gd name="connsiteY200" fmla="*/ 0 h 8260080"/>
              <a:gd name="connsiteX201" fmla="*/ 2438400 w 3505200"/>
              <a:gd name="connsiteY20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188119 w 3505200"/>
              <a:gd name="connsiteY77" fmla="*/ 7009447 h 8260080"/>
              <a:gd name="connsiteX78" fmla="*/ 240581 w 3505200"/>
              <a:gd name="connsiteY78" fmla="*/ 6950522 h 8260080"/>
              <a:gd name="connsiteX79" fmla="*/ 262012 w 3505200"/>
              <a:gd name="connsiteY79" fmla="*/ 7020371 h 8260080"/>
              <a:gd name="connsiteX80" fmla="*/ 240582 w 3505200"/>
              <a:gd name="connsiteY80" fmla="*/ 7079109 h 8260080"/>
              <a:gd name="connsiteX81" fmla="*/ 280829 w 3505200"/>
              <a:gd name="connsiteY81" fmla="*/ 7148354 h 8260080"/>
              <a:gd name="connsiteX82" fmla="*/ 242962 w 3505200"/>
              <a:gd name="connsiteY82" fmla="*/ 7226746 h 8260080"/>
              <a:gd name="connsiteX83" fmla="*/ 282892 w 3505200"/>
              <a:gd name="connsiteY83" fmla="*/ 7300436 h 8260080"/>
              <a:gd name="connsiteX84" fmla="*/ 310833 w 3505200"/>
              <a:gd name="connsiteY84" fmla="*/ 7299484 h 8260080"/>
              <a:gd name="connsiteX85" fmla="*/ 319162 w 3505200"/>
              <a:gd name="connsiteY85" fmla="*/ 7310089 h 8260080"/>
              <a:gd name="connsiteX86" fmla="*/ 337026 w 3505200"/>
              <a:gd name="connsiteY86" fmla="*/ 7316154 h 8260080"/>
              <a:gd name="connsiteX87" fmla="*/ 370364 w 3505200"/>
              <a:gd name="connsiteY87" fmla="*/ 7360602 h 8260080"/>
              <a:gd name="connsiteX88" fmla="*/ 447040 w 3505200"/>
              <a:gd name="connsiteY88" fmla="*/ 7366000 h 8260080"/>
              <a:gd name="connsiteX89" fmla="*/ 447040 w 3505200"/>
              <a:gd name="connsiteY89" fmla="*/ 7477760 h 8260080"/>
              <a:gd name="connsiteX90" fmla="*/ 558800 w 3505200"/>
              <a:gd name="connsiteY90" fmla="*/ 7528560 h 8260080"/>
              <a:gd name="connsiteX91" fmla="*/ 508000 w 3505200"/>
              <a:gd name="connsiteY91" fmla="*/ 7630160 h 8260080"/>
              <a:gd name="connsiteX92" fmla="*/ 436880 w 3505200"/>
              <a:gd name="connsiteY92" fmla="*/ 7609840 h 8260080"/>
              <a:gd name="connsiteX93" fmla="*/ 447040 w 3505200"/>
              <a:gd name="connsiteY93" fmla="*/ 7691120 h 8260080"/>
              <a:gd name="connsiteX94" fmla="*/ 518160 w 3505200"/>
              <a:gd name="connsiteY94" fmla="*/ 7741920 h 8260080"/>
              <a:gd name="connsiteX95" fmla="*/ 457200 w 3505200"/>
              <a:gd name="connsiteY95" fmla="*/ 7792720 h 8260080"/>
              <a:gd name="connsiteX96" fmla="*/ 396240 w 3505200"/>
              <a:gd name="connsiteY96" fmla="*/ 7701280 h 8260080"/>
              <a:gd name="connsiteX97" fmla="*/ 396240 w 3505200"/>
              <a:gd name="connsiteY97" fmla="*/ 7701280 h 8260080"/>
              <a:gd name="connsiteX98" fmla="*/ 436880 w 3505200"/>
              <a:gd name="connsiteY98" fmla="*/ 7874000 h 8260080"/>
              <a:gd name="connsiteX99" fmla="*/ 436880 w 3505200"/>
              <a:gd name="connsiteY99" fmla="*/ 7924800 h 8260080"/>
              <a:gd name="connsiteX100" fmla="*/ 548640 w 3505200"/>
              <a:gd name="connsiteY100" fmla="*/ 7965440 h 8260080"/>
              <a:gd name="connsiteX101" fmla="*/ 508000 w 3505200"/>
              <a:gd name="connsiteY101" fmla="*/ 8016240 h 8260080"/>
              <a:gd name="connsiteX102" fmla="*/ 589280 w 3505200"/>
              <a:gd name="connsiteY102" fmla="*/ 8056880 h 8260080"/>
              <a:gd name="connsiteX103" fmla="*/ 497840 w 3505200"/>
              <a:gd name="connsiteY103" fmla="*/ 8117840 h 8260080"/>
              <a:gd name="connsiteX104" fmla="*/ 518160 w 3505200"/>
              <a:gd name="connsiteY104" fmla="*/ 8209280 h 8260080"/>
              <a:gd name="connsiteX105" fmla="*/ 640080 w 3505200"/>
              <a:gd name="connsiteY105" fmla="*/ 8260080 h 8260080"/>
              <a:gd name="connsiteX106" fmla="*/ 731520 w 3505200"/>
              <a:gd name="connsiteY106" fmla="*/ 8219440 h 8260080"/>
              <a:gd name="connsiteX107" fmla="*/ 853440 w 3505200"/>
              <a:gd name="connsiteY107" fmla="*/ 8209280 h 8260080"/>
              <a:gd name="connsiteX108" fmla="*/ 955040 w 3505200"/>
              <a:gd name="connsiteY108" fmla="*/ 8260080 h 8260080"/>
              <a:gd name="connsiteX109" fmla="*/ 965200 w 3505200"/>
              <a:gd name="connsiteY109" fmla="*/ 8107680 h 8260080"/>
              <a:gd name="connsiteX110" fmla="*/ 894080 w 3505200"/>
              <a:gd name="connsiteY110" fmla="*/ 8026400 h 8260080"/>
              <a:gd name="connsiteX111" fmla="*/ 1016000 w 3505200"/>
              <a:gd name="connsiteY111" fmla="*/ 7863840 h 8260080"/>
              <a:gd name="connsiteX112" fmla="*/ 1107440 w 3505200"/>
              <a:gd name="connsiteY112" fmla="*/ 7894320 h 8260080"/>
              <a:gd name="connsiteX113" fmla="*/ 1127760 w 3505200"/>
              <a:gd name="connsiteY113" fmla="*/ 7853680 h 8260080"/>
              <a:gd name="connsiteX114" fmla="*/ 1066800 w 3505200"/>
              <a:gd name="connsiteY114" fmla="*/ 7813040 h 8260080"/>
              <a:gd name="connsiteX115" fmla="*/ 1137920 w 3505200"/>
              <a:gd name="connsiteY115" fmla="*/ 7762240 h 8260080"/>
              <a:gd name="connsiteX116" fmla="*/ 1330960 w 3505200"/>
              <a:gd name="connsiteY116" fmla="*/ 7802880 h 8260080"/>
              <a:gd name="connsiteX117" fmla="*/ 1361440 w 3505200"/>
              <a:gd name="connsiteY117" fmla="*/ 7772400 h 8260080"/>
              <a:gd name="connsiteX118" fmla="*/ 1483360 w 3505200"/>
              <a:gd name="connsiteY118" fmla="*/ 7823200 h 8260080"/>
              <a:gd name="connsiteX119" fmla="*/ 1554480 w 3505200"/>
              <a:gd name="connsiteY119" fmla="*/ 7731760 h 8260080"/>
              <a:gd name="connsiteX120" fmla="*/ 1524000 w 3505200"/>
              <a:gd name="connsiteY120" fmla="*/ 7640320 h 8260080"/>
              <a:gd name="connsiteX121" fmla="*/ 1645920 w 3505200"/>
              <a:gd name="connsiteY121" fmla="*/ 7437120 h 8260080"/>
              <a:gd name="connsiteX122" fmla="*/ 1635760 w 3505200"/>
              <a:gd name="connsiteY122" fmla="*/ 7335520 h 8260080"/>
              <a:gd name="connsiteX123" fmla="*/ 1696720 w 3505200"/>
              <a:gd name="connsiteY123" fmla="*/ 7223760 h 8260080"/>
              <a:gd name="connsiteX124" fmla="*/ 1625600 w 3505200"/>
              <a:gd name="connsiteY124" fmla="*/ 7172960 h 8260080"/>
              <a:gd name="connsiteX125" fmla="*/ 1747520 w 3505200"/>
              <a:gd name="connsiteY125" fmla="*/ 6990080 h 8260080"/>
              <a:gd name="connsiteX126" fmla="*/ 1666240 w 3505200"/>
              <a:gd name="connsiteY126" fmla="*/ 6939280 h 8260080"/>
              <a:gd name="connsiteX127" fmla="*/ 1737360 w 3505200"/>
              <a:gd name="connsiteY127" fmla="*/ 6888480 h 8260080"/>
              <a:gd name="connsiteX128" fmla="*/ 1645920 w 3505200"/>
              <a:gd name="connsiteY128" fmla="*/ 6776720 h 8260080"/>
              <a:gd name="connsiteX129" fmla="*/ 1808480 w 3505200"/>
              <a:gd name="connsiteY129" fmla="*/ 6715760 h 8260080"/>
              <a:gd name="connsiteX130" fmla="*/ 1727200 w 3505200"/>
              <a:gd name="connsiteY130" fmla="*/ 6614160 h 8260080"/>
              <a:gd name="connsiteX131" fmla="*/ 1686560 w 3505200"/>
              <a:gd name="connsiteY131" fmla="*/ 6421120 h 8260080"/>
              <a:gd name="connsiteX132" fmla="*/ 1889760 w 3505200"/>
              <a:gd name="connsiteY132" fmla="*/ 6299200 h 8260080"/>
              <a:gd name="connsiteX133" fmla="*/ 1940560 w 3505200"/>
              <a:gd name="connsiteY133" fmla="*/ 6228080 h 8260080"/>
              <a:gd name="connsiteX134" fmla="*/ 2032000 w 3505200"/>
              <a:gd name="connsiteY134" fmla="*/ 6136640 h 8260080"/>
              <a:gd name="connsiteX135" fmla="*/ 2011680 w 3505200"/>
              <a:gd name="connsiteY135" fmla="*/ 6014720 h 8260080"/>
              <a:gd name="connsiteX136" fmla="*/ 2123440 w 3505200"/>
              <a:gd name="connsiteY136" fmla="*/ 6065520 h 8260080"/>
              <a:gd name="connsiteX137" fmla="*/ 2092960 w 3505200"/>
              <a:gd name="connsiteY137" fmla="*/ 6167120 h 8260080"/>
              <a:gd name="connsiteX138" fmla="*/ 2286000 w 3505200"/>
              <a:gd name="connsiteY138" fmla="*/ 5933440 h 8260080"/>
              <a:gd name="connsiteX139" fmla="*/ 2255520 w 3505200"/>
              <a:gd name="connsiteY139" fmla="*/ 5801360 h 8260080"/>
              <a:gd name="connsiteX140" fmla="*/ 2448560 w 3505200"/>
              <a:gd name="connsiteY140" fmla="*/ 5598160 h 8260080"/>
              <a:gd name="connsiteX141" fmla="*/ 2357120 w 3505200"/>
              <a:gd name="connsiteY141" fmla="*/ 5435600 h 8260080"/>
              <a:gd name="connsiteX142" fmla="*/ 2225040 w 3505200"/>
              <a:gd name="connsiteY142" fmla="*/ 5415280 h 8260080"/>
              <a:gd name="connsiteX143" fmla="*/ 2103120 w 3505200"/>
              <a:gd name="connsiteY143" fmla="*/ 5222240 h 8260080"/>
              <a:gd name="connsiteX144" fmla="*/ 2092960 w 3505200"/>
              <a:gd name="connsiteY144" fmla="*/ 5110480 h 8260080"/>
              <a:gd name="connsiteX145" fmla="*/ 2052320 w 3505200"/>
              <a:gd name="connsiteY145" fmla="*/ 5151120 h 8260080"/>
              <a:gd name="connsiteX146" fmla="*/ 2042160 w 3505200"/>
              <a:gd name="connsiteY146" fmla="*/ 5242560 h 8260080"/>
              <a:gd name="connsiteX147" fmla="*/ 1981200 w 3505200"/>
              <a:gd name="connsiteY147" fmla="*/ 5191760 h 8260080"/>
              <a:gd name="connsiteX148" fmla="*/ 2011680 w 3505200"/>
              <a:gd name="connsiteY148" fmla="*/ 5120640 h 8260080"/>
              <a:gd name="connsiteX149" fmla="*/ 1930400 w 3505200"/>
              <a:gd name="connsiteY149" fmla="*/ 5100320 h 8260080"/>
              <a:gd name="connsiteX150" fmla="*/ 1859280 w 3505200"/>
              <a:gd name="connsiteY150" fmla="*/ 4917440 h 8260080"/>
              <a:gd name="connsiteX151" fmla="*/ 1828800 w 3505200"/>
              <a:gd name="connsiteY151" fmla="*/ 4622800 h 8260080"/>
              <a:gd name="connsiteX152" fmla="*/ 1910080 w 3505200"/>
              <a:gd name="connsiteY152" fmla="*/ 4419600 h 8260080"/>
              <a:gd name="connsiteX153" fmla="*/ 1920240 w 3505200"/>
              <a:gd name="connsiteY153" fmla="*/ 4277360 h 8260080"/>
              <a:gd name="connsiteX154" fmla="*/ 1971040 w 3505200"/>
              <a:gd name="connsiteY154" fmla="*/ 4124960 h 8260080"/>
              <a:gd name="connsiteX155" fmla="*/ 1879600 w 3505200"/>
              <a:gd name="connsiteY155" fmla="*/ 4023360 h 8260080"/>
              <a:gd name="connsiteX156" fmla="*/ 2072640 w 3505200"/>
              <a:gd name="connsiteY156" fmla="*/ 4003040 h 8260080"/>
              <a:gd name="connsiteX157" fmla="*/ 2092960 w 3505200"/>
              <a:gd name="connsiteY157" fmla="*/ 3850640 h 8260080"/>
              <a:gd name="connsiteX158" fmla="*/ 2001520 w 3505200"/>
              <a:gd name="connsiteY158" fmla="*/ 3728720 h 8260080"/>
              <a:gd name="connsiteX159" fmla="*/ 2164080 w 3505200"/>
              <a:gd name="connsiteY159" fmla="*/ 3769360 h 8260080"/>
              <a:gd name="connsiteX160" fmla="*/ 2265680 w 3505200"/>
              <a:gd name="connsiteY160" fmla="*/ 3566160 h 8260080"/>
              <a:gd name="connsiteX161" fmla="*/ 2336800 w 3505200"/>
              <a:gd name="connsiteY161" fmla="*/ 3515360 h 8260080"/>
              <a:gd name="connsiteX162" fmla="*/ 2367280 w 3505200"/>
              <a:gd name="connsiteY162" fmla="*/ 3362960 h 8260080"/>
              <a:gd name="connsiteX163" fmla="*/ 2489200 w 3505200"/>
              <a:gd name="connsiteY163" fmla="*/ 3423920 h 8260080"/>
              <a:gd name="connsiteX164" fmla="*/ 2560320 w 3505200"/>
              <a:gd name="connsiteY164" fmla="*/ 3302000 h 8260080"/>
              <a:gd name="connsiteX165" fmla="*/ 2743200 w 3505200"/>
              <a:gd name="connsiteY165" fmla="*/ 3149600 h 8260080"/>
              <a:gd name="connsiteX166" fmla="*/ 2844800 w 3505200"/>
              <a:gd name="connsiteY166" fmla="*/ 3088640 h 8260080"/>
              <a:gd name="connsiteX167" fmla="*/ 2804160 w 3505200"/>
              <a:gd name="connsiteY167" fmla="*/ 2966720 h 8260080"/>
              <a:gd name="connsiteX168" fmla="*/ 2976880 w 3505200"/>
              <a:gd name="connsiteY168" fmla="*/ 2763520 h 8260080"/>
              <a:gd name="connsiteX169" fmla="*/ 2794000 w 3505200"/>
              <a:gd name="connsiteY169" fmla="*/ 2621280 h 8260080"/>
              <a:gd name="connsiteX170" fmla="*/ 2946400 w 3505200"/>
              <a:gd name="connsiteY170" fmla="*/ 2377440 h 8260080"/>
              <a:gd name="connsiteX171" fmla="*/ 2854960 w 3505200"/>
              <a:gd name="connsiteY171" fmla="*/ 2255520 h 8260080"/>
              <a:gd name="connsiteX172" fmla="*/ 3027680 w 3505200"/>
              <a:gd name="connsiteY172" fmla="*/ 2113280 h 8260080"/>
              <a:gd name="connsiteX173" fmla="*/ 3119120 w 3505200"/>
              <a:gd name="connsiteY173" fmla="*/ 2021840 h 8260080"/>
              <a:gd name="connsiteX174" fmla="*/ 3027680 w 3505200"/>
              <a:gd name="connsiteY174" fmla="*/ 1960880 h 8260080"/>
              <a:gd name="connsiteX175" fmla="*/ 3139440 w 3505200"/>
              <a:gd name="connsiteY175" fmla="*/ 1869440 h 8260080"/>
              <a:gd name="connsiteX176" fmla="*/ 3281680 w 3505200"/>
              <a:gd name="connsiteY176" fmla="*/ 1950720 h 8260080"/>
              <a:gd name="connsiteX177" fmla="*/ 3403600 w 3505200"/>
              <a:gd name="connsiteY177" fmla="*/ 1889760 h 8260080"/>
              <a:gd name="connsiteX178" fmla="*/ 3505200 w 3505200"/>
              <a:gd name="connsiteY178" fmla="*/ 1910080 h 8260080"/>
              <a:gd name="connsiteX179" fmla="*/ 3444240 w 3505200"/>
              <a:gd name="connsiteY179" fmla="*/ 1656080 h 8260080"/>
              <a:gd name="connsiteX180" fmla="*/ 3373120 w 3505200"/>
              <a:gd name="connsiteY180" fmla="*/ 1635760 h 8260080"/>
              <a:gd name="connsiteX181" fmla="*/ 3352800 w 3505200"/>
              <a:gd name="connsiteY181" fmla="*/ 1503680 h 8260080"/>
              <a:gd name="connsiteX182" fmla="*/ 3444240 w 3505200"/>
              <a:gd name="connsiteY182" fmla="*/ 1412240 h 8260080"/>
              <a:gd name="connsiteX183" fmla="*/ 3393440 w 3505200"/>
              <a:gd name="connsiteY183" fmla="*/ 1280160 h 8260080"/>
              <a:gd name="connsiteX184" fmla="*/ 3434080 w 3505200"/>
              <a:gd name="connsiteY184" fmla="*/ 1249680 h 8260080"/>
              <a:gd name="connsiteX185" fmla="*/ 3281680 w 3505200"/>
              <a:gd name="connsiteY185" fmla="*/ 1066800 h 8260080"/>
              <a:gd name="connsiteX186" fmla="*/ 3383280 w 3505200"/>
              <a:gd name="connsiteY186" fmla="*/ 975360 h 8260080"/>
              <a:gd name="connsiteX187" fmla="*/ 3302000 w 3505200"/>
              <a:gd name="connsiteY187" fmla="*/ 924560 h 8260080"/>
              <a:gd name="connsiteX188" fmla="*/ 3190240 w 3505200"/>
              <a:gd name="connsiteY188" fmla="*/ 944880 h 8260080"/>
              <a:gd name="connsiteX189" fmla="*/ 3281680 w 3505200"/>
              <a:gd name="connsiteY189" fmla="*/ 792480 h 8260080"/>
              <a:gd name="connsiteX190" fmla="*/ 3210560 w 3505200"/>
              <a:gd name="connsiteY190" fmla="*/ 650240 h 8260080"/>
              <a:gd name="connsiteX191" fmla="*/ 3302000 w 3505200"/>
              <a:gd name="connsiteY191" fmla="*/ 568960 h 8260080"/>
              <a:gd name="connsiteX192" fmla="*/ 3190240 w 3505200"/>
              <a:gd name="connsiteY192" fmla="*/ 487680 h 8260080"/>
              <a:gd name="connsiteX193" fmla="*/ 3108960 w 3505200"/>
              <a:gd name="connsiteY193" fmla="*/ 528320 h 8260080"/>
              <a:gd name="connsiteX194" fmla="*/ 3108960 w 3505200"/>
              <a:gd name="connsiteY194" fmla="*/ 406400 h 8260080"/>
              <a:gd name="connsiteX195" fmla="*/ 2926080 w 3505200"/>
              <a:gd name="connsiteY195" fmla="*/ 314960 h 8260080"/>
              <a:gd name="connsiteX196" fmla="*/ 2834640 w 3505200"/>
              <a:gd name="connsiteY196" fmla="*/ 355600 h 8260080"/>
              <a:gd name="connsiteX197" fmla="*/ 2682240 w 3505200"/>
              <a:gd name="connsiteY197" fmla="*/ 111760 h 8260080"/>
              <a:gd name="connsiteX198" fmla="*/ 2590800 w 3505200"/>
              <a:gd name="connsiteY198" fmla="*/ 121920 h 8260080"/>
              <a:gd name="connsiteX199" fmla="*/ 2611120 w 3505200"/>
              <a:gd name="connsiteY199" fmla="*/ 0 h 8260080"/>
              <a:gd name="connsiteX200" fmla="*/ 2438400 w 3505200"/>
              <a:gd name="connsiteY20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208037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208037 w 3505200"/>
              <a:gd name="connsiteY71" fmla="*/ 6676677 h 8260080"/>
              <a:gd name="connsiteX72" fmla="*/ 192162 w 3505200"/>
              <a:gd name="connsiteY72" fmla="*/ 6740971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208037 w 3505200"/>
              <a:gd name="connsiteY71" fmla="*/ 6676677 h 8260080"/>
              <a:gd name="connsiteX72" fmla="*/ 192162 w 3505200"/>
              <a:gd name="connsiteY72" fmla="*/ 6740971 h 8260080"/>
              <a:gd name="connsiteX73" fmla="*/ 166687 w 3505200"/>
              <a:gd name="connsiteY73" fmla="*/ 67798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208037 w 3505200"/>
              <a:gd name="connsiteY71" fmla="*/ 6676677 h 8260080"/>
              <a:gd name="connsiteX72" fmla="*/ 192162 w 3505200"/>
              <a:gd name="connsiteY72" fmla="*/ 6740971 h 8260080"/>
              <a:gd name="connsiteX73" fmla="*/ 166687 w 3505200"/>
              <a:gd name="connsiteY73" fmla="*/ 6779894 h 8260080"/>
              <a:gd name="connsiteX74" fmla="*/ 178668 w 3505200"/>
              <a:gd name="connsiteY74" fmla="*/ 6837808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208037 w 3505200"/>
              <a:gd name="connsiteY71" fmla="*/ 6676677 h 8260080"/>
              <a:gd name="connsiteX72" fmla="*/ 192162 w 3505200"/>
              <a:gd name="connsiteY72" fmla="*/ 6740971 h 8260080"/>
              <a:gd name="connsiteX73" fmla="*/ 166687 w 3505200"/>
              <a:gd name="connsiteY73" fmla="*/ 6779894 h 8260080"/>
              <a:gd name="connsiteX74" fmla="*/ 178668 w 3505200"/>
              <a:gd name="connsiteY74" fmla="*/ 6837808 h 8260080"/>
              <a:gd name="connsiteX75" fmla="*/ 217562 w 3505200"/>
              <a:gd name="connsiteY75" fmla="*/ 6893371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208037 w 3505200"/>
              <a:gd name="connsiteY71" fmla="*/ 6676677 h 8260080"/>
              <a:gd name="connsiteX72" fmla="*/ 192162 w 3505200"/>
              <a:gd name="connsiteY72" fmla="*/ 6740971 h 8260080"/>
              <a:gd name="connsiteX73" fmla="*/ 166687 w 3505200"/>
              <a:gd name="connsiteY73" fmla="*/ 6779894 h 8260080"/>
              <a:gd name="connsiteX74" fmla="*/ 178668 w 3505200"/>
              <a:gd name="connsiteY74" fmla="*/ 6837808 h 8260080"/>
              <a:gd name="connsiteX75" fmla="*/ 217562 w 3505200"/>
              <a:gd name="connsiteY75" fmla="*/ 6893371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5345 w 3505200"/>
              <a:gd name="connsiteY79" fmla="*/ 7074347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</a:cxnLst>
            <a:rect l="l" t="t" r="r" b="b"/>
            <a:pathLst>
              <a:path w="3505200" h="8260080">
                <a:moveTo>
                  <a:pt x="2438400" y="0"/>
                </a:moveTo>
                <a:lnTo>
                  <a:pt x="2499360" y="132080"/>
                </a:lnTo>
                <a:lnTo>
                  <a:pt x="2438400" y="325120"/>
                </a:lnTo>
                <a:lnTo>
                  <a:pt x="2499360" y="365760"/>
                </a:lnTo>
                <a:lnTo>
                  <a:pt x="2407920" y="436880"/>
                </a:lnTo>
                <a:lnTo>
                  <a:pt x="2204720" y="335280"/>
                </a:lnTo>
                <a:lnTo>
                  <a:pt x="2143760" y="375920"/>
                </a:lnTo>
                <a:lnTo>
                  <a:pt x="2072640" y="284480"/>
                </a:lnTo>
                <a:lnTo>
                  <a:pt x="1991360" y="335280"/>
                </a:lnTo>
                <a:lnTo>
                  <a:pt x="1991360" y="508000"/>
                </a:lnTo>
                <a:lnTo>
                  <a:pt x="2042160" y="599440"/>
                </a:lnTo>
                <a:lnTo>
                  <a:pt x="1981200" y="701040"/>
                </a:lnTo>
                <a:lnTo>
                  <a:pt x="1838960" y="599440"/>
                </a:lnTo>
                <a:lnTo>
                  <a:pt x="1778000" y="680720"/>
                </a:lnTo>
                <a:lnTo>
                  <a:pt x="1717040" y="721360"/>
                </a:lnTo>
                <a:lnTo>
                  <a:pt x="1676400" y="853440"/>
                </a:lnTo>
                <a:lnTo>
                  <a:pt x="1625600" y="965200"/>
                </a:lnTo>
                <a:lnTo>
                  <a:pt x="1564640" y="1005840"/>
                </a:lnTo>
                <a:lnTo>
                  <a:pt x="1635760" y="1188720"/>
                </a:lnTo>
                <a:lnTo>
                  <a:pt x="1605280" y="1300480"/>
                </a:lnTo>
                <a:lnTo>
                  <a:pt x="1361440" y="1595120"/>
                </a:lnTo>
                <a:lnTo>
                  <a:pt x="1391920" y="1727200"/>
                </a:lnTo>
                <a:lnTo>
                  <a:pt x="1239520" y="1808480"/>
                </a:lnTo>
                <a:lnTo>
                  <a:pt x="1117600" y="1828800"/>
                </a:lnTo>
                <a:lnTo>
                  <a:pt x="1178560" y="1950720"/>
                </a:lnTo>
                <a:lnTo>
                  <a:pt x="1127760" y="2133600"/>
                </a:lnTo>
                <a:lnTo>
                  <a:pt x="1168400" y="2214880"/>
                </a:lnTo>
                <a:lnTo>
                  <a:pt x="1076960" y="2428240"/>
                </a:lnTo>
                <a:lnTo>
                  <a:pt x="894080" y="2743200"/>
                </a:lnTo>
                <a:lnTo>
                  <a:pt x="1026160" y="2814320"/>
                </a:lnTo>
                <a:lnTo>
                  <a:pt x="1016000" y="3007360"/>
                </a:lnTo>
                <a:lnTo>
                  <a:pt x="1005840" y="3098800"/>
                </a:lnTo>
                <a:lnTo>
                  <a:pt x="772160" y="3048000"/>
                </a:lnTo>
                <a:lnTo>
                  <a:pt x="619760" y="3108960"/>
                </a:lnTo>
                <a:lnTo>
                  <a:pt x="467360" y="3342640"/>
                </a:lnTo>
                <a:lnTo>
                  <a:pt x="538480" y="3393440"/>
                </a:lnTo>
                <a:lnTo>
                  <a:pt x="426720" y="3474720"/>
                </a:lnTo>
                <a:lnTo>
                  <a:pt x="508000" y="3667760"/>
                </a:lnTo>
                <a:lnTo>
                  <a:pt x="436880" y="3728720"/>
                </a:lnTo>
                <a:lnTo>
                  <a:pt x="487680" y="3840480"/>
                </a:lnTo>
                <a:lnTo>
                  <a:pt x="416560" y="3942080"/>
                </a:lnTo>
                <a:lnTo>
                  <a:pt x="528320" y="4114800"/>
                </a:lnTo>
                <a:lnTo>
                  <a:pt x="406400" y="4450080"/>
                </a:lnTo>
                <a:lnTo>
                  <a:pt x="518160" y="4551680"/>
                </a:lnTo>
                <a:lnTo>
                  <a:pt x="629920" y="4643120"/>
                </a:lnTo>
                <a:lnTo>
                  <a:pt x="579120" y="4846320"/>
                </a:lnTo>
                <a:lnTo>
                  <a:pt x="447040" y="4886960"/>
                </a:lnTo>
                <a:lnTo>
                  <a:pt x="416560" y="5008880"/>
                </a:lnTo>
                <a:lnTo>
                  <a:pt x="528320" y="5151120"/>
                </a:lnTo>
                <a:lnTo>
                  <a:pt x="528320" y="5262880"/>
                </a:lnTo>
                <a:lnTo>
                  <a:pt x="457200" y="5303520"/>
                </a:lnTo>
                <a:lnTo>
                  <a:pt x="518160" y="5374640"/>
                </a:lnTo>
                <a:lnTo>
                  <a:pt x="365760" y="5547360"/>
                </a:lnTo>
                <a:lnTo>
                  <a:pt x="274320" y="5516880"/>
                </a:lnTo>
                <a:lnTo>
                  <a:pt x="274320" y="5628640"/>
                </a:lnTo>
                <a:lnTo>
                  <a:pt x="203200" y="5720080"/>
                </a:lnTo>
                <a:lnTo>
                  <a:pt x="254000" y="5821680"/>
                </a:lnTo>
                <a:lnTo>
                  <a:pt x="213360" y="5974080"/>
                </a:lnTo>
                <a:lnTo>
                  <a:pt x="193040" y="6106160"/>
                </a:lnTo>
                <a:lnTo>
                  <a:pt x="172720" y="6167120"/>
                </a:lnTo>
                <a:lnTo>
                  <a:pt x="121920" y="6116320"/>
                </a:lnTo>
                <a:lnTo>
                  <a:pt x="121920" y="6024880"/>
                </a:lnTo>
                <a:lnTo>
                  <a:pt x="60960" y="5994400"/>
                </a:lnTo>
                <a:lnTo>
                  <a:pt x="0" y="6085840"/>
                </a:lnTo>
                <a:lnTo>
                  <a:pt x="50800" y="6268720"/>
                </a:lnTo>
                <a:lnTo>
                  <a:pt x="40640" y="6421120"/>
                </a:lnTo>
                <a:lnTo>
                  <a:pt x="101600" y="6451600"/>
                </a:lnTo>
                <a:lnTo>
                  <a:pt x="172720" y="6400800"/>
                </a:lnTo>
                <a:lnTo>
                  <a:pt x="81280" y="6492240"/>
                </a:lnTo>
                <a:cubicBezTo>
                  <a:pt x="135255" y="6507586"/>
                  <a:pt x="198755" y="6522932"/>
                  <a:pt x="252730" y="6538278"/>
                </a:cubicBezTo>
                <a:cubicBezTo>
                  <a:pt x="271343" y="6570605"/>
                  <a:pt x="240237" y="6628206"/>
                  <a:pt x="212799" y="6609208"/>
                </a:cubicBezTo>
                <a:cubicBezTo>
                  <a:pt x="200058" y="6631084"/>
                  <a:pt x="219162" y="6646113"/>
                  <a:pt x="208037" y="6676677"/>
                </a:cubicBezTo>
                <a:cubicBezTo>
                  <a:pt x="198115" y="6699696"/>
                  <a:pt x="199054" y="6723768"/>
                  <a:pt x="192162" y="6740971"/>
                </a:cubicBezTo>
                <a:cubicBezTo>
                  <a:pt x="185270" y="6758174"/>
                  <a:pt x="168936" y="6763755"/>
                  <a:pt x="166687" y="6779894"/>
                </a:cubicBezTo>
                <a:cubicBezTo>
                  <a:pt x="164438" y="6796033"/>
                  <a:pt x="170189" y="6818895"/>
                  <a:pt x="178668" y="6837808"/>
                </a:cubicBezTo>
                <a:cubicBezTo>
                  <a:pt x="187147" y="6856721"/>
                  <a:pt x="207335" y="6874528"/>
                  <a:pt x="217562" y="6893371"/>
                </a:cubicBezTo>
                <a:cubicBezTo>
                  <a:pt x="227789" y="6912214"/>
                  <a:pt x="225754" y="6931257"/>
                  <a:pt x="240029" y="6950868"/>
                </a:cubicBezTo>
                <a:cubicBezTo>
                  <a:pt x="247570" y="6958012"/>
                  <a:pt x="236917" y="6938938"/>
                  <a:pt x="240581" y="6950522"/>
                </a:cubicBezTo>
                <a:cubicBezTo>
                  <a:pt x="244245" y="6962106"/>
                  <a:pt x="261218" y="6999734"/>
                  <a:pt x="262012" y="7020371"/>
                </a:cubicBezTo>
                <a:cubicBezTo>
                  <a:pt x="262806" y="7041008"/>
                  <a:pt x="238637" y="7054869"/>
                  <a:pt x="245345" y="7074347"/>
                </a:cubicBezTo>
                <a:cubicBezTo>
                  <a:pt x="258800" y="7091444"/>
                  <a:pt x="283607" y="7124145"/>
                  <a:pt x="280829" y="7148354"/>
                </a:cubicBezTo>
                <a:cubicBezTo>
                  <a:pt x="283288" y="7178454"/>
                  <a:pt x="240503" y="7196646"/>
                  <a:pt x="242962" y="7226746"/>
                </a:cubicBezTo>
                <a:lnTo>
                  <a:pt x="282892" y="7300436"/>
                </a:lnTo>
                <a:cubicBezTo>
                  <a:pt x="289824" y="7326312"/>
                  <a:pt x="311044" y="7273608"/>
                  <a:pt x="310833" y="7299484"/>
                </a:cubicBezTo>
                <a:cubicBezTo>
                  <a:pt x="319656" y="7293156"/>
                  <a:pt x="314797" y="7307311"/>
                  <a:pt x="319162" y="7310089"/>
                </a:cubicBezTo>
                <a:cubicBezTo>
                  <a:pt x="323527" y="7312867"/>
                  <a:pt x="331271" y="7299798"/>
                  <a:pt x="337026" y="7316154"/>
                </a:cubicBezTo>
                <a:cubicBezTo>
                  <a:pt x="352107" y="7351608"/>
                  <a:pt x="367189" y="7322767"/>
                  <a:pt x="370364" y="7360602"/>
                </a:cubicBezTo>
                <a:lnTo>
                  <a:pt x="447040" y="7366000"/>
                </a:lnTo>
                <a:lnTo>
                  <a:pt x="447040" y="7477760"/>
                </a:lnTo>
                <a:lnTo>
                  <a:pt x="558800" y="7528560"/>
                </a:lnTo>
                <a:lnTo>
                  <a:pt x="508000" y="7630160"/>
                </a:lnTo>
                <a:lnTo>
                  <a:pt x="436880" y="7609840"/>
                </a:lnTo>
                <a:lnTo>
                  <a:pt x="447040" y="7691120"/>
                </a:lnTo>
                <a:lnTo>
                  <a:pt x="518160" y="7741920"/>
                </a:lnTo>
                <a:lnTo>
                  <a:pt x="457200" y="7792720"/>
                </a:lnTo>
                <a:lnTo>
                  <a:pt x="396240" y="7701280"/>
                </a:lnTo>
                <a:lnTo>
                  <a:pt x="396240" y="7701280"/>
                </a:lnTo>
                <a:lnTo>
                  <a:pt x="436880" y="7874000"/>
                </a:lnTo>
                <a:lnTo>
                  <a:pt x="436880" y="7924800"/>
                </a:lnTo>
                <a:lnTo>
                  <a:pt x="548640" y="7965440"/>
                </a:lnTo>
                <a:lnTo>
                  <a:pt x="508000" y="8016240"/>
                </a:lnTo>
                <a:lnTo>
                  <a:pt x="589280" y="8056880"/>
                </a:lnTo>
                <a:lnTo>
                  <a:pt x="497840" y="8117840"/>
                </a:lnTo>
                <a:lnTo>
                  <a:pt x="518160" y="8209280"/>
                </a:lnTo>
                <a:lnTo>
                  <a:pt x="640080" y="8260080"/>
                </a:lnTo>
                <a:lnTo>
                  <a:pt x="731520" y="8219440"/>
                </a:lnTo>
                <a:lnTo>
                  <a:pt x="853440" y="8209280"/>
                </a:lnTo>
                <a:lnTo>
                  <a:pt x="955040" y="8260080"/>
                </a:lnTo>
                <a:lnTo>
                  <a:pt x="965200" y="8107680"/>
                </a:lnTo>
                <a:lnTo>
                  <a:pt x="894080" y="8026400"/>
                </a:lnTo>
                <a:lnTo>
                  <a:pt x="1016000" y="7863840"/>
                </a:lnTo>
                <a:lnTo>
                  <a:pt x="1107440" y="7894320"/>
                </a:lnTo>
                <a:lnTo>
                  <a:pt x="1127760" y="7853680"/>
                </a:lnTo>
                <a:lnTo>
                  <a:pt x="1066800" y="7813040"/>
                </a:lnTo>
                <a:lnTo>
                  <a:pt x="1137920" y="7762240"/>
                </a:lnTo>
                <a:lnTo>
                  <a:pt x="1330960" y="7802880"/>
                </a:lnTo>
                <a:lnTo>
                  <a:pt x="1361440" y="7772400"/>
                </a:lnTo>
                <a:lnTo>
                  <a:pt x="1483360" y="7823200"/>
                </a:lnTo>
                <a:lnTo>
                  <a:pt x="1554480" y="7731760"/>
                </a:lnTo>
                <a:lnTo>
                  <a:pt x="1524000" y="7640320"/>
                </a:lnTo>
                <a:lnTo>
                  <a:pt x="1645920" y="7437120"/>
                </a:lnTo>
                <a:lnTo>
                  <a:pt x="1635760" y="7335520"/>
                </a:lnTo>
                <a:lnTo>
                  <a:pt x="1696720" y="7223760"/>
                </a:lnTo>
                <a:lnTo>
                  <a:pt x="1625600" y="7172960"/>
                </a:lnTo>
                <a:lnTo>
                  <a:pt x="1747520" y="6990080"/>
                </a:lnTo>
                <a:lnTo>
                  <a:pt x="1666240" y="6939280"/>
                </a:lnTo>
                <a:lnTo>
                  <a:pt x="1737360" y="6888480"/>
                </a:lnTo>
                <a:lnTo>
                  <a:pt x="1645920" y="6776720"/>
                </a:lnTo>
                <a:lnTo>
                  <a:pt x="1808480" y="6715760"/>
                </a:lnTo>
                <a:lnTo>
                  <a:pt x="1727200" y="6614160"/>
                </a:lnTo>
                <a:lnTo>
                  <a:pt x="1686560" y="6421120"/>
                </a:lnTo>
                <a:lnTo>
                  <a:pt x="1889760" y="6299200"/>
                </a:lnTo>
                <a:lnTo>
                  <a:pt x="1940560" y="6228080"/>
                </a:lnTo>
                <a:lnTo>
                  <a:pt x="2032000" y="6136640"/>
                </a:lnTo>
                <a:lnTo>
                  <a:pt x="2011680" y="6014720"/>
                </a:lnTo>
                <a:lnTo>
                  <a:pt x="2123440" y="6065520"/>
                </a:lnTo>
                <a:lnTo>
                  <a:pt x="2092960" y="6167120"/>
                </a:lnTo>
                <a:lnTo>
                  <a:pt x="2286000" y="5933440"/>
                </a:lnTo>
                <a:lnTo>
                  <a:pt x="2255520" y="5801360"/>
                </a:lnTo>
                <a:lnTo>
                  <a:pt x="2448560" y="5598160"/>
                </a:lnTo>
                <a:lnTo>
                  <a:pt x="2357120" y="5435600"/>
                </a:lnTo>
                <a:lnTo>
                  <a:pt x="2225040" y="5415280"/>
                </a:lnTo>
                <a:lnTo>
                  <a:pt x="2103120" y="5222240"/>
                </a:lnTo>
                <a:lnTo>
                  <a:pt x="2092960" y="5110480"/>
                </a:lnTo>
                <a:lnTo>
                  <a:pt x="2052320" y="5151120"/>
                </a:lnTo>
                <a:lnTo>
                  <a:pt x="2042160" y="5242560"/>
                </a:lnTo>
                <a:lnTo>
                  <a:pt x="1981200" y="5191760"/>
                </a:lnTo>
                <a:lnTo>
                  <a:pt x="2011680" y="5120640"/>
                </a:lnTo>
                <a:lnTo>
                  <a:pt x="1930400" y="5100320"/>
                </a:lnTo>
                <a:lnTo>
                  <a:pt x="1859280" y="4917440"/>
                </a:lnTo>
                <a:lnTo>
                  <a:pt x="1828800" y="4622800"/>
                </a:lnTo>
                <a:lnTo>
                  <a:pt x="1910080" y="4419600"/>
                </a:lnTo>
                <a:lnTo>
                  <a:pt x="1920240" y="4277360"/>
                </a:lnTo>
                <a:lnTo>
                  <a:pt x="1971040" y="4124960"/>
                </a:lnTo>
                <a:lnTo>
                  <a:pt x="1879600" y="4023360"/>
                </a:lnTo>
                <a:lnTo>
                  <a:pt x="2072640" y="4003040"/>
                </a:lnTo>
                <a:lnTo>
                  <a:pt x="2092960" y="3850640"/>
                </a:lnTo>
                <a:lnTo>
                  <a:pt x="2001520" y="3728720"/>
                </a:lnTo>
                <a:lnTo>
                  <a:pt x="2164080" y="3769360"/>
                </a:lnTo>
                <a:lnTo>
                  <a:pt x="2265680" y="3566160"/>
                </a:lnTo>
                <a:lnTo>
                  <a:pt x="2336800" y="3515360"/>
                </a:lnTo>
                <a:lnTo>
                  <a:pt x="2367280" y="3362960"/>
                </a:lnTo>
                <a:lnTo>
                  <a:pt x="2489200" y="3423920"/>
                </a:lnTo>
                <a:lnTo>
                  <a:pt x="2560320" y="3302000"/>
                </a:lnTo>
                <a:lnTo>
                  <a:pt x="2743200" y="3149600"/>
                </a:lnTo>
                <a:lnTo>
                  <a:pt x="2844800" y="3088640"/>
                </a:lnTo>
                <a:lnTo>
                  <a:pt x="2804160" y="2966720"/>
                </a:lnTo>
                <a:lnTo>
                  <a:pt x="2976880" y="2763520"/>
                </a:lnTo>
                <a:lnTo>
                  <a:pt x="2794000" y="2621280"/>
                </a:lnTo>
                <a:lnTo>
                  <a:pt x="2946400" y="2377440"/>
                </a:lnTo>
                <a:lnTo>
                  <a:pt x="2854960" y="2255520"/>
                </a:lnTo>
                <a:lnTo>
                  <a:pt x="3027680" y="2113280"/>
                </a:lnTo>
                <a:lnTo>
                  <a:pt x="3119120" y="2021840"/>
                </a:lnTo>
                <a:lnTo>
                  <a:pt x="3027680" y="1960880"/>
                </a:lnTo>
                <a:lnTo>
                  <a:pt x="3139440" y="1869440"/>
                </a:lnTo>
                <a:lnTo>
                  <a:pt x="3281680" y="1950720"/>
                </a:lnTo>
                <a:lnTo>
                  <a:pt x="3403600" y="1889760"/>
                </a:lnTo>
                <a:lnTo>
                  <a:pt x="3505200" y="1910080"/>
                </a:lnTo>
                <a:lnTo>
                  <a:pt x="3444240" y="1656080"/>
                </a:lnTo>
                <a:lnTo>
                  <a:pt x="3373120" y="1635760"/>
                </a:lnTo>
                <a:lnTo>
                  <a:pt x="3352800" y="1503680"/>
                </a:lnTo>
                <a:lnTo>
                  <a:pt x="3444240" y="1412240"/>
                </a:lnTo>
                <a:lnTo>
                  <a:pt x="3393440" y="1280160"/>
                </a:lnTo>
                <a:lnTo>
                  <a:pt x="3434080" y="1249680"/>
                </a:lnTo>
                <a:lnTo>
                  <a:pt x="3281680" y="1066800"/>
                </a:lnTo>
                <a:lnTo>
                  <a:pt x="3383280" y="975360"/>
                </a:lnTo>
                <a:lnTo>
                  <a:pt x="3302000" y="924560"/>
                </a:lnTo>
                <a:lnTo>
                  <a:pt x="3190240" y="944880"/>
                </a:lnTo>
                <a:lnTo>
                  <a:pt x="3281680" y="792480"/>
                </a:lnTo>
                <a:lnTo>
                  <a:pt x="3210560" y="650240"/>
                </a:lnTo>
                <a:lnTo>
                  <a:pt x="3302000" y="568960"/>
                </a:lnTo>
                <a:lnTo>
                  <a:pt x="3190240" y="487680"/>
                </a:lnTo>
                <a:lnTo>
                  <a:pt x="3108960" y="528320"/>
                </a:lnTo>
                <a:lnTo>
                  <a:pt x="3108960" y="406400"/>
                </a:lnTo>
                <a:lnTo>
                  <a:pt x="2926080" y="314960"/>
                </a:lnTo>
                <a:lnTo>
                  <a:pt x="2834640" y="355600"/>
                </a:lnTo>
                <a:lnTo>
                  <a:pt x="2682240" y="111760"/>
                </a:lnTo>
                <a:lnTo>
                  <a:pt x="2590800" y="121920"/>
                </a:lnTo>
                <a:lnTo>
                  <a:pt x="2611120" y="0"/>
                </a:lnTo>
                <a:lnTo>
                  <a:pt x="2438400" y="0"/>
                </a:lnTo>
                <a:close/>
              </a:path>
            </a:pathLst>
          </a:custGeom>
          <a:noFill/>
          <a:ln w="1270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13" name="Koppling: vinklad 12">
            <a:extLst>
              <a:ext uri="{FF2B5EF4-FFF2-40B4-BE49-F238E27FC236}">
                <a16:creationId xmlns:a16="http://schemas.microsoft.com/office/drawing/2014/main" id="{43011297-E8C7-4106-92BA-F34327CBE536}"/>
              </a:ext>
            </a:extLst>
          </p:cNvPr>
          <p:cNvCxnSpPr>
            <a:cxnSpLocks/>
            <a:stCxn id="3" idx="0"/>
            <a:endCxn id="7" idx="1"/>
          </p:cNvCxnSpPr>
          <p:nvPr/>
        </p:nvCxnSpPr>
        <p:spPr>
          <a:xfrm rot="16200000" flipV="1">
            <a:off x="1397568" y="3004883"/>
            <a:ext cx="1204679" cy="711730"/>
          </a:xfrm>
          <a:prstGeom prst="bentConnector4">
            <a:avLst>
              <a:gd name="adj1" fmla="val 9657"/>
              <a:gd name="adj2" fmla="val 145438"/>
            </a:avLst>
          </a:prstGeom>
          <a:ln w="28575" cap="rnd">
            <a:solidFill>
              <a:schemeClr val="tx2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Koppling: vinklad 36">
            <a:extLst>
              <a:ext uri="{FF2B5EF4-FFF2-40B4-BE49-F238E27FC236}">
                <a16:creationId xmlns:a16="http://schemas.microsoft.com/office/drawing/2014/main" id="{39533808-6A5F-4D7A-AC48-424B3395E08D}"/>
              </a:ext>
            </a:extLst>
          </p:cNvPr>
          <p:cNvCxnSpPr>
            <a:cxnSpLocks/>
          </p:cNvCxnSpPr>
          <p:nvPr/>
        </p:nvCxnSpPr>
        <p:spPr>
          <a:xfrm rot="16200000" flipV="1">
            <a:off x="3874068" y="3013639"/>
            <a:ext cx="1204679" cy="711730"/>
          </a:xfrm>
          <a:prstGeom prst="bentConnector4">
            <a:avLst>
              <a:gd name="adj1" fmla="val 9657"/>
              <a:gd name="adj2" fmla="val 145438"/>
            </a:avLst>
          </a:prstGeom>
          <a:ln w="28575" cap="rnd">
            <a:solidFill>
              <a:schemeClr val="tx2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latshållare för innehåll 2">
            <a:extLst>
              <a:ext uri="{FF2B5EF4-FFF2-40B4-BE49-F238E27FC236}">
                <a16:creationId xmlns:a16="http://schemas.microsoft.com/office/drawing/2014/main" id="{29D31112-37ED-4540-8B35-F310188C76A0}"/>
              </a:ext>
            </a:extLst>
          </p:cNvPr>
          <p:cNvSpPr txBox="1">
            <a:spLocks/>
          </p:cNvSpPr>
          <p:nvPr/>
        </p:nvSpPr>
        <p:spPr>
          <a:xfrm>
            <a:off x="3637124" y="3963086"/>
            <a:ext cx="2397916" cy="1218513"/>
          </a:xfrm>
          <a:prstGeom prst="rect">
            <a:avLst/>
          </a:prstGeom>
        </p:spPr>
        <p:txBody>
          <a:bodyPr vert="horz" lIns="91440" tIns="144000" rIns="91440" bIns="45720" rtlCol="0">
            <a:normAutofit/>
          </a:bodyPr>
          <a:lstStyle>
            <a:lvl1pPr marL="271463" indent="-2714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19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sv-SE" sz="1600" dirty="0">
                <a:solidFill>
                  <a:schemeClr val="tx2"/>
                </a:solidFill>
                <a:latin typeface="Arial Rounded MT Bold" panose="020F0704030504030204" pitchFamily="34" charset="0"/>
              </a:rPr>
              <a:t>…</a:t>
            </a:r>
            <a:r>
              <a:rPr lang="sv-SE" sz="1600" dirty="0">
                <a:solidFill>
                  <a:schemeClr val="tx2"/>
                </a:solidFill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rPr>
              <a:t>och för Sverige</a:t>
            </a:r>
            <a:endParaRPr lang="sv-SE" dirty="0">
              <a:solidFill>
                <a:schemeClr val="tx2"/>
              </a:solidFill>
              <a:latin typeface="Galaxie Polaris Medium" panose="02000000000000000000" pitchFamily="50" charset="0"/>
              <a:ea typeface="Galaxie Polaris Medium" panose="02000000000000000000" pitchFamily="50" charset="0"/>
              <a:cs typeface="Galaxie Polaris Medium" panose="02000000000000000000" pitchFamily="50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sv-SE" dirty="0"/>
              <a:t>Den svenska ekonomin förväntas också ha god tillväxt under 2022</a:t>
            </a:r>
          </a:p>
        </p:txBody>
      </p:sp>
      <p:grpSp>
        <p:nvGrpSpPr>
          <p:cNvPr id="40" name="Grupp 39">
            <a:extLst>
              <a:ext uri="{FF2B5EF4-FFF2-40B4-BE49-F238E27FC236}">
                <a16:creationId xmlns:a16="http://schemas.microsoft.com/office/drawing/2014/main" id="{3EE3DCDA-384B-46A0-ABD7-1D23817C3508}"/>
              </a:ext>
            </a:extLst>
          </p:cNvPr>
          <p:cNvGrpSpPr/>
          <p:nvPr/>
        </p:nvGrpSpPr>
        <p:grpSpPr>
          <a:xfrm>
            <a:off x="7448862" y="3252762"/>
            <a:ext cx="2314097" cy="2602957"/>
            <a:chOff x="7395522" y="3205056"/>
            <a:chExt cx="2314097" cy="2602957"/>
          </a:xfrm>
        </p:grpSpPr>
        <p:grpSp>
          <p:nvGrpSpPr>
            <p:cNvPr id="9" name="Grupp 8">
              <a:extLst>
                <a:ext uri="{FF2B5EF4-FFF2-40B4-BE49-F238E27FC236}">
                  <a16:creationId xmlns:a16="http://schemas.microsoft.com/office/drawing/2014/main" id="{F0C9C048-0110-4593-B286-59953893731A}"/>
                </a:ext>
              </a:extLst>
            </p:cNvPr>
            <p:cNvGrpSpPr/>
            <p:nvPr/>
          </p:nvGrpSpPr>
          <p:grpSpPr>
            <a:xfrm>
              <a:off x="7848596" y="3768508"/>
              <a:ext cx="1296551" cy="2039505"/>
              <a:chOff x="4755124" y="3563888"/>
              <a:chExt cx="1719682" cy="2705100"/>
            </a:xfrm>
          </p:grpSpPr>
          <p:sp>
            <p:nvSpPr>
              <p:cNvPr id="10" name="Freeform 57">
                <a:extLst>
                  <a:ext uri="{FF2B5EF4-FFF2-40B4-BE49-F238E27FC236}">
                    <a16:creationId xmlns:a16="http://schemas.microsoft.com/office/drawing/2014/main" id="{0EEF98CB-910E-4A8A-93F0-37B70D6BF1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0050" y="5046613"/>
                <a:ext cx="171449" cy="203200"/>
              </a:xfrm>
              <a:custGeom>
                <a:avLst/>
                <a:gdLst>
                  <a:gd name="T0" fmla="*/ 2147483647 w 108"/>
                  <a:gd name="T1" fmla="*/ 2147483647 h 128"/>
                  <a:gd name="T2" fmla="*/ 2147483647 w 108"/>
                  <a:gd name="T3" fmla="*/ 2147483647 h 128"/>
                  <a:gd name="T4" fmla="*/ 2147483647 w 108"/>
                  <a:gd name="T5" fmla="*/ 2147483647 h 128"/>
                  <a:gd name="T6" fmla="*/ 2147483647 w 108"/>
                  <a:gd name="T7" fmla="*/ 0 h 128"/>
                  <a:gd name="T8" fmla="*/ 2147483647 w 108"/>
                  <a:gd name="T9" fmla="*/ 2147483647 h 128"/>
                  <a:gd name="T10" fmla="*/ 2147483647 w 108"/>
                  <a:gd name="T11" fmla="*/ 2147483647 h 128"/>
                  <a:gd name="T12" fmla="*/ 0 w 108"/>
                  <a:gd name="T13" fmla="*/ 2147483647 h 128"/>
                  <a:gd name="T14" fmla="*/ 2147483647 w 108"/>
                  <a:gd name="T15" fmla="*/ 2147483647 h 128"/>
                  <a:gd name="T16" fmla="*/ 2147483647 w 108"/>
                  <a:gd name="T17" fmla="*/ 2147483647 h 128"/>
                  <a:gd name="T18" fmla="*/ 2147483647 w 108"/>
                  <a:gd name="T19" fmla="*/ 2147483647 h 128"/>
                  <a:gd name="T20" fmla="*/ 2147483647 w 108"/>
                  <a:gd name="T21" fmla="*/ 2147483647 h 128"/>
                  <a:gd name="T22" fmla="*/ 2147483647 w 108"/>
                  <a:gd name="T23" fmla="*/ 2147483647 h 12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8" h="128">
                    <a:moveTo>
                      <a:pt x="76" y="74"/>
                    </a:moveTo>
                    <a:lnTo>
                      <a:pt x="98" y="54"/>
                    </a:lnTo>
                    <a:lnTo>
                      <a:pt x="88" y="10"/>
                    </a:lnTo>
                    <a:lnTo>
                      <a:pt x="54" y="0"/>
                    </a:lnTo>
                    <a:lnTo>
                      <a:pt x="54" y="64"/>
                    </a:lnTo>
                    <a:lnTo>
                      <a:pt x="22" y="64"/>
                    </a:lnTo>
                    <a:lnTo>
                      <a:pt x="0" y="86"/>
                    </a:lnTo>
                    <a:lnTo>
                      <a:pt x="44" y="96"/>
                    </a:lnTo>
                    <a:lnTo>
                      <a:pt x="54" y="128"/>
                    </a:lnTo>
                    <a:lnTo>
                      <a:pt x="108" y="128"/>
                    </a:lnTo>
                    <a:lnTo>
                      <a:pt x="98" y="86"/>
                    </a:lnTo>
                    <a:lnTo>
                      <a:pt x="76" y="74"/>
                    </a:lnTo>
                  </a:path>
                </a:pathLst>
              </a:custGeom>
              <a:noFill/>
              <a:ln w="12700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sv-SE"/>
              </a:p>
            </p:txBody>
          </p:sp>
          <p:sp>
            <p:nvSpPr>
              <p:cNvPr id="11" name="Freeform 161">
                <a:extLst>
                  <a:ext uri="{FF2B5EF4-FFF2-40B4-BE49-F238E27FC236}">
                    <a16:creationId xmlns:a16="http://schemas.microsoft.com/office/drawing/2014/main" id="{3685B866-0BDC-4735-92D5-2E333D049B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5124" y="4144913"/>
                <a:ext cx="361949" cy="371475"/>
              </a:xfrm>
              <a:custGeom>
                <a:avLst/>
                <a:gdLst>
                  <a:gd name="T0" fmla="*/ 0 w 228"/>
                  <a:gd name="T1" fmla="*/ 2147483647 h 234"/>
                  <a:gd name="T2" fmla="*/ 0 w 228"/>
                  <a:gd name="T3" fmla="*/ 2147483647 h 234"/>
                  <a:gd name="T4" fmla="*/ 2147483647 w 228"/>
                  <a:gd name="T5" fmla="*/ 2147483647 h 234"/>
                  <a:gd name="T6" fmla="*/ 2147483647 w 228"/>
                  <a:gd name="T7" fmla="*/ 2147483647 h 234"/>
                  <a:gd name="T8" fmla="*/ 2147483647 w 228"/>
                  <a:gd name="T9" fmla="*/ 2147483647 h 234"/>
                  <a:gd name="T10" fmla="*/ 2147483647 w 228"/>
                  <a:gd name="T11" fmla="*/ 2147483647 h 234"/>
                  <a:gd name="T12" fmla="*/ 2147483647 w 228"/>
                  <a:gd name="T13" fmla="*/ 0 h 234"/>
                  <a:gd name="T14" fmla="*/ 2147483647 w 228"/>
                  <a:gd name="T15" fmla="*/ 2147483647 h 234"/>
                  <a:gd name="T16" fmla="*/ 2147483647 w 228"/>
                  <a:gd name="T17" fmla="*/ 2147483647 h 234"/>
                  <a:gd name="T18" fmla="*/ 2147483647 w 228"/>
                  <a:gd name="T19" fmla="*/ 2147483647 h 234"/>
                  <a:gd name="T20" fmla="*/ 2147483647 w 228"/>
                  <a:gd name="T21" fmla="*/ 2147483647 h 234"/>
                  <a:gd name="T22" fmla="*/ 2147483647 w 228"/>
                  <a:gd name="T23" fmla="*/ 2147483647 h 234"/>
                  <a:gd name="T24" fmla="*/ 2147483647 w 228"/>
                  <a:gd name="T25" fmla="*/ 2147483647 h 234"/>
                  <a:gd name="T26" fmla="*/ 2147483647 w 228"/>
                  <a:gd name="T27" fmla="*/ 2147483647 h 234"/>
                  <a:gd name="T28" fmla="*/ 2147483647 w 228"/>
                  <a:gd name="T29" fmla="*/ 2147483647 h 234"/>
                  <a:gd name="T30" fmla="*/ 2147483647 w 228"/>
                  <a:gd name="T31" fmla="*/ 2147483647 h 234"/>
                  <a:gd name="T32" fmla="*/ 2147483647 w 228"/>
                  <a:gd name="T33" fmla="*/ 2147483647 h 234"/>
                  <a:gd name="T34" fmla="*/ 2147483647 w 228"/>
                  <a:gd name="T35" fmla="*/ 2147483647 h 234"/>
                  <a:gd name="T36" fmla="*/ 0 w 228"/>
                  <a:gd name="T37" fmla="*/ 2147483647 h 23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228" h="234">
                    <a:moveTo>
                      <a:pt x="0" y="70"/>
                    </a:moveTo>
                    <a:lnTo>
                      <a:pt x="0" y="38"/>
                    </a:lnTo>
                    <a:lnTo>
                      <a:pt x="32" y="20"/>
                    </a:lnTo>
                    <a:lnTo>
                      <a:pt x="88" y="32"/>
                    </a:lnTo>
                    <a:lnTo>
                      <a:pt x="126" y="32"/>
                    </a:lnTo>
                    <a:lnTo>
                      <a:pt x="158" y="26"/>
                    </a:lnTo>
                    <a:lnTo>
                      <a:pt x="202" y="0"/>
                    </a:lnTo>
                    <a:lnTo>
                      <a:pt x="222" y="20"/>
                    </a:lnTo>
                    <a:lnTo>
                      <a:pt x="228" y="58"/>
                    </a:lnTo>
                    <a:lnTo>
                      <a:pt x="208" y="120"/>
                    </a:lnTo>
                    <a:lnTo>
                      <a:pt x="184" y="140"/>
                    </a:lnTo>
                    <a:lnTo>
                      <a:pt x="164" y="140"/>
                    </a:lnTo>
                    <a:lnTo>
                      <a:pt x="132" y="184"/>
                    </a:lnTo>
                    <a:lnTo>
                      <a:pt x="88" y="222"/>
                    </a:lnTo>
                    <a:lnTo>
                      <a:pt x="64" y="234"/>
                    </a:lnTo>
                    <a:lnTo>
                      <a:pt x="38" y="214"/>
                    </a:lnTo>
                    <a:lnTo>
                      <a:pt x="18" y="152"/>
                    </a:lnTo>
                    <a:lnTo>
                      <a:pt x="26" y="102"/>
                    </a:lnTo>
                    <a:lnTo>
                      <a:pt x="0" y="70"/>
                    </a:lnTo>
                  </a:path>
                </a:pathLst>
              </a:custGeom>
              <a:noFill/>
              <a:ln w="12700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sv-SE"/>
              </a:p>
            </p:txBody>
          </p:sp>
          <p:sp>
            <p:nvSpPr>
              <p:cNvPr id="12" name="Frihandsfigur 99">
                <a:extLst>
                  <a:ext uri="{FF2B5EF4-FFF2-40B4-BE49-F238E27FC236}">
                    <a16:creationId xmlns:a16="http://schemas.microsoft.com/office/drawing/2014/main" id="{9851809F-DD86-4AA6-8C6C-DE4D7EA4DD81}"/>
                  </a:ext>
                </a:extLst>
              </p:cNvPr>
              <p:cNvSpPr/>
              <p:nvPr/>
            </p:nvSpPr>
            <p:spPr>
              <a:xfrm>
                <a:off x="4963507" y="3563888"/>
                <a:ext cx="1511299" cy="2705100"/>
              </a:xfrm>
              <a:custGeom>
                <a:avLst/>
                <a:gdLst>
                  <a:gd name="connsiteX0" fmla="*/ 688975 w 1511300"/>
                  <a:gd name="connsiteY0" fmla="*/ 0 h 2705100"/>
                  <a:gd name="connsiteX1" fmla="*/ 536575 w 1511300"/>
                  <a:gd name="connsiteY1" fmla="*/ 238125 h 2705100"/>
                  <a:gd name="connsiteX2" fmla="*/ 530225 w 1511300"/>
                  <a:gd name="connsiteY2" fmla="*/ 279400 h 2705100"/>
                  <a:gd name="connsiteX3" fmla="*/ 463550 w 1511300"/>
                  <a:gd name="connsiteY3" fmla="*/ 415925 h 2705100"/>
                  <a:gd name="connsiteX4" fmla="*/ 377825 w 1511300"/>
                  <a:gd name="connsiteY4" fmla="*/ 393700 h 2705100"/>
                  <a:gd name="connsiteX5" fmla="*/ 352425 w 1511300"/>
                  <a:gd name="connsiteY5" fmla="*/ 374650 h 2705100"/>
                  <a:gd name="connsiteX6" fmla="*/ 307975 w 1511300"/>
                  <a:gd name="connsiteY6" fmla="*/ 377825 h 2705100"/>
                  <a:gd name="connsiteX7" fmla="*/ 282575 w 1511300"/>
                  <a:gd name="connsiteY7" fmla="*/ 355600 h 2705100"/>
                  <a:gd name="connsiteX8" fmla="*/ 250825 w 1511300"/>
                  <a:gd name="connsiteY8" fmla="*/ 501650 h 2705100"/>
                  <a:gd name="connsiteX9" fmla="*/ 225425 w 1511300"/>
                  <a:gd name="connsiteY9" fmla="*/ 549275 h 2705100"/>
                  <a:gd name="connsiteX10" fmla="*/ 203200 w 1511300"/>
                  <a:gd name="connsiteY10" fmla="*/ 781050 h 2705100"/>
                  <a:gd name="connsiteX11" fmla="*/ 114300 w 1511300"/>
                  <a:gd name="connsiteY11" fmla="*/ 917575 h 2705100"/>
                  <a:gd name="connsiteX12" fmla="*/ 107950 w 1511300"/>
                  <a:gd name="connsiteY12" fmla="*/ 1019175 h 2705100"/>
                  <a:gd name="connsiteX13" fmla="*/ 82550 w 1511300"/>
                  <a:gd name="connsiteY13" fmla="*/ 1073150 h 2705100"/>
                  <a:gd name="connsiteX14" fmla="*/ 15875 w 1511300"/>
                  <a:gd name="connsiteY14" fmla="*/ 1130300 h 2705100"/>
                  <a:gd name="connsiteX15" fmla="*/ 0 w 1511300"/>
                  <a:gd name="connsiteY15" fmla="*/ 1200150 h 2705100"/>
                  <a:gd name="connsiteX16" fmla="*/ 73025 w 1511300"/>
                  <a:gd name="connsiteY16" fmla="*/ 1352550 h 2705100"/>
                  <a:gd name="connsiteX17" fmla="*/ 177800 w 1511300"/>
                  <a:gd name="connsiteY17" fmla="*/ 1368425 h 2705100"/>
                  <a:gd name="connsiteX18" fmla="*/ 152400 w 1511300"/>
                  <a:gd name="connsiteY18" fmla="*/ 1425575 h 2705100"/>
                  <a:gd name="connsiteX19" fmla="*/ 15875 w 1511300"/>
                  <a:gd name="connsiteY19" fmla="*/ 1517650 h 2705100"/>
                  <a:gd name="connsiteX20" fmla="*/ 22225 w 1511300"/>
                  <a:gd name="connsiteY20" fmla="*/ 1574800 h 2705100"/>
                  <a:gd name="connsiteX21" fmla="*/ 50800 w 1511300"/>
                  <a:gd name="connsiteY21" fmla="*/ 1606550 h 2705100"/>
                  <a:gd name="connsiteX22" fmla="*/ 130175 w 1511300"/>
                  <a:gd name="connsiteY22" fmla="*/ 1612900 h 2705100"/>
                  <a:gd name="connsiteX23" fmla="*/ 234950 w 1511300"/>
                  <a:gd name="connsiteY23" fmla="*/ 1635125 h 2705100"/>
                  <a:gd name="connsiteX24" fmla="*/ 203200 w 1511300"/>
                  <a:gd name="connsiteY24" fmla="*/ 1708150 h 2705100"/>
                  <a:gd name="connsiteX25" fmla="*/ 238125 w 1511300"/>
                  <a:gd name="connsiteY25" fmla="*/ 1781175 h 2705100"/>
                  <a:gd name="connsiteX26" fmla="*/ 304800 w 1511300"/>
                  <a:gd name="connsiteY26" fmla="*/ 1866900 h 2705100"/>
                  <a:gd name="connsiteX27" fmla="*/ 285750 w 1511300"/>
                  <a:gd name="connsiteY27" fmla="*/ 2044700 h 2705100"/>
                  <a:gd name="connsiteX28" fmla="*/ 320675 w 1511300"/>
                  <a:gd name="connsiteY28" fmla="*/ 2159000 h 2705100"/>
                  <a:gd name="connsiteX29" fmla="*/ 260350 w 1511300"/>
                  <a:gd name="connsiteY29" fmla="*/ 2298700 h 2705100"/>
                  <a:gd name="connsiteX30" fmla="*/ 288925 w 1511300"/>
                  <a:gd name="connsiteY30" fmla="*/ 2460625 h 2705100"/>
                  <a:gd name="connsiteX31" fmla="*/ 377825 w 1511300"/>
                  <a:gd name="connsiteY31" fmla="*/ 2562225 h 2705100"/>
                  <a:gd name="connsiteX32" fmla="*/ 466725 w 1511300"/>
                  <a:gd name="connsiteY32" fmla="*/ 2286000 h 2705100"/>
                  <a:gd name="connsiteX33" fmla="*/ 492125 w 1511300"/>
                  <a:gd name="connsiteY33" fmla="*/ 2263775 h 2705100"/>
                  <a:gd name="connsiteX34" fmla="*/ 539750 w 1511300"/>
                  <a:gd name="connsiteY34" fmla="*/ 2384425 h 2705100"/>
                  <a:gd name="connsiteX35" fmla="*/ 539750 w 1511300"/>
                  <a:gd name="connsiteY35" fmla="*/ 2463800 h 2705100"/>
                  <a:gd name="connsiteX36" fmla="*/ 469900 w 1511300"/>
                  <a:gd name="connsiteY36" fmla="*/ 2587625 h 2705100"/>
                  <a:gd name="connsiteX37" fmla="*/ 539750 w 1511300"/>
                  <a:gd name="connsiteY37" fmla="*/ 2593975 h 2705100"/>
                  <a:gd name="connsiteX38" fmla="*/ 593725 w 1511300"/>
                  <a:gd name="connsiteY38" fmla="*/ 2670175 h 2705100"/>
                  <a:gd name="connsiteX39" fmla="*/ 600075 w 1511300"/>
                  <a:gd name="connsiteY39" fmla="*/ 2692400 h 2705100"/>
                  <a:gd name="connsiteX40" fmla="*/ 777875 w 1511300"/>
                  <a:gd name="connsiteY40" fmla="*/ 2705100 h 2705100"/>
                  <a:gd name="connsiteX41" fmla="*/ 942975 w 1511300"/>
                  <a:gd name="connsiteY41" fmla="*/ 2584450 h 2705100"/>
                  <a:gd name="connsiteX42" fmla="*/ 955675 w 1511300"/>
                  <a:gd name="connsiteY42" fmla="*/ 2495550 h 2705100"/>
                  <a:gd name="connsiteX43" fmla="*/ 1000125 w 1511300"/>
                  <a:gd name="connsiteY43" fmla="*/ 2447925 h 2705100"/>
                  <a:gd name="connsiteX44" fmla="*/ 974725 w 1511300"/>
                  <a:gd name="connsiteY44" fmla="*/ 2365375 h 2705100"/>
                  <a:gd name="connsiteX45" fmla="*/ 885825 w 1511300"/>
                  <a:gd name="connsiteY45" fmla="*/ 2235200 h 2705100"/>
                  <a:gd name="connsiteX46" fmla="*/ 860425 w 1511300"/>
                  <a:gd name="connsiteY46" fmla="*/ 1958975 h 2705100"/>
                  <a:gd name="connsiteX47" fmla="*/ 815975 w 1511300"/>
                  <a:gd name="connsiteY47" fmla="*/ 1905000 h 2705100"/>
                  <a:gd name="connsiteX48" fmla="*/ 927100 w 1511300"/>
                  <a:gd name="connsiteY48" fmla="*/ 1816100 h 2705100"/>
                  <a:gd name="connsiteX49" fmla="*/ 1079500 w 1511300"/>
                  <a:gd name="connsiteY49" fmla="*/ 1930400 h 2705100"/>
                  <a:gd name="connsiteX50" fmla="*/ 1225550 w 1511300"/>
                  <a:gd name="connsiteY50" fmla="*/ 1873250 h 2705100"/>
                  <a:gd name="connsiteX51" fmla="*/ 1133475 w 1511300"/>
                  <a:gd name="connsiteY51" fmla="*/ 1590675 h 2705100"/>
                  <a:gd name="connsiteX52" fmla="*/ 1057275 w 1511300"/>
                  <a:gd name="connsiteY52" fmla="*/ 1558925 h 2705100"/>
                  <a:gd name="connsiteX53" fmla="*/ 1130300 w 1511300"/>
                  <a:gd name="connsiteY53" fmla="*/ 1454150 h 2705100"/>
                  <a:gd name="connsiteX54" fmla="*/ 1216025 w 1511300"/>
                  <a:gd name="connsiteY54" fmla="*/ 1473200 h 2705100"/>
                  <a:gd name="connsiteX55" fmla="*/ 1397000 w 1511300"/>
                  <a:gd name="connsiteY55" fmla="*/ 1241425 h 2705100"/>
                  <a:gd name="connsiteX56" fmla="*/ 1409700 w 1511300"/>
                  <a:gd name="connsiteY56" fmla="*/ 1092200 h 2705100"/>
                  <a:gd name="connsiteX57" fmla="*/ 1333500 w 1511300"/>
                  <a:gd name="connsiteY57" fmla="*/ 927100 h 2705100"/>
                  <a:gd name="connsiteX58" fmla="*/ 1231900 w 1511300"/>
                  <a:gd name="connsiteY58" fmla="*/ 850900 h 2705100"/>
                  <a:gd name="connsiteX59" fmla="*/ 1304925 w 1511300"/>
                  <a:gd name="connsiteY59" fmla="*/ 752475 h 2705100"/>
                  <a:gd name="connsiteX60" fmla="*/ 1384300 w 1511300"/>
                  <a:gd name="connsiteY60" fmla="*/ 688975 h 2705100"/>
                  <a:gd name="connsiteX61" fmla="*/ 1393825 w 1511300"/>
                  <a:gd name="connsiteY61" fmla="*/ 654050 h 2705100"/>
                  <a:gd name="connsiteX62" fmla="*/ 1482725 w 1511300"/>
                  <a:gd name="connsiteY62" fmla="*/ 631825 h 2705100"/>
                  <a:gd name="connsiteX63" fmla="*/ 1511300 w 1511300"/>
                  <a:gd name="connsiteY63" fmla="*/ 593725 h 2705100"/>
                  <a:gd name="connsiteX64" fmla="*/ 1466850 w 1511300"/>
                  <a:gd name="connsiteY64" fmla="*/ 517525 h 2705100"/>
                  <a:gd name="connsiteX65" fmla="*/ 1495425 w 1511300"/>
                  <a:gd name="connsiteY65" fmla="*/ 434975 h 2705100"/>
                  <a:gd name="connsiteX66" fmla="*/ 1492250 w 1511300"/>
                  <a:gd name="connsiteY66" fmla="*/ 384175 h 2705100"/>
                  <a:gd name="connsiteX67" fmla="*/ 1263650 w 1511300"/>
                  <a:gd name="connsiteY67" fmla="*/ 314325 h 2705100"/>
                  <a:gd name="connsiteX68" fmla="*/ 1200150 w 1511300"/>
                  <a:gd name="connsiteY68" fmla="*/ 466725 h 2705100"/>
                  <a:gd name="connsiteX69" fmla="*/ 1101725 w 1511300"/>
                  <a:gd name="connsiteY69" fmla="*/ 581025 h 2705100"/>
                  <a:gd name="connsiteX70" fmla="*/ 1019175 w 1511300"/>
                  <a:gd name="connsiteY70" fmla="*/ 536575 h 2705100"/>
                  <a:gd name="connsiteX71" fmla="*/ 1016000 w 1511300"/>
                  <a:gd name="connsiteY71" fmla="*/ 485775 h 2705100"/>
                  <a:gd name="connsiteX72" fmla="*/ 806450 w 1511300"/>
                  <a:gd name="connsiteY72" fmla="*/ 495300 h 2705100"/>
                  <a:gd name="connsiteX73" fmla="*/ 758825 w 1511300"/>
                  <a:gd name="connsiteY73" fmla="*/ 460375 h 2705100"/>
                  <a:gd name="connsiteX74" fmla="*/ 711200 w 1511300"/>
                  <a:gd name="connsiteY74" fmla="*/ 273050 h 2705100"/>
                  <a:gd name="connsiteX75" fmla="*/ 835025 w 1511300"/>
                  <a:gd name="connsiteY75" fmla="*/ 142875 h 2705100"/>
                  <a:gd name="connsiteX76" fmla="*/ 704850 w 1511300"/>
                  <a:gd name="connsiteY76" fmla="*/ 95250 h 2705100"/>
                  <a:gd name="connsiteX77" fmla="*/ 688975 w 1511300"/>
                  <a:gd name="connsiteY77" fmla="*/ 0 h 2705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1511300" h="2705100">
                    <a:moveTo>
                      <a:pt x="688975" y="0"/>
                    </a:moveTo>
                    <a:lnTo>
                      <a:pt x="536575" y="238125"/>
                    </a:lnTo>
                    <a:lnTo>
                      <a:pt x="530225" y="279400"/>
                    </a:lnTo>
                    <a:lnTo>
                      <a:pt x="463550" y="415925"/>
                    </a:lnTo>
                    <a:lnTo>
                      <a:pt x="377825" y="393700"/>
                    </a:lnTo>
                    <a:lnTo>
                      <a:pt x="352425" y="374650"/>
                    </a:lnTo>
                    <a:lnTo>
                      <a:pt x="307975" y="377825"/>
                    </a:lnTo>
                    <a:lnTo>
                      <a:pt x="282575" y="355600"/>
                    </a:lnTo>
                    <a:lnTo>
                      <a:pt x="250825" y="501650"/>
                    </a:lnTo>
                    <a:lnTo>
                      <a:pt x="225425" y="549275"/>
                    </a:lnTo>
                    <a:lnTo>
                      <a:pt x="203200" y="781050"/>
                    </a:lnTo>
                    <a:lnTo>
                      <a:pt x="114300" y="917575"/>
                    </a:lnTo>
                    <a:lnTo>
                      <a:pt x="107950" y="1019175"/>
                    </a:lnTo>
                    <a:lnTo>
                      <a:pt x="82550" y="1073150"/>
                    </a:lnTo>
                    <a:lnTo>
                      <a:pt x="15875" y="1130300"/>
                    </a:lnTo>
                    <a:lnTo>
                      <a:pt x="0" y="1200150"/>
                    </a:lnTo>
                    <a:lnTo>
                      <a:pt x="73025" y="1352550"/>
                    </a:lnTo>
                    <a:lnTo>
                      <a:pt x="177800" y="1368425"/>
                    </a:lnTo>
                    <a:lnTo>
                      <a:pt x="152400" y="1425575"/>
                    </a:lnTo>
                    <a:lnTo>
                      <a:pt x="15875" y="1517650"/>
                    </a:lnTo>
                    <a:lnTo>
                      <a:pt x="22225" y="1574800"/>
                    </a:lnTo>
                    <a:lnTo>
                      <a:pt x="50800" y="1606550"/>
                    </a:lnTo>
                    <a:lnTo>
                      <a:pt x="130175" y="1612900"/>
                    </a:lnTo>
                    <a:lnTo>
                      <a:pt x="234950" y="1635125"/>
                    </a:lnTo>
                    <a:lnTo>
                      <a:pt x="203200" y="1708150"/>
                    </a:lnTo>
                    <a:lnTo>
                      <a:pt x="238125" y="1781175"/>
                    </a:lnTo>
                    <a:lnTo>
                      <a:pt x="304800" y="1866900"/>
                    </a:lnTo>
                    <a:lnTo>
                      <a:pt x="285750" y="2044700"/>
                    </a:lnTo>
                    <a:lnTo>
                      <a:pt x="320675" y="2159000"/>
                    </a:lnTo>
                    <a:lnTo>
                      <a:pt x="260350" y="2298700"/>
                    </a:lnTo>
                    <a:lnTo>
                      <a:pt x="288925" y="2460625"/>
                    </a:lnTo>
                    <a:lnTo>
                      <a:pt x="377825" y="2562225"/>
                    </a:lnTo>
                    <a:lnTo>
                      <a:pt x="466725" y="2286000"/>
                    </a:lnTo>
                    <a:lnTo>
                      <a:pt x="492125" y="2263775"/>
                    </a:lnTo>
                    <a:lnTo>
                      <a:pt x="539750" y="2384425"/>
                    </a:lnTo>
                    <a:lnTo>
                      <a:pt x="539750" y="2463800"/>
                    </a:lnTo>
                    <a:lnTo>
                      <a:pt x="469900" y="2587625"/>
                    </a:lnTo>
                    <a:lnTo>
                      <a:pt x="539750" y="2593975"/>
                    </a:lnTo>
                    <a:lnTo>
                      <a:pt x="593725" y="2670175"/>
                    </a:lnTo>
                    <a:lnTo>
                      <a:pt x="600075" y="2692400"/>
                    </a:lnTo>
                    <a:lnTo>
                      <a:pt x="777875" y="2705100"/>
                    </a:lnTo>
                    <a:lnTo>
                      <a:pt x="942975" y="2584450"/>
                    </a:lnTo>
                    <a:lnTo>
                      <a:pt x="955675" y="2495550"/>
                    </a:lnTo>
                    <a:lnTo>
                      <a:pt x="1000125" y="2447925"/>
                    </a:lnTo>
                    <a:lnTo>
                      <a:pt x="974725" y="2365375"/>
                    </a:lnTo>
                    <a:lnTo>
                      <a:pt x="885825" y="2235200"/>
                    </a:lnTo>
                    <a:lnTo>
                      <a:pt x="860425" y="1958975"/>
                    </a:lnTo>
                    <a:lnTo>
                      <a:pt x="815975" y="1905000"/>
                    </a:lnTo>
                    <a:lnTo>
                      <a:pt x="927100" y="1816100"/>
                    </a:lnTo>
                    <a:lnTo>
                      <a:pt x="1079500" y="1930400"/>
                    </a:lnTo>
                    <a:lnTo>
                      <a:pt x="1225550" y="1873250"/>
                    </a:lnTo>
                    <a:lnTo>
                      <a:pt x="1133475" y="1590675"/>
                    </a:lnTo>
                    <a:lnTo>
                      <a:pt x="1057275" y="1558925"/>
                    </a:lnTo>
                    <a:lnTo>
                      <a:pt x="1130300" y="1454150"/>
                    </a:lnTo>
                    <a:lnTo>
                      <a:pt x="1216025" y="1473200"/>
                    </a:lnTo>
                    <a:lnTo>
                      <a:pt x="1397000" y="1241425"/>
                    </a:lnTo>
                    <a:lnTo>
                      <a:pt x="1409700" y="1092200"/>
                    </a:lnTo>
                    <a:lnTo>
                      <a:pt x="1333500" y="927100"/>
                    </a:lnTo>
                    <a:lnTo>
                      <a:pt x="1231900" y="850900"/>
                    </a:lnTo>
                    <a:lnTo>
                      <a:pt x="1304925" y="752475"/>
                    </a:lnTo>
                    <a:lnTo>
                      <a:pt x="1384300" y="688975"/>
                    </a:lnTo>
                    <a:lnTo>
                      <a:pt x="1393825" y="654050"/>
                    </a:lnTo>
                    <a:lnTo>
                      <a:pt x="1482725" y="631825"/>
                    </a:lnTo>
                    <a:lnTo>
                      <a:pt x="1511300" y="593725"/>
                    </a:lnTo>
                    <a:lnTo>
                      <a:pt x="1466850" y="517525"/>
                    </a:lnTo>
                    <a:lnTo>
                      <a:pt x="1495425" y="434975"/>
                    </a:lnTo>
                    <a:lnTo>
                      <a:pt x="1492250" y="384175"/>
                    </a:lnTo>
                    <a:lnTo>
                      <a:pt x="1263650" y="314325"/>
                    </a:lnTo>
                    <a:lnTo>
                      <a:pt x="1200150" y="466725"/>
                    </a:lnTo>
                    <a:lnTo>
                      <a:pt x="1101725" y="581025"/>
                    </a:lnTo>
                    <a:lnTo>
                      <a:pt x="1019175" y="536575"/>
                    </a:lnTo>
                    <a:lnTo>
                      <a:pt x="1016000" y="485775"/>
                    </a:lnTo>
                    <a:lnTo>
                      <a:pt x="806450" y="495300"/>
                    </a:lnTo>
                    <a:lnTo>
                      <a:pt x="758825" y="460375"/>
                    </a:lnTo>
                    <a:lnTo>
                      <a:pt x="711200" y="273050"/>
                    </a:lnTo>
                    <a:lnTo>
                      <a:pt x="835025" y="142875"/>
                    </a:lnTo>
                    <a:lnTo>
                      <a:pt x="704850" y="95250"/>
                    </a:lnTo>
                    <a:lnTo>
                      <a:pt x="688975" y="0"/>
                    </a:lnTo>
                    <a:close/>
                  </a:path>
                </a:pathLst>
              </a:custGeom>
              <a:noFill/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/>
              </a:p>
            </p:txBody>
          </p:sp>
        </p:grpSp>
        <p:sp>
          <p:nvSpPr>
            <p:cNvPr id="39" name="Platshållare för innehåll 2">
              <a:extLst>
                <a:ext uri="{FF2B5EF4-FFF2-40B4-BE49-F238E27FC236}">
                  <a16:creationId xmlns:a16="http://schemas.microsoft.com/office/drawing/2014/main" id="{54921E22-5DDC-42D5-8B04-7EF6FAC0C525}"/>
                </a:ext>
              </a:extLst>
            </p:cNvPr>
            <p:cNvSpPr txBox="1">
              <a:spLocks/>
            </p:cNvSpPr>
            <p:nvPr/>
          </p:nvSpPr>
          <p:spPr>
            <a:xfrm>
              <a:off x="7395522" y="3205056"/>
              <a:ext cx="2314097" cy="492525"/>
            </a:xfrm>
            <a:prstGeom prst="rect">
              <a:avLst/>
            </a:prstGeom>
          </p:spPr>
          <p:txBody>
            <a:bodyPr vert="horz" lIns="91440" tIns="144000" rIns="91440" bIns="45720" rtlCol="0">
              <a:normAutofit/>
            </a:bodyPr>
            <a:lstStyle>
              <a:lvl1pPr marL="271463" indent="-271463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Tx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33400" indent="-26193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Tx/>
                <a:buFont typeface="Arial" panose="020B0604020202020204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06450" indent="-27305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Tx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77913" indent="-271463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Tx/>
                <a:buFont typeface="Arial" panose="020B0604020202020204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49375" indent="-271463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Tx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ts val="600"/>
                </a:spcBef>
                <a:buFont typeface="Arial" panose="020B0604020202020204" pitchFamily="34" charset="0"/>
                <a:buNone/>
              </a:pPr>
              <a:r>
                <a:rPr lang="sv-SE" sz="1600" dirty="0">
                  <a:solidFill>
                    <a:schemeClr val="tx2"/>
                  </a:solidFill>
                  <a:latin typeface="Galaxie Polaris Medium" panose="02000000000000000000" pitchFamily="50" charset="0"/>
                  <a:ea typeface="Galaxie Polaris Medium" panose="02000000000000000000" pitchFamily="50" charset="0"/>
                  <a:cs typeface="Galaxie Polaris Medium" panose="02000000000000000000" pitchFamily="50" charset="0"/>
                </a:rPr>
                <a:t>Göteborgsregionen</a:t>
              </a:r>
              <a:endParaRPr lang="sv-SE" dirty="0">
                <a:solidFill>
                  <a:schemeClr val="tx2"/>
                </a:solidFill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endParaRPr>
            </a:p>
          </p:txBody>
        </p:sp>
      </p:grpSp>
      <p:cxnSp>
        <p:nvCxnSpPr>
          <p:cNvPr id="42" name="Koppling: vinklad 41">
            <a:extLst>
              <a:ext uri="{FF2B5EF4-FFF2-40B4-BE49-F238E27FC236}">
                <a16:creationId xmlns:a16="http://schemas.microsoft.com/office/drawing/2014/main" id="{C716D82A-1BD3-4B5C-81D2-A732853E8730}"/>
              </a:ext>
            </a:extLst>
          </p:cNvPr>
          <p:cNvCxnSpPr>
            <a:cxnSpLocks/>
            <a:stCxn id="44" idx="2"/>
            <a:endCxn id="43" idx="2"/>
          </p:cNvCxnSpPr>
          <p:nvPr/>
        </p:nvCxnSpPr>
        <p:spPr>
          <a:xfrm rot="16200000" flipH="1">
            <a:off x="8576958" y="1422112"/>
            <a:ext cx="12700" cy="2687740"/>
          </a:xfrm>
          <a:prstGeom prst="bentConnector3">
            <a:avLst>
              <a:gd name="adj1" fmla="val 1800000"/>
            </a:avLst>
          </a:prstGeom>
          <a:ln w="28575" cap="rnd">
            <a:solidFill>
              <a:schemeClr val="tx2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Platshållare för innehåll 2">
            <a:extLst>
              <a:ext uri="{FF2B5EF4-FFF2-40B4-BE49-F238E27FC236}">
                <a16:creationId xmlns:a16="http://schemas.microsoft.com/office/drawing/2014/main" id="{F7A1974F-153B-47C5-B920-946D3FA48FE5}"/>
              </a:ext>
            </a:extLst>
          </p:cNvPr>
          <p:cNvSpPr txBox="1">
            <a:spLocks/>
          </p:cNvSpPr>
          <p:nvPr/>
        </p:nvSpPr>
        <p:spPr>
          <a:xfrm>
            <a:off x="8334453" y="1508842"/>
            <a:ext cx="3172749" cy="12571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71463" indent="-2714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19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sv-SE" dirty="0"/>
              <a:t>Ser bra ut med: jobbtillväxt, minskande arbetslöshet, fler</a:t>
            </a:r>
            <a:br>
              <a:rPr lang="sv-SE" dirty="0"/>
            </a:br>
            <a:r>
              <a:rPr lang="sv-SE" dirty="0"/>
              <a:t>lediga platser och få varsel </a:t>
            </a:r>
          </a:p>
          <a:p>
            <a:pPr marL="0" indent="0" algn="ctr">
              <a:buNone/>
            </a:pPr>
            <a:r>
              <a:rPr lang="sv-SE" dirty="0"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rPr>
              <a:t>Arbetsmarknad</a:t>
            </a:r>
          </a:p>
          <a:p>
            <a:endParaRPr lang="sv-SE" dirty="0"/>
          </a:p>
        </p:txBody>
      </p:sp>
      <p:sp>
        <p:nvSpPr>
          <p:cNvPr id="44" name="Platshållare för innehåll 2">
            <a:extLst>
              <a:ext uri="{FF2B5EF4-FFF2-40B4-BE49-F238E27FC236}">
                <a16:creationId xmlns:a16="http://schemas.microsoft.com/office/drawing/2014/main" id="{76B4FBA4-AE5C-44D3-933D-5F0AF2B3CB73}"/>
              </a:ext>
            </a:extLst>
          </p:cNvPr>
          <p:cNvSpPr txBox="1">
            <a:spLocks/>
          </p:cNvSpPr>
          <p:nvPr/>
        </p:nvSpPr>
        <p:spPr>
          <a:xfrm>
            <a:off x="5646713" y="1508842"/>
            <a:ext cx="3172749" cy="12571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71463" indent="-2714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19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sv-SE" dirty="0"/>
              <a:t>Går starkt i nuläget och</a:t>
            </a:r>
            <a:br>
              <a:rPr lang="sv-SE" dirty="0"/>
            </a:br>
            <a:r>
              <a:rPr lang="sv-SE" dirty="0"/>
              <a:t>spås lägga i en högre växel</a:t>
            </a:r>
            <a:br>
              <a:rPr lang="sv-SE" dirty="0"/>
            </a:br>
            <a:r>
              <a:rPr lang="sv-SE" dirty="0"/>
              <a:t>i inledningen av 2022 </a:t>
            </a:r>
          </a:p>
          <a:p>
            <a:pPr marL="0" indent="0" algn="ctr">
              <a:buNone/>
            </a:pPr>
            <a:r>
              <a:rPr lang="sv-SE" dirty="0"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rPr>
              <a:t>Företagssektor</a:t>
            </a:r>
          </a:p>
          <a:p>
            <a:endParaRPr lang="sv-SE" dirty="0"/>
          </a:p>
        </p:txBody>
      </p:sp>
      <p:cxnSp>
        <p:nvCxnSpPr>
          <p:cNvPr id="49" name="Rak koppling 48">
            <a:extLst>
              <a:ext uri="{FF2B5EF4-FFF2-40B4-BE49-F238E27FC236}">
                <a16:creationId xmlns:a16="http://schemas.microsoft.com/office/drawing/2014/main" id="{56530B84-F870-4099-954E-B927468F1811}"/>
              </a:ext>
            </a:extLst>
          </p:cNvPr>
          <p:cNvCxnSpPr/>
          <p:nvPr/>
        </p:nvCxnSpPr>
        <p:spPr>
          <a:xfrm>
            <a:off x="8572500" y="3001992"/>
            <a:ext cx="0" cy="288000"/>
          </a:xfrm>
          <a:prstGeom prst="line">
            <a:avLst/>
          </a:prstGeom>
          <a:ln w="28575" cap="rnd">
            <a:solidFill>
              <a:schemeClr val="tx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74947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914C494-AF23-45E7-B12B-1EFAA269E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Några orosmoment som lurar</a:t>
            </a:r>
            <a:r>
              <a:rPr lang="sv-SE" b="0" dirty="0">
                <a:latin typeface="Arial Rounded MT Bold" panose="020F0704030504030204" pitchFamily="34" charset="0"/>
              </a:rPr>
              <a:t>…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BA8EEDD8-B5F6-46FB-808D-D2A353F75D0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2690813"/>
            <a:ext cx="4327775" cy="2490787"/>
          </a:xfrm>
          <a:ln>
            <a:noFill/>
          </a:ln>
        </p:spPr>
        <p:txBody>
          <a:bodyPr>
            <a:normAutofit/>
          </a:bodyPr>
          <a:lstStyle/>
          <a:p>
            <a:r>
              <a:rPr lang="sv-SE" b="1" dirty="0"/>
              <a:t>Utropstecken</a:t>
            </a:r>
          </a:p>
          <a:p>
            <a:pPr>
              <a:buFontTx/>
              <a:buChar char="-"/>
            </a:pPr>
            <a:r>
              <a:rPr lang="sv-SE" dirty="0"/>
              <a:t>Prisstegringar för daglig- och sällanköpsvaror</a:t>
            </a:r>
          </a:p>
          <a:p>
            <a:pPr>
              <a:buFontTx/>
              <a:buChar char="-"/>
            </a:pPr>
            <a:r>
              <a:rPr lang="sv-SE" dirty="0"/>
              <a:t>Dyrare energipriser, bl.a. i Sydsverige</a:t>
            </a:r>
          </a:p>
          <a:p>
            <a:pPr>
              <a:buFontTx/>
              <a:buChar char="-"/>
            </a:pPr>
            <a:r>
              <a:rPr lang="sv-SE" dirty="0"/>
              <a:t>Ränteläget - bostadspriser</a:t>
            </a:r>
          </a:p>
          <a:p>
            <a:pPr>
              <a:buFontTx/>
              <a:buChar char="-"/>
            </a:pPr>
            <a:r>
              <a:rPr lang="sv-SE" dirty="0"/>
              <a:t>Omfattande kompetensomställningsbehov inom flera branscher de närmaste 5-10 åren</a:t>
            </a:r>
          </a:p>
          <a:p>
            <a:pPr marL="0" indent="0">
              <a:buNone/>
            </a:pPr>
            <a:endParaRPr lang="sv-SE" i="1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24EA043-37C7-4139-8CCE-8790E3D4B499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29DA2F7-904B-4421-BD1B-DCC18D343A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  <p:sp>
        <p:nvSpPr>
          <p:cNvPr id="9" name="Platshållare för innehåll 3">
            <a:extLst>
              <a:ext uri="{FF2B5EF4-FFF2-40B4-BE49-F238E27FC236}">
                <a16:creationId xmlns:a16="http://schemas.microsoft.com/office/drawing/2014/main" id="{04C0AFD6-59F5-4F59-897E-A3BF12D679FE}"/>
              </a:ext>
            </a:extLst>
          </p:cNvPr>
          <p:cNvSpPr txBox="1">
            <a:spLocks/>
          </p:cNvSpPr>
          <p:nvPr/>
        </p:nvSpPr>
        <p:spPr>
          <a:xfrm>
            <a:off x="6660167" y="2676340"/>
            <a:ext cx="4740065" cy="250526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271463" indent="-2714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19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1463" marR="0" lvl="0" indent="-271463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me changers</a:t>
            </a:r>
          </a:p>
          <a:p>
            <a:pPr marL="271463" marR="0" lvl="0" indent="-271463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yssland-Ukraina konflikten</a:t>
            </a:r>
          </a:p>
          <a:p>
            <a:pPr marL="271463" marR="0" lvl="0" indent="-271463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sv-SE" dirty="0">
                <a:solidFill>
                  <a:prstClr val="black"/>
                </a:solidFill>
                <a:latin typeface="Arial"/>
              </a:rPr>
              <a:t>Pandemins efterdyning: långa ledtider för</a:t>
            </a:r>
            <a:br>
              <a:rPr lang="sv-SE" dirty="0">
                <a:solidFill>
                  <a:prstClr val="black"/>
                </a:solidFill>
                <a:latin typeface="Arial"/>
              </a:rPr>
            </a:br>
            <a:r>
              <a:rPr lang="sv-SE" dirty="0">
                <a:solidFill>
                  <a:prstClr val="black"/>
                </a:solidFill>
                <a:latin typeface="Arial"/>
              </a:rPr>
              <a:t>transporter, långsamtgående insatsproduktion, </a:t>
            </a:r>
            <a:br>
              <a:rPr lang="sv-SE" dirty="0">
                <a:solidFill>
                  <a:prstClr val="black"/>
                </a:solidFill>
                <a:latin typeface="Arial"/>
              </a:rPr>
            </a:br>
            <a:r>
              <a:rPr lang="sv-SE" dirty="0">
                <a:solidFill>
                  <a:prstClr val="black"/>
                </a:solidFill>
                <a:latin typeface="Arial"/>
              </a:rPr>
              <a:t>t ex 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lvledare mm.</a:t>
            </a:r>
          </a:p>
        </p:txBody>
      </p:sp>
      <p:sp>
        <p:nvSpPr>
          <p:cNvPr id="18" name="Platshållare för innehåll 3">
            <a:extLst>
              <a:ext uri="{FF2B5EF4-FFF2-40B4-BE49-F238E27FC236}">
                <a16:creationId xmlns:a16="http://schemas.microsoft.com/office/drawing/2014/main" id="{C9B023D7-4FA4-4AD6-8735-B1CFB54B280E}"/>
              </a:ext>
            </a:extLst>
          </p:cNvPr>
          <p:cNvSpPr txBox="1">
            <a:spLocks/>
          </p:cNvSpPr>
          <p:nvPr/>
        </p:nvSpPr>
        <p:spPr>
          <a:xfrm>
            <a:off x="838200" y="5192930"/>
            <a:ext cx="4327775" cy="578741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271463" indent="-2714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19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sv-SE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fekt: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kan hämma inhemsk konsumtionsutveckling och jobbtillväxt över hela landet</a:t>
            </a:r>
          </a:p>
        </p:txBody>
      </p:sp>
      <p:sp>
        <p:nvSpPr>
          <p:cNvPr id="19" name="Platshållare för innehåll 3">
            <a:extLst>
              <a:ext uri="{FF2B5EF4-FFF2-40B4-BE49-F238E27FC236}">
                <a16:creationId xmlns:a16="http://schemas.microsoft.com/office/drawing/2014/main" id="{2257649E-0162-4761-BDA7-C33CF8CED893}"/>
              </a:ext>
            </a:extLst>
          </p:cNvPr>
          <p:cNvSpPr txBox="1">
            <a:spLocks/>
          </p:cNvSpPr>
          <p:nvPr/>
        </p:nvSpPr>
        <p:spPr>
          <a:xfrm>
            <a:off x="6613735" y="5189356"/>
            <a:ext cx="4740065" cy="62748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271463" indent="-2714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2619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730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sv-SE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fekt: 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n få extrema multiplikatoreffekter som drabbar inte bara regionen, utan hela rikets ekonomi </a:t>
            </a:r>
          </a:p>
        </p:txBody>
      </p:sp>
      <p:grpSp>
        <p:nvGrpSpPr>
          <p:cNvPr id="23" name="Grupp 22">
            <a:extLst>
              <a:ext uri="{FF2B5EF4-FFF2-40B4-BE49-F238E27FC236}">
                <a16:creationId xmlns:a16="http://schemas.microsoft.com/office/drawing/2014/main" id="{C5E16C38-00B5-49DC-ACC9-02C2996DFF4F}"/>
              </a:ext>
            </a:extLst>
          </p:cNvPr>
          <p:cNvGrpSpPr/>
          <p:nvPr/>
        </p:nvGrpSpPr>
        <p:grpSpPr>
          <a:xfrm>
            <a:off x="6993946" y="1195039"/>
            <a:ext cx="3706019" cy="1707358"/>
            <a:chOff x="6993946" y="1195039"/>
            <a:chExt cx="3706019" cy="1707358"/>
          </a:xfrm>
        </p:grpSpPr>
        <p:pic>
          <p:nvPicPr>
            <p:cNvPr id="7" name="Bildobjekt 6">
              <a:extLst>
                <a:ext uri="{FF2B5EF4-FFF2-40B4-BE49-F238E27FC236}">
                  <a16:creationId xmlns:a16="http://schemas.microsoft.com/office/drawing/2014/main" id="{92FB9122-98F0-49DE-8973-40F025E7DE3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93946" y="1195039"/>
              <a:ext cx="1707358" cy="1707358"/>
            </a:xfrm>
            <a:prstGeom prst="rect">
              <a:avLst/>
            </a:prstGeom>
          </p:spPr>
        </p:pic>
        <p:pic>
          <p:nvPicPr>
            <p:cNvPr id="20" name="Bild 19" descr="Kommentar överstruken tystnad kontur">
              <a:extLst>
                <a:ext uri="{FF2B5EF4-FFF2-40B4-BE49-F238E27FC236}">
                  <a16:creationId xmlns:a16="http://schemas.microsoft.com/office/drawing/2014/main" id="{EB2E01A9-CF4D-4CD5-905D-9C34875B5E8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628473" y="1683533"/>
              <a:ext cx="914400" cy="914400"/>
            </a:xfrm>
            <a:prstGeom prst="rect">
              <a:avLst/>
            </a:prstGeom>
          </p:spPr>
        </p:pic>
        <p:pic>
          <p:nvPicPr>
            <p:cNvPr id="22" name="Bild 21" descr="Processor kontur">
              <a:extLst>
                <a:ext uri="{FF2B5EF4-FFF2-40B4-BE49-F238E27FC236}">
                  <a16:creationId xmlns:a16="http://schemas.microsoft.com/office/drawing/2014/main" id="{894146EE-25F5-4A1A-A513-7CC25480461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785565" y="1662277"/>
              <a:ext cx="914400" cy="914400"/>
            </a:xfrm>
            <a:prstGeom prst="rect">
              <a:avLst/>
            </a:prstGeom>
          </p:spPr>
        </p:pic>
      </p:grpSp>
      <p:grpSp>
        <p:nvGrpSpPr>
          <p:cNvPr id="10" name="Grupp 9">
            <a:extLst>
              <a:ext uri="{FF2B5EF4-FFF2-40B4-BE49-F238E27FC236}">
                <a16:creationId xmlns:a16="http://schemas.microsoft.com/office/drawing/2014/main" id="{84ECA170-5B34-4607-8C59-7BBB1B68E253}"/>
              </a:ext>
            </a:extLst>
          </p:cNvPr>
          <p:cNvGrpSpPr/>
          <p:nvPr/>
        </p:nvGrpSpPr>
        <p:grpSpPr>
          <a:xfrm>
            <a:off x="1165216" y="1230766"/>
            <a:ext cx="3805462" cy="1620000"/>
            <a:chOff x="1165216" y="1230766"/>
            <a:chExt cx="3805462" cy="1620000"/>
          </a:xfrm>
        </p:grpSpPr>
        <p:pic>
          <p:nvPicPr>
            <p:cNvPr id="21" name="Bildobjekt 20" descr="En bild som visar objekt, klocka&#10;&#10;Automatiskt genererad beskrivning">
              <a:extLst>
                <a:ext uri="{FF2B5EF4-FFF2-40B4-BE49-F238E27FC236}">
                  <a16:creationId xmlns:a16="http://schemas.microsoft.com/office/drawing/2014/main" id="{DAA6EFBE-C4F2-43FF-BB55-A9A8AAD7998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0678" y="1230766"/>
              <a:ext cx="1620000" cy="1620000"/>
            </a:xfrm>
            <a:prstGeom prst="rect">
              <a:avLst/>
            </a:prstGeom>
          </p:spPr>
        </p:pic>
        <p:pic>
          <p:nvPicPr>
            <p:cNvPr id="14" name="Bildobjekt 13">
              <a:extLst>
                <a:ext uri="{FF2B5EF4-FFF2-40B4-BE49-F238E27FC236}">
                  <a16:creationId xmlns:a16="http://schemas.microsoft.com/office/drawing/2014/main" id="{16A90D40-0DD0-4038-871E-1A776559CF4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65216" y="1368523"/>
              <a:ext cx="1476000" cy="1476000"/>
            </a:xfrm>
            <a:prstGeom prst="rect">
              <a:avLst/>
            </a:prstGeom>
          </p:spPr>
        </p:pic>
        <p:pic>
          <p:nvPicPr>
            <p:cNvPr id="25" name="Bild 24" descr="Högspänning kontur">
              <a:extLst>
                <a:ext uri="{FF2B5EF4-FFF2-40B4-BE49-F238E27FC236}">
                  <a16:creationId xmlns:a16="http://schemas.microsoft.com/office/drawing/2014/main" id="{CA62E9C6-BD09-4EDF-B769-4C4DC45FCF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581712" y="1657274"/>
              <a:ext cx="914400" cy="914400"/>
            </a:xfrm>
            <a:prstGeom prst="rect">
              <a:avLst/>
            </a:prstGeom>
          </p:spPr>
        </p:pic>
      </p:grpSp>
      <p:sp>
        <p:nvSpPr>
          <p:cNvPr id="12" name="textruta 11">
            <a:extLst>
              <a:ext uri="{FF2B5EF4-FFF2-40B4-BE49-F238E27FC236}">
                <a16:creationId xmlns:a16="http://schemas.microsoft.com/office/drawing/2014/main" id="{F5D8D43F-D8B3-4FA1-82B6-A7D86B4E38E9}"/>
              </a:ext>
            </a:extLst>
          </p:cNvPr>
          <p:cNvSpPr txBox="1"/>
          <p:nvPr/>
        </p:nvSpPr>
        <p:spPr>
          <a:xfrm>
            <a:off x="469126" y="5125340"/>
            <a:ext cx="5168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3600" dirty="0">
                <a:solidFill>
                  <a:schemeClr val="accent2"/>
                </a:solidFill>
                <a:latin typeface="Arial Rounded MT Bold" panose="020F0704030504030204" pitchFamily="34" charset="0"/>
              </a:rPr>
              <a:t>!</a:t>
            </a:r>
          </a:p>
        </p:txBody>
      </p:sp>
      <p:sp>
        <p:nvSpPr>
          <p:cNvPr id="24" name="textruta 23">
            <a:extLst>
              <a:ext uri="{FF2B5EF4-FFF2-40B4-BE49-F238E27FC236}">
                <a16:creationId xmlns:a16="http://schemas.microsoft.com/office/drawing/2014/main" id="{C7316A9C-8125-45C4-9475-0EA75CFC7062}"/>
              </a:ext>
            </a:extLst>
          </p:cNvPr>
          <p:cNvSpPr txBox="1"/>
          <p:nvPr/>
        </p:nvSpPr>
        <p:spPr>
          <a:xfrm>
            <a:off x="6244471" y="5125339"/>
            <a:ext cx="5168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3600" dirty="0">
                <a:solidFill>
                  <a:schemeClr val="accent2"/>
                </a:solidFill>
                <a:latin typeface="Arial Rounded MT Bold" panose="020F0704030504030204" pitchFamily="34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040873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 dir="d"/>
      </p:transition>
    </mc:Choice>
    <mc:Fallback xmlns="">
      <p:transition spd="slow">
        <p:pull dir="d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9" grpId="0"/>
      <p:bldP spid="2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ruta 3">
            <a:extLst>
              <a:ext uri="{FF2B5EF4-FFF2-40B4-BE49-F238E27FC236}">
                <a16:creationId xmlns:a16="http://schemas.microsoft.com/office/drawing/2014/main" id="{64C8D7F5-BAC7-4417-B9E6-AF0B4EC669BD}"/>
              </a:ext>
            </a:extLst>
          </p:cNvPr>
          <p:cNvSpPr txBox="1"/>
          <p:nvPr/>
        </p:nvSpPr>
        <p:spPr>
          <a:xfrm>
            <a:off x="437318" y="435513"/>
            <a:ext cx="206071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200" b="1" dirty="0">
                <a:solidFill>
                  <a:schemeClr val="bg1"/>
                </a:solidFill>
              </a:rPr>
              <a:t>Tack för att ni lyssnade!</a:t>
            </a:r>
          </a:p>
        </p:txBody>
      </p:sp>
      <p:pic>
        <p:nvPicPr>
          <p:cNvPr id="3" name="Bild 2" descr="Leende ansikte, kontur kontur">
            <a:extLst>
              <a:ext uri="{FF2B5EF4-FFF2-40B4-BE49-F238E27FC236}">
                <a16:creationId xmlns:a16="http://schemas.microsoft.com/office/drawing/2014/main" id="{3C3FACB8-7CD1-4A2E-B620-7E238E7B85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05323" y="36303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19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 dir="d"/>
      </p:transition>
    </mc:Choice>
    <mc:Fallback xmlns="">
      <p:transition spd="slow">
        <p:pull dir="d"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10D70D12-418D-4B7A-9902-8EFD6CBDE7CA}"/>
              </a:ext>
            </a:extLst>
          </p:cNvPr>
          <p:cNvSpPr/>
          <p:nvPr/>
        </p:nvSpPr>
        <p:spPr>
          <a:xfrm>
            <a:off x="4067999" y="0"/>
            <a:ext cx="812400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7E015D91-BF0A-4211-A16C-6C6897E82625}"/>
              </a:ext>
            </a:extLst>
          </p:cNvPr>
          <p:cNvSpPr/>
          <p:nvPr/>
        </p:nvSpPr>
        <p:spPr>
          <a:xfrm>
            <a:off x="8135999" y="1"/>
            <a:ext cx="4056000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EED0D000-84C6-48B8-92ED-C7CB7E35D1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  <p:sp>
        <p:nvSpPr>
          <p:cNvPr id="12" name="textruta 11">
            <a:extLst>
              <a:ext uri="{FF2B5EF4-FFF2-40B4-BE49-F238E27FC236}">
                <a16:creationId xmlns:a16="http://schemas.microsoft.com/office/drawing/2014/main" id="{02959224-A5C0-4870-815C-41A2D9BAD179}"/>
              </a:ext>
            </a:extLst>
          </p:cNvPr>
          <p:cNvSpPr txBox="1"/>
          <p:nvPr/>
        </p:nvSpPr>
        <p:spPr>
          <a:xfrm>
            <a:off x="0" y="1472607"/>
            <a:ext cx="40679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200" b="1" i="0" u="none" strike="noStrike" kern="1200" cap="none" spc="0" normalizeH="0" baseline="0" noProof="0" dirty="0">
                <a:ln>
                  <a:noFill/>
                </a:ln>
                <a:solidFill>
                  <a:srgbClr val="3B5776"/>
                </a:solidFill>
                <a:effectLst/>
                <a:uLnTx/>
                <a:uFillTx/>
                <a:latin typeface="Arial" panose="020B0604020202020204" pitchFamily="34" charset="0"/>
                <a:ea typeface="Galaxie Polaris Medium" panose="02000000000000000000" pitchFamily="50" charset="0"/>
                <a:cs typeface="Arial" panose="020B0604020202020204" pitchFamily="34" charset="0"/>
              </a:rPr>
              <a:t>Globalt</a:t>
            </a:r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A2D631BA-A393-49E6-850A-E905374B1DD4}"/>
              </a:ext>
            </a:extLst>
          </p:cNvPr>
          <p:cNvSpPr txBox="1"/>
          <p:nvPr/>
        </p:nvSpPr>
        <p:spPr>
          <a:xfrm>
            <a:off x="4067999" y="1472607"/>
            <a:ext cx="405600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200" b="1" i="0" u="none" strike="noStrike" kern="1200" cap="none" spc="0" normalizeH="0" baseline="0" noProof="0" dirty="0">
                <a:ln>
                  <a:noFill/>
                </a:ln>
                <a:solidFill>
                  <a:srgbClr val="3B5776"/>
                </a:solidFill>
                <a:effectLst/>
                <a:uLnTx/>
                <a:uFillTx/>
                <a:latin typeface="Arial" panose="020B0604020202020204" pitchFamily="34" charset="0"/>
                <a:ea typeface="Galaxie Polaris Medium" panose="02000000000000000000" pitchFamily="50" charset="0"/>
                <a:cs typeface="Arial" panose="020B0604020202020204" pitchFamily="34" charset="0"/>
              </a:rPr>
              <a:t>Sverige</a:t>
            </a:r>
          </a:p>
        </p:txBody>
      </p:sp>
      <p:sp>
        <p:nvSpPr>
          <p:cNvPr id="14" name="textruta 13">
            <a:extLst>
              <a:ext uri="{FF2B5EF4-FFF2-40B4-BE49-F238E27FC236}">
                <a16:creationId xmlns:a16="http://schemas.microsoft.com/office/drawing/2014/main" id="{6F094970-7247-42AE-8D97-F9DB8DB66785}"/>
              </a:ext>
            </a:extLst>
          </p:cNvPr>
          <p:cNvSpPr txBox="1"/>
          <p:nvPr/>
        </p:nvSpPr>
        <p:spPr>
          <a:xfrm>
            <a:off x="8135997" y="1472606"/>
            <a:ext cx="40559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200" b="1" i="0" u="none" strike="noStrike" kern="1200" cap="none" spc="0" normalizeH="0" baseline="0" noProof="0" dirty="0">
                <a:ln>
                  <a:noFill/>
                </a:ln>
                <a:solidFill>
                  <a:srgbClr val="3B5776"/>
                </a:solidFill>
                <a:effectLst/>
                <a:uLnTx/>
                <a:uFillTx/>
                <a:latin typeface="Arial" panose="020B0604020202020204" pitchFamily="34" charset="0"/>
                <a:ea typeface="Galaxie Polaris Medium" panose="02000000000000000000" pitchFamily="50" charset="0"/>
                <a:cs typeface="Arial" panose="020B0604020202020204" pitchFamily="34" charset="0"/>
              </a:rPr>
              <a:t>Göteborgsregionen</a:t>
            </a:r>
          </a:p>
        </p:txBody>
      </p:sp>
      <p:pic>
        <p:nvPicPr>
          <p:cNvPr id="15" name="Bildobjekt 14">
            <a:extLst>
              <a:ext uri="{FF2B5EF4-FFF2-40B4-BE49-F238E27FC236}">
                <a16:creationId xmlns:a16="http://schemas.microsoft.com/office/drawing/2014/main" id="{309DA7C5-EA70-4AA3-9B36-D046D79AA3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494" y="2038211"/>
            <a:ext cx="2390315" cy="2390315"/>
          </a:xfrm>
          <a:prstGeom prst="rect">
            <a:avLst/>
          </a:prstGeom>
        </p:spPr>
      </p:pic>
      <p:sp>
        <p:nvSpPr>
          <p:cNvPr id="23" name="Frihandsfigur 17">
            <a:extLst>
              <a:ext uri="{FF2B5EF4-FFF2-40B4-BE49-F238E27FC236}">
                <a16:creationId xmlns:a16="http://schemas.microsoft.com/office/drawing/2014/main" id="{36EBF4F1-565E-4A9F-A0DF-C12EE9DE5790}"/>
              </a:ext>
            </a:extLst>
          </p:cNvPr>
          <p:cNvSpPr/>
          <p:nvPr/>
        </p:nvSpPr>
        <p:spPr>
          <a:xfrm>
            <a:off x="5672890" y="2287685"/>
            <a:ext cx="909770" cy="2143894"/>
          </a:xfrm>
          <a:custGeom>
            <a:avLst/>
            <a:gdLst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33680 w 3505200"/>
              <a:gd name="connsiteY69" fmla="*/ 6543040 h 8260080"/>
              <a:gd name="connsiteX70" fmla="*/ 152400 w 3505200"/>
              <a:gd name="connsiteY70" fmla="*/ 6776720 h 8260080"/>
              <a:gd name="connsiteX71" fmla="*/ 233680 w 3505200"/>
              <a:gd name="connsiteY71" fmla="*/ 6959600 h 8260080"/>
              <a:gd name="connsiteX72" fmla="*/ 304800 w 3505200"/>
              <a:gd name="connsiteY72" fmla="*/ 7020560 h 8260080"/>
              <a:gd name="connsiteX73" fmla="*/ 264160 w 3505200"/>
              <a:gd name="connsiteY73" fmla="*/ 7122160 h 8260080"/>
              <a:gd name="connsiteX74" fmla="*/ 335280 w 3505200"/>
              <a:gd name="connsiteY74" fmla="*/ 7193280 h 8260080"/>
              <a:gd name="connsiteX75" fmla="*/ 325120 w 3505200"/>
              <a:gd name="connsiteY75" fmla="*/ 7254240 h 8260080"/>
              <a:gd name="connsiteX76" fmla="*/ 325120 w 3505200"/>
              <a:gd name="connsiteY76" fmla="*/ 7254240 h 8260080"/>
              <a:gd name="connsiteX77" fmla="*/ 325120 w 3505200"/>
              <a:gd name="connsiteY77" fmla="*/ 7355840 h 8260080"/>
              <a:gd name="connsiteX78" fmla="*/ 447040 w 3505200"/>
              <a:gd name="connsiteY78" fmla="*/ 7366000 h 8260080"/>
              <a:gd name="connsiteX79" fmla="*/ 447040 w 3505200"/>
              <a:gd name="connsiteY79" fmla="*/ 7477760 h 8260080"/>
              <a:gd name="connsiteX80" fmla="*/ 558800 w 3505200"/>
              <a:gd name="connsiteY80" fmla="*/ 7528560 h 8260080"/>
              <a:gd name="connsiteX81" fmla="*/ 508000 w 3505200"/>
              <a:gd name="connsiteY81" fmla="*/ 7630160 h 8260080"/>
              <a:gd name="connsiteX82" fmla="*/ 436880 w 3505200"/>
              <a:gd name="connsiteY82" fmla="*/ 7609840 h 8260080"/>
              <a:gd name="connsiteX83" fmla="*/ 447040 w 3505200"/>
              <a:gd name="connsiteY83" fmla="*/ 7691120 h 8260080"/>
              <a:gd name="connsiteX84" fmla="*/ 518160 w 3505200"/>
              <a:gd name="connsiteY84" fmla="*/ 7741920 h 8260080"/>
              <a:gd name="connsiteX85" fmla="*/ 457200 w 3505200"/>
              <a:gd name="connsiteY85" fmla="*/ 7792720 h 8260080"/>
              <a:gd name="connsiteX86" fmla="*/ 396240 w 3505200"/>
              <a:gd name="connsiteY86" fmla="*/ 7701280 h 8260080"/>
              <a:gd name="connsiteX87" fmla="*/ 396240 w 3505200"/>
              <a:gd name="connsiteY87" fmla="*/ 7701280 h 8260080"/>
              <a:gd name="connsiteX88" fmla="*/ 436880 w 3505200"/>
              <a:gd name="connsiteY88" fmla="*/ 7874000 h 8260080"/>
              <a:gd name="connsiteX89" fmla="*/ 436880 w 3505200"/>
              <a:gd name="connsiteY89" fmla="*/ 7924800 h 8260080"/>
              <a:gd name="connsiteX90" fmla="*/ 548640 w 3505200"/>
              <a:gd name="connsiteY90" fmla="*/ 7965440 h 8260080"/>
              <a:gd name="connsiteX91" fmla="*/ 508000 w 3505200"/>
              <a:gd name="connsiteY91" fmla="*/ 8016240 h 8260080"/>
              <a:gd name="connsiteX92" fmla="*/ 589280 w 3505200"/>
              <a:gd name="connsiteY92" fmla="*/ 8056880 h 8260080"/>
              <a:gd name="connsiteX93" fmla="*/ 497840 w 3505200"/>
              <a:gd name="connsiteY93" fmla="*/ 8117840 h 8260080"/>
              <a:gd name="connsiteX94" fmla="*/ 518160 w 3505200"/>
              <a:gd name="connsiteY94" fmla="*/ 8209280 h 8260080"/>
              <a:gd name="connsiteX95" fmla="*/ 640080 w 3505200"/>
              <a:gd name="connsiteY95" fmla="*/ 8260080 h 8260080"/>
              <a:gd name="connsiteX96" fmla="*/ 731520 w 3505200"/>
              <a:gd name="connsiteY96" fmla="*/ 8219440 h 8260080"/>
              <a:gd name="connsiteX97" fmla="*/ 853440 w 3505200"/>
              <a:gd name="connsiteY97" fmla="*/ 8209280 h 8260080"/>
              <a:gd name="connsiteX98" fmla="*/ 955040 w 3505200"/>
              <a:gd name="connsiteY98" fmla="*/ 8260080 h 8260080"/>
              <a:gd name="connsiteX99" fmla="*/ 965200 w 3505200"/>
              <a:gd name="connsiteY99" fmla="*/ 8107680 h 8260080"/>
              <a:gd name="connsiteX100" fmla="*/ 894080 w 3505200"/>
              <a:gd name="connsiteY100" fmla="*/ 8026400 h 8260080"/>
              <a:gd name="connsiteX101" fmla="*/ 1016000 w 3505200"/>
              <a:gd name="connsiteY101" fmla="*/ 7863840 h 8260080"/>
              <a:gd name="connsiteX102" fmla="*/ 1107440 w 3505200"/>
              <a:gd name="connsiteY102" fmla="*/ 7894320 h 8260080"/>
              <a:gd name="connsiteX103" fmla="*/ 1127760 w 3505200"/>
              <a:gd name="connsiteY103" fmla="*/ 7853680 h 8260080"/>
              <a:gd name="connsiteX104" fmla="*/ 1066800 w 3505200"/>
              <a:gd name="connsiteY104" fmla="*/ 7813040 h 8260080"/>
              <a:gd name="connsiteX105" fmla="*/ 1137920 w 3505200"/>
              <a:gd name="connsiteY105" fmla="*/ 7762240 h 8260080"/>
              <a:gd name="connsiteX106" fmla="*/ 1330960 w 3505200"/>
              <a:gd name="connsiteY106" fmla="*/ 7802880 h 8260080"/>
              <a:gd name="connsiteX107" fmla="*/ 1361440 w 3505200"/>
              <a:gd name="connsiteY107" fmla="*/ 7772400 h 8260080"/>
              <a:gd name="connsiteX108" fmla="*/ 1483360 w 3505200"/>
              <a:gd name="connsiteY108" fmla="*/ 7823200 h 8260080"/>
              <a:gd name="connsiteX109" fmla="*/ 1554480 w 3505200"/>
              <a:gd name="connsiteY109" fmla="*/ 7731760 h 8260080"/>
              <a:gd name="connsiteX110" fmla="*/ 1524000 w 3505200"/>
              <a:gd name="connsiteY110" fmla="*/ 7640320 h 8260080"/>
              <a:gd name="connsiteX111" fmla="*/ 1645920 w 3505200"/>
              <a:gd name="connsiteY111" fmla="*/ 7437120 h 8260080"/>
              <a:gd name="connsiteX112" fmla="*/ 1635760 w 3505200"/>
              <a:gd name="connsiteY112" fmla="*/ 7335520 h 8260080"/>
              <a:gd name="connsiteX113" fmla="*/ 1696720 w 3505200"/>
              <a:gd name="connsiteY113" fmla="*/ 7223760 h 8260080"/>
              <a:gd name="connsiteX114" fmla="*/ 1625600 w 3505200"/>
              <a:gd name="connsiteY114" fmla="*/ 7172960 h 8260080"/>
              <a:gd name="connsiteX115" fmla="*/ 1747520 w 3505200"/>
              <a:gd name="connsiteY115" fmla="*/ 6990080 h 8260080"/>
              <a:gd name="connsiteX116" fmla="*/ 1666240 w 3505200"/>
              <a:gd name="connsiteY116" fmla="*/ 6939280 h 8260080"/>
              <a:gd name="connsiteX117" fmla="*/ 1737360 w 3505200"/>
              <a:gd name="connsiteY117" fmla="*/ 6888480 h 8260080"/>
              <a:gd name="connsiteX118" fmla="*/ 1645920 w 3505200"/>
              <a:gd name="connsiteY118" fmla="*/ 6776720 h 8260080"/>
              <a:gd name="connsiteX119" fmla="*/ 1808480 w 3505200"/>
              <a:gd name="connsiteY119" fmla="*/ 6715760 h 8260080"/>
              <a:gd name="connsiteX120" fmla="*/ 1727200 w 3505200"/>
              <a:gd name="connsiteY120" fmla="*/ 6614160 h 8260080"/>
              <a:gd name="connsiteX121" fmla="*/ 1686560 w 3505200"/>
              <a:gd name="connsiteY121" fmla="*/ 6421120 h 8260080"/>
              <a:gd name="connsiteX122" fmla="*/ 1889760 w 3505200"/>
              <a:gd name="connsiteY122" fmla="*/ 6299200 h 8260080"/>
              <a:gd name="connsiteX123" fmla="*/ 1940560 w 3505200"/>
              <a:gd name="connsiteY123" fmla="*/ 6228080 h 8260080"/>
              <a:gd name="connsiteX124" fmla="*/ 2032000 w 3505200"/>
              <a:gd name="connsiteY124" fmla="*/ 6136640 h 8260080"/>
              <a:gd name="connsiteX125" fmla="*/ 2011680 w 3505200"/>
              <a:gd name="connsiteY125" fmla="*/ 6014720 h 8260080"/>
              <a:gd name="connsiteX126" fmla="*/ 2123440 w 3505200"/>
              <a:gd name="connsiteY126" fmla="*/ 6065520 h 8260080"/>
              <a:gd name="connsiteX127" fmla="*/ 2092960 w 3505200"/>
              <a:gd name="connsiteY127" fmla="*/ 6167120 h 8260080"/>
              <a:gd name="connsiteX128" fmla="*/ 2286000 w 3505200"/>
              <a:gd name="connsiteY128" fmla="*/ 5933440 h 8260080"/>
              <a:gd name="connsiteX129" fmla="*/ 2255520 w 3505200"/>
              <a:gd name="connsiteY129" fmla="*/ 5801360 h 8260080"/>
              <a:gd name="connsiteX130" fmla="*/ 2448560 w 3505200"/>
              <a:gd name="connsiteY130" fmla="*/ 5598160 h 8260080"/>
              <a:gd name="connsiteX131" fmla="*/ 2357120 w 3505200"/>
              <a:gd name="connsiteY131" fmla="*/ 5435600 h 8260080"/>
              <a:gd name="connsiteX132" fmla="*/ 2225040 w 3505200"/>
              <a:gd name="connsiteY132" fmla="*/ 5415280 h 8260080"/>
              <a:gd name="connsiteX133" fmla="*/ 2103120 w 3505200"/>
              <a:gd name="connsiteY133" fmla="*/ 5222240 h 8260080"/>
              <a:gd name="connsiteX134" fmla="*/ 2092960 w 3505200"/>
              <a:gd name="connsiteY134" fmla="*/ 5110480 h 8260080"/>
              <a:gd name="connsiteX135" fmla="*/ 2052320 w 3505200"/>
              <a:gd name="connsiteY135" fmla="*/ 5151120 h 8260080"/>
              <a:gd name="connsiteX136" fmla="*/ 2042160 w 3505200"/>
              <a:gd name="connsiteY136" fmla="*/ 5242560 h 8260080"/>
              <a:gd name="connsiteX137" fmla="*/ 1981200 w 3505200"/>
              <a:gd name="connsiteY137" fmla="*/ 5191760 h 8260080"/>
              <a:gd name="connsiteX138" fmla="*/ 2011680 w 3505200"/>
              <a:gd name="connsiteY138" fmla="*/ 5120640 h 8260080"/>
              <a:gd name="connsiteX139" fmla="*/ 1930400 w 3505200"/>
              <a:gd name="connsiteY139" fmla="*/ 5100320 h 8260080"/>
              <a:gd name="connsiteX140" fmla="*/ 1859280 w 3505200"/>
              <a:gd name="connsiteY140" fmla="*/ 4917440 h 8260080"/>
              <a:gd name="connsiteX141" fmla="*/ 1828800 w 3505200"/>
              <a:gd name="connsiteY141" fmla="*/ 4622800 h 8260080"/>
              <a:gd name="connsiteX142" fmla="*/ 1910080 w 3505200"/>
              <a:gd name="connsiteY142" fmla="*/ 4419600 h 8260080"/>
              <a:gd name="connsiteX143" fmla="*/ 1920240 w 3505200"/>
              <a:gd name="connsiteY143" fmla="*/ 4277360 h 8260080"/>
              <a:gd name="connsiteX144" fmla="*/ 1971040 w 3505200"/>
              <a:gd name="connsiteY144" fmla="*/ 4124960 h 8260080"/>
              <a:gd name="connsiteX145" fmla="*/ 1879600 w 3505200"/>
              <a:gd name="connsiteY145" fmla="*/ 4023360 h 8260080"/>
              <a:gd name="connsiteX146" fmla="*/ 2072640 w 3505200"/>
              <a:gd name="connsiteY146" fmla="*/ 4003040 h 8260080"/>
              <a:gd name="connsiteX147" fmla="*/ 2092960 w 3505200"/>
              <a:gd name="connsiteY147" fmla="*/ 3850640 h 8260080"/>
              <a:gd name="connsiteX148" fmla="*/ 2001520 w 3505200"/>
              <a:gd name="connsiteY148" fmla="*/ 3728720 h 8260080"/>
              <a:gd name="connsiteX149" fmla="*/ 2164080 w 3505200"/>
              <a:gd name="connsiteY149" fmla="*/ 3769360 h 8260080"/>
              <a:gd name="connsiteX150" fmla="*/ 2265680 w 3505200"/>
              <a:gd name="connsiteY150" fmla="*/ 3566160 h 8260080"/>
              <a:gd name="connsiteX151" fmla="*/ 2336800 w 3505200"/>
              <a:gd name="connsiteY151" fmla="*/ 3515360 h 8260080"/>
              <a:gd name="connsiteX152" fmla="*/ 2367280 w 3505200"/>
              <a:gd name="connsiteY152" fmla="*/ 3362960 h 8260080"/>
              <a:gd name="connsiteX153" fmla="*/ 2489200 w 3505200"/>
              <a:gd name="connsiteY153" fmla="*/ 3423920 h 8260080"/>
              <a:gd name="connsiteX154" fmla="*/ 2560320 w 3505200"/>
              <a:gd name="connsiteY154" fmla="*/ 3302000 h 8260080"/>
              <a:gd name="connsiteX155" fmla="*/ 2743200 w 3505200"/>
              <a:gd name="connsiteY155" fmla="*/ 3149600 h 8260080"/>
              <a:gd name="connsiteX156" fmla="*/ 2844800 w 3505200"/>
              <a:gd name="connsiteY156" fmla="*/ 3088640 h 8260080"/>
              <a:gd name="connsiteX157" fmla="*/ 2804160 w 3505200"/>
              <a:gd name="connsiteY157" fmla="*/ 2966720 h 8260080"/>
              <a:gd name="connsiteX158" fmla="*/ 2976880 w 3505200"/>
              <a:gd name="connsiteY158" fmla="*/ 2763520 h 8260080"/>
              <a:gd name="connsiteX159" fmla="*/ 2794000 w 3505200"/>
              <a:gd name="connsiteY159" fmla="*/ 2621280 h 8260080"/>
              <a:gd name="connsiteX160" fmla="*/ 2946400 w 3505200"/>
              <a:gd name="connsiteY160" fmla="*/ 2377440 h 8260080"/>
              <a:gd name="connsiteX161" fmla="*/ 2854960 w 3505200"/>
              <a:gd name="connsiteY161" fmla="*/ 2255520 h 8260080"/>
              <a:gd name="connsiteX162" fmla="*/ 3027680 w 3505200"/>
              <a:gd name="connsiteY162" fmla="*/ 2113280 h 8260080"/>
              <a:gd name="connsiteX163" fmla="*/ 3119120 w 3505200"/>
              <a:gd name="connsiteY163" fmla="*/ 2021840 h 8260080"/>
              <a:gd name="connsiteX164" fmla="*/ 3027680 w 3505200"/>
              <a:gd name="connsiteY164" fmla="*/ 1960880 h 8260080"/>
              <a:gd name="connsiteX165" fmla="*/ 3139440 w 3505200"/>
              <a:gd name="connsiteY165" fmla="*/ 1869440 h 8260080"/>
              <a:gd name="connsiteX166" fmla="*/ 3281680 w 3505200"/>
              <a:gd name="connsiteY166" fmla="*/ 1950720 h 8260080"/>
              <a:gd name="connsiteX167" fmla="*/ 3403600 w 3505200"/>
              <a:gd name="connsiteY167" fmla="*/ 1889760 h 8260080"/>
              <a:gd name="connsiteX168" fmla="*/ 3505200 w 3505200"/>
              <a:gd name="connsiteY168" fmla="*/ 1910080 h 8260080"/>
              <a:gd name="connsiteX169" fmla="*/ 3444240 w 3505200"/>
              <a:gd name="connsiteY169" fmla="*/ 1656080 h 8260080"/>
              <a:gd name="connsiteX170" fmla="*/ 3373120 w 3505200"/>
              <a:gd name="connsiteY170" fmla="*/ 1635760 h 8260080"/>
              <a:gd name="connsiteX171" fmla="*/ 3352800 w 3505200"/>
              <a:gd name="connsiteY171" fmla="*/ 1503680 h 8260080"/>
              <a:gd name="connsiteX172" fmla="*/ 3444240 w 3505200"/>
              <a:gd name="connsiteY172" fmla="*/ 1412240 h 8260080"/>
              <a:gd name="connsiteX173" fmla="*/ 3393440 w 3505200"/>
              <a:gd name="connsiteY173" fmla="*/ 1280160 h 8260080"/>
              <a:gd name="connsiteX174" fmla="*/ 3434080 w 3505200"/>
              <a:gd name="connsiteY174" fmla="*/ 1249680 h 8260080"/>
              <a:gd name="connsiteX175" fmla="*/ 3281680 w 3505200"/>
              <a:gd name="connsiteY175" fmla="*/ 1066800 h 8260080"/>
              <a:gd name="connsiteX176" fmla="*/ 3383280 w 3505200"/>
              <a:gd name="connsiteY176" fmla="*/ 975360 h 8260080"/>
              <a:gd name="connsiteX177" fmla="*/ 3302000 w 3505200"/>
              <a:gd name="connsiteY177" fmla="*/ 924560 h 8260080"/>
              <a:gd name="connsiteX178" fmla="*/ 3190240 w 3505200"/>
              <a:gd name="connsiteY178" fmla="*/ 944880 h 8260080"/>
              <a:gd name="connsiteX179" fmla="*/ 3281680 w 3505200"/>
              <a:gd name="connsiteY179" fmla="*/ 792480 h 8260080"/>
              <a:gd name="connsiteX180" fmla="*/ 3210560 w 3505200"/>
              <a:gd name="connsiteY180" fmla="*/ 650240 h 8260080"/>
              <a:gd name="connsiteX181" fmla="*/ 3302000 w 3505200"/>
              <a:gd name="connsiteY181" fmla="*/ 568960 h 8260080"/>
              <a:gd name="connsiteX182" fmla="*/ 3190240 w 3505200"/>
              <a:gd name="connsiteY182" fmla="*/ 487680 h 8260080"/>
              <a:gd name="connsiteX183" fmla="*/ 3108960 w 3505200"/>
              <a:gd name="connsiteY183" fmla="*/ 528320 h 8260080"/>
              <a:gd name="connsiteX184" fmla="*/ 3108960 w 3505200"/>
              <a:gd name="connsiteY184" fmla="*/ 406400 h 8260080"/>
              <a:gd name="connsiteX185" fmla="*/ 2926080 w 3505200"/>
              <a:gd name="connsiteY185" fmla="*/ 314960 h 8260080"/>
              <a:gd name="connsiteX186" fmla="*/ 2834640 w 3505200"/>
              <a:gd name="connsiteY186" fmla="*/ 355600 h 8260080"/>
              <a:gd name="connsiteX187" fmla="*/ 2682240 w 3505200"/>
              <a:gd name="connsiteY187" fmla="*/ 111760 h 8260080"/>
              <a:gd name="connsiteX188" fmla="*/ 2590800 w 3505200"/>
              <a:gd name="connsiteY188" fmla="*/ 121920 h 8260080"/>
              <a:gd name="connsiteX189" fmla="*/ 2611120 w 3505200"/>
              <a:gd name="connsiteY189" fmla="*/ 0 h 8260080"/>
              <a:gd name="connsiteX190" fmla="*/ 2438400 w 3505200"/>
              <a:gd name="connsiteY19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152400 w 3505200"/>
              <a:gd name="connsiteY70" fmla="*/ 6776720 h 8260080"/>
              <a:gd name="connsiteX71" fmla="*/ 233680 w 3505200"/>
              <a:gd name="connsiteY71" fmla="*/ 6959600 h 8260080"/>
              <a:gd name="connsiteX72" fmla="*/ 304800 w 3505200"/>
              <a:gd name="connsiteY72" fmla="*/ 7020560 h 8260080"/>
              <a:gd name="connsiteX73" fmla="*/ 264160 w 3505200"/>
              <a:gd name="connsiteY73" fmla="*/ 7122160 h 8260080"/>
              <a:gd name="connsiteX74" fmla="*/ 335280 w 3505200"/>
              <a:gd name="connsiteY74" fmla="*/ 7193280 h 8260080"/>
              <a:gd name="connsiteX75" fmla="*/ 325120 w 3505200"/>
              <a:gd name="connsiteY75" fmla="*/ 7254240 h 8260080"/>
              <a:gd name="connsiteX76" fmla="*/ 325120 w 3505200"/>
              <a:gd name="connsiteY76" fmla="*/ 7254240 h 8260080"/>
              <a:gd name="connsiteX77" fmla="*/ 325120 w 3505200"/>
              <a:gd name="connsiteY77" fmla="*/ 7355840 h 8260080"/>
              <a:gd name="connsiteX78" fmla="*/ 447040 w 3505200"/>
              <a:gd name="connsiteY78" fmla="*/ 7366000 h 8260080"/>
              <a:gd name="connsiteX79" fmla="*/ 447040 w 3505200"/>
              <a:gd name="connsiteY79" fmla="*/ 7477760 h 8260080"/>
              <a:gd name="connsiteX80" fmla="*/ 558800 w 3505200"/>
              <a:gd name="connsiteY80" fmla="*/ 7528560 h 8260080"/>
              <a:gd name="connsiteX81" fmla="*/ 508000 w 3505200"/>
              <a:gd name="connsiteY81" fmla="*/ 7630160 h 8260080"/>
              <a:gd name="connsiteX82" fmla="*/ 436880 w 3505200"/>
              <a:gd name="connsiteY82" fmla="*/ 7609840 h 8260080"/>
              <a:gd name="connsiteX83" fmla="*/ 447040 w 3505200"/>
              <a:gd name="connsiteY83" fmla="*/ 7691120 h 8260080"/>
              <a:gd name="connsiteX84" fmla="*/ 518160 w 3505200"/>
              <a:gd name="connsiteY84" fmla="*/ 7741920 h 8260080"/>
              <a:gd name="connsiteX85" fmla="*/ 457200 w 3505200"/>
              <a:gd name="connsiteY85" fmla="*/ 7792720 h 8260080"/>
              <a:gd name="connsiteX86" fmla="*/ 396240 w 3505200"/>
              <a:gd name="connsiteY86" fmla="*/ 7701280 h 8260080"/>
              <a:gd name="connsiteX87" fmla="*/ 396240 w 3505200"/>
              <a:gd name="connsiteY87" fmla="*/ 7701280 h 8260080"/>
              <a:gd name="connsiteX88" fmla="*/ 436880 w 3505200"/>
              <a:gd name="connsiteY88" fmla="*/ 7874000 h 8260080"/>
              <a:gd name="connsiteX89" fmla="*/ 436880 w 3505200"/>
              <a:gd name="connsiteY89" fmla="*/ 7924800 h 8260080"/>
              <a:gd name="connsiteX90" fmla="*/ 548640 w 3505200"/>
              <a:gd name="connsiteY90" fmla="*/ 7965440 h 8260080"/>
              <a:gd name="connsiteX91" fmla="*/ 508000 w 3505200"/>
              <a:gd name="connsiteY91" fmla="*/ 8016240 h 8260080"/>
              <a:gd name="connsiteX92" fmla="*/ 589280 w 3505200"/>
              <a:gd name="connsiteY92" fmla="*/ 8056880 h 8260080"/>
              <a:gd name="connsiteX93" fmla="*/ 497840 w 3505200"/>
              <a:gd name="connsiteY93" fmla="*/ 8117840 h 8260080"/>
              <a:gd name="connsiteX94" fmla="*/ 518160 w 3505200"/>
              <a:gd name="connsiteY94" fmla="*/ 8209280 h 8260080"/>
              <a:gd name="connsiteX95" fmla="*/ 640080 w 3505200"/>
              <a:gd name="connsiteY95" fmla="*/ 8260080 h 8260080"/>
              <a:gd name="connsiteX96" fmla="*/ 731520 w 3505200"/>
              <a:gd name="connsiteY96" fmla="*/ 8219440 h 8260080"/>
              <a:gd name="connsiteX97" fmla="*/ 853440 w 3505200"/>
              <a:gd name="connsiteY97" fmla="*/ 8209280 h 8260080"/>
              <a:gd name="connsiteX98" fmla="*/ 955040 w 3505200"/>
              <a:gd name="connsiteY98" fmla="*/ 8260080 h 8260080"/>
              <a:gd name="connsiteX99" fmla="*/ 965200 w 3505200"/>
              <a:gd name="connsiteY99" fmla="*/ 8107680 h 8260080"/>
              <a:gd name="connsiteX100" fmla="*/ 894080 w 3505200"/>
              <a:gd name="connsiteY100" fmla="*/ 8026400 h 8260080"/>
              <a:gd name="connsiteX101" fmla="*/ 1016000 w 3505200"/>
              <a:gd name="connsiteY101" fmla="*/ 7863840 h 8260080"/>
              <a:gd name="connsiteX102" fmla="*/ 1107440 w 3505200"/>
              <a:gd name="connsiteY102" fmla="*/ 7894320 h 8260080"/>
              <a:gd name="connsiteX103" fmla="*/ 1127760 w 3505200"/>
              <a:gd name="connsiteY103" fmla="*/ 7853680 h 8260080"/>
              <a:gd name="connsiteX104" fmla="*/ 1066800 w 3505200"/>
              <a:gd name="connsiteY104" fmla="*/ 7813040 h 8260080"/>
              <a:gd name="connsiteX105" fmla="*/ 1137920 w 3505200"/>
              <a:gd name="connsiteY105" fmla="*/ 7762240 h 8260080"/>
              <a:gd name="connsiteX106" fmla="*/ 1330960 w 3505200"/>
              <a:gd name="connsiteY106" fmla="*/ 7802880 h 8260080"/>
              <a:gd name="connsiteX107" fmla="*/ 1361440 w 3505200"/>
              <a:gd name="connsiteY107" fmla="*/ 7772400 h 8260080"/>
              <a:gd name="connsiteX108" fmla="*/ 1483360 w 3505200"/>
              <a:gd name="connsiteY108" fmla="*/ 7823200 h 8260080"/>
              <a:gd name="connsiteX109" fmla="*/ 1554480 w 3505200"/>
              <a:gd name="connsiteY109" fmla="*/ 7731760 h 8260080"/>
              <a:gd name="connsiteX110" fmla="*/ 1524000 w 3505200"/>
              <a:gd name="connsiteY110" fmla="*/ 7640320 h 8260080"/>
              <a:gd name="connsiteX111" fmla="*/ 1645920 w 3505200"/>
              <a:gd name="connsiteY111" fmla="*/ 7437120 h 8260080"/>
              <a:gd name="connsiteX112" fmla="*/ 1635760 w 3505200"/>
              <a:gd name="connsiteY112" fmla="*/ 7335520 h 8260080"/>
              <a:gd name="connsiteX113" fmla="*/ 1696720 w 3505200"/>
              <a:gd name="connsiteY113" fmla="*/ 7223760 h 8260080"/>
              <a:gd name="connsiteX114" fmla="*/ 1625600 w 3505200"/>
              <a:gd name="connsiteY114" fmla="*/ 7172960 h 8260080"/>
              <a:gd name="connsiteX115" fmla="*/ 1747520 w 3505200"/>
              <a:gd name="connsiteY115" fmla="*/ 6990080 h 8260080"/>
              <a:gd name="connsiteX116" fmla="*/ 1666240 w 3505200"/>
              <a:gd name="connsiteY116" fmla="*/ 6939280 h 8260080"/>
              <a:gd name="connsiteX117" fmla="*/ 1737360 w 3505200"/>
              <a:gd name="connsiteY117" fmla="*/ 6888480 h 8260080"/>
              <a:gd name="connsiteX118" fmla="*/ 1645920 w 3505200"/>
              <a:gd name="connsiteY118" fmla="*/ 6776720 h 8260080"/>
              <a:gd name="connsiteX119" fmla="*/ 1808480 w 3505200"/>
              <a:gd name="connsiteY119" fmla="*/ 6715760 h 8260080"/>
              <a:gd name="connsiteX120" fmla="*/ 1727200 w 3505200"/>
              <a:gd name="connsiteY120" fmla="*/ 6614160 h 8260080"/>
              <a:gd name="connsiteX121" fmla="*/ 1686560 w 3505200"/>
              <a:gd name="connsiteY121" fmla="*/ 6421120 h 8260080"/>
              <a:gd name="connsiteX122" fmla="*/ 1889760 w 3505200"/>
              <a:gd name="connsiteY122" fmla="*/ 6299200 h 8260080"/>
              <a:gd name="connsiteX123" fmla="*/ 1940560 w 3505200"/>
              <a:gd name="connsiteY123" fmla="*/ 6228080 h 8260080"/>
              <a:gd name="connsiteX124" fmla="*/ 2032000 w 3505200"/>
              <a:gd name="connsiteY124" fmla="*/ 6136640 h 8260080"/>
              <a:gd name="connsiteX125" fmla="*/ 2011680 w 3505200"/>
              <a:gd name="connsiteY125" fmla="*/ 6014720 h 8260080"/>
              <a:gd name="connsiteX126" fmla="*/ 2123440 w 3505200"/>
              <a:gd name="connsiteY126" fmla="*/ 6065520 h 8260080"/>
              <a:gd name="connsiteX127" fmla="*/ 2092960 w 3505200"/>
              <a:gd name="connsiteY127" fmla="*/ 6167120 h 8260080"/>
              <a:gd name="connsiteX128" fmla="*/ 2286000 w 3505200"/>
              <a:gd name="connsiteY128" fmla="*/ 5933440 h 8260080"/>
              <a:gd name="connsiteX129" fmla="*/ 2255520 w 3505200"/>
              <a:gd name="connsiteY129" fmla="*/ 5801360 h 8260080"/>
              <a:gd name="connsiteX130" fmla="*/ 2448560 w 3505200"/>
              <a:gd name="connsiteY130" fmla="*/ 5598160 h 8260080"/>
              <a:gd name="connsiteX131" fmla="*/ 2357120 w 3505200"/>
              <a:gd name="connsiteY131" fmla="*/ 5435600 h 8260080"/>
              <a:gd name="connsiteX132" fmla="*/ 2225040 w 3505200"/>
              <a:gd name="connsiteY132" fmla="*/ 5415280 h 8260080"/>
              <a:gd name="connsiteX133" fmla="*/ 2103120 w 3505200"/>
              <a:gd name="connsiteY133" fmla="*/ 5222240 h 8260080"/>
              <a:gd name="connsiteX134" fmla="*/ 2092960 w 3505200"/>
              <a:gd name="connsiteY134" fmla="*/ 5110480 h 8260080"/>
              <a:gd name="connsiteX135" fmla="*/ 2052320 w 3505200"/>
              <a:gd name="connsiteY135" fmla="*/ 5151120 h 8260080"/>
              <a:gd name="connsiteX136" fmla="*/ 2042160 w 3505200"/>
              <a:gd name="connsiteY136" fmla="*/ 5242560 h 8260080"/>
              <a:gd name="connsiteX137" fmla="*/ 1981200 w 3505200"/>
              <a:gd name="connsiteY137" fmla="*/ 5191760 h 8260080"/>
              <a:gd name="connsiteX138" fmla="*/ 2011680 w 3505200"/>
              <a:gd name="connsiteY138" fmla="*/ 5120640 h 8260080"/>
              <a:gd name="connsiteX139" fmla="*/ 1930400 w 3505200"/>
              <a:gd name="connsiteY139" fmla="*/ 5100320 h 8260080"/>
              <a:gd name="connsiteX140" fmla="*/ 1859280 w 3505200"/>
              <a:gd name="connsiteY140" fmla="*/ 4917440 h 8260080"/>
              <a:gd name="connsiteX141" fmla="*/ 1828800 w 3505200"/>
              <a:gd name="connsiteY141" fmla="*/ 4622800 h 8260080"/>
              <a:gd name="connsiteX142" fmla="*/ 1910080 w 3505200"/>
              <a:gd name="connsiteY142" fmla="*/ 4419600 h 8260080"/>
              <a:gd name="connsiteX143" fmla="*/ 1920240 w 3505200"/>
              <a:gd name="connsiteY143" fmla="*/ 4277360 h 8260080"/>
              <a:gd name="connsiteX144" fmla="*/ 1971040 w 3505200"/>
              <a:gd name="connsiteY144" fmla="*/ 4124960 h 8260080"/>
              <a:gd name="connsiteX145" fmla="*/ 1879600 w 3505200"/>
              <a:gd name="connsiteY145" fmla="*/ 4023360 h 8260080"/>
              <a:gd name="connsiteX146" fmla="*/ 2072640 w 3505200"/>
              <a:gd name="connsiteY146" fmla="*/ 4003040 h 8260080"/>
              <a:gd name="connsiteX147" fmla="*/ 2092960 w 3505200"/>
              <a:gd name="connsiteY147" fmla="*/ 3850640 h 8260080"/>
              <a:gd name="connsiteX148" fmla="*/ 2001520 w 3505200"/>
              <a:gd name="connsiteY148" fmla="*/ 3728720 h 8260080"/>
              <a:gd name="connsiteX149" fmla="*/ 2164080 w 3505200"/>
              <a:gd name="connsiteY149" fmla="*/ 3769360 h 8260080"/>
              <a:gd name="connsiteX150" fmla="*/ 2265680 w 3505200"/>
              <a:gd name="connsiteY150" fmla="*/ 3566160 h 8260080"/>
              <a:gd name="connsiteX151" fmla="*/ 2336800 w 3505200"/>
              <a:gd name="connsiteY151" fmla="*/ 3515360 h 8260080"/>
              <a:gd name="connsiteX152" fmla="*/ 2367280 w 3505200"/>
              <a:gd name="connsiteY152" fmla="*/ 3362960 h 8260080"/>
              <a:gd name="connsiteX153" fmla="*/ 2489200 w 3505200"/>
              <a:gd name="connsiteY153" fmla="*/ 3423920 h 8260080"/>
              <a:gd name="connsiteX154" fmla="*/ 2560320 w 3505200"/>
              <a:gd name="connsiteY154" fmla="*/ 3302000 h 8260080"/>
              <a:gd name="connsiteX155" fmla="*/ 2743200 w 3505200"/>
              <a:gd name="connsiteY155" fmla="*/ 3149600 h 8260080"/>
              <a:gd name="connsiteX156" fmla="*/ 2844800 w 3505200"/>
              <a:gd name="connsiteY156" fmla="*/ 3088640 h 8260080"/>
              <a:gd name="connsiteX157" fmla="*/ 2804160 w 3505200"/>
              <a:gd name="connsiteY157" fmla="*/ 2966720 h 8260080"/>
              <a:gd name="connsiteX158" fmla="*/ 2976880 w 3505200"/>
              <a:gd name="connsiteY158" fmla="*/ 2763520 h 8260080"/>
              <a:gd name="connsiteX159" fmla="*/ 2794000 w 3505200"/>
              <a:gd name="connsiteY159" fmla="*/ 2621280 h 8260080"/>
              <a:gd name="connsiteX160" fmla="*/ 2946400 w 3505200"/>
              <a:gd name="connsiteY160" fmla="*/ 2377440 h 8260080"/>
              <a:gd name="connsiteX161" fmla="*/ 2854960 w 3505200"/>
              <a:gd name="connsiteY161" fmla="*/ 2255520 h 8260080"/>
              <a:gd name="connsiteX162" fmla="*/ 3027680 w 3505200"/>
              <a:gd name="connsiteY162" fmla="*/ 2113280 h 8260080"/>
              <a:gd name="connsiteX163" fmla="*/ 3119120 w 3505200"/>
              <a:gd name="connsiteY163" fmla="*/ 2021840 h 8260080"/>
              <a:gd name="connsiteX164" fmla="*/ 3027680 w 3505200"/>
              <a:gd name="connsiteY164" fmla="*/ 1960880 h 8260080"/>
              <a:gd name="connsiteX165" fmla="*/ 3139440 w 3505200"/>
              <a:gd name="connsiteY165" fmla="*/ 1869440 h 8260080"/>
              <a:gd name="connsiteX166" fmla="*/ 3281680 w 3505200"/>
              <a:gd name="connsiteY166" fmla="*/ 1950720 h 8260080"/>
              <a:gd name="connsiteX167" fmla="*/ 3403600 w 3505200"/>
              <a:gd name="connsiteY167" fmla="*/ 1889760 h 8260080"/>
              <a:gd name="connsiteX168" fmla="*/ 3505200 w 3505200"/>
              <a:gd name="connsiteY168" fmla="*/ 1910080 h 8260080"/>
              <a:gd name="connsiteX169" fmla="*/ 3444240 w 3505200"/>
              <a:gd name="connsiteY169" fmla="*/ 1656080 h 8260080"/>
              <a:gd name="connsiteX170" fmla="*/ 3373120 w 3505200"/>
              <a:gd name="connsiteY170" fmla="*/ 1635760 h 8260080"/>
              <a:gd name="connsiteX171" fmla="*/ 3352800 w 3505200"/>
              <a:gd name="connsiteY171" fmla="*/ 1503680 h 8260080"/>
              <a:gd name="connsiteX172" fmla="*/ 3444240 w 3505200"/>
              <a:gd name="connsiteY172" fmla="*/ 1412240 h 8260080"/>
              <a:gd name="connsiteX173" fmla="*/ 3393440 w 3505200"/>
              <a:gd name="connsiteY173" fmla="*/ 1280160 h 8260080"/>
              <a:gd name="connsiteX174" fmla="*/ 3434080 w 3505200"/>
              <a:gd name="connsiteY174" fmla="*/ 1249680 h 8260080"/>
              <a:gd name="connsiteX175" fmla="*/ 3281680 w 3505200"/>
              <a:gd name="connsiteY175" fmla="*/ 1066800 h 8260080"/>
              <a:gd name="connsiteX176" fmla="*/ 3383280 w 3505200"/>
              <a:gd name="connsiteY176" fmla="*/ 975360 h 8260080"/>
              <a:gd name="connsiteX177" fmla="*/ 3302000 w 3505200"/>
              <a:gd name="connsiteY177" fmla="*/ 924560 h 8260080"/>
              <a:gd name="connsiteX178" fmla="*/ 3190240 w 3505200"/>
              <a:gd name="connsiteY178" fmla="*/ 944880 h 8260080"/>
              <a:gd name="connsiteX179" fmla="*/ 3281680 w 3505200"/>
              <a:gd name="connsiteY179" fmla="*/ 792480 h 8260080"/>
              <a:gd name="connsiteX180" fmla="*/ 3210560 w 3505200"/>
              <a:gd name="connsiteY180" fmla="*/ 650240 h 8260080"/>
              <a:gd name="connsiteX181" fmla="*/ 3302000 w 3505200"/>
              <a:gd name="connsiteY181" fmla="*/ 568960 h 8260080"/>
              <a:gd name="connsiteX182" fmla="*/ 3190240 w 3505200"/>
              <a:gd name="connsiteY182" fmla="*/ 487680 h 8260080"/>
              <a:gd name="connsiteX183" fmla="*/ 3108960 w 3505200"/>
              <a:gd name="connsiteY183" fmla="*/ 528320 h 8260080"/>
              <a:gd name="connsiteX184" fmla="*/ 3108960 w 3505200"/>
              <a:gd name="connsiteY184" fmla="*/ 406400 h 8260080"/>
              <a:gd name="connsiteX185" fmla="*/ 2926080 w 3505200"/>
              <a:gd name="connsiteY185" fmla="*/ 314960 h 8260080"/>
              <a:gd name="connsiteX186" fmla="*/ 2834640 w 3505200"/>
              <a:gd name="connsiteY186" fmla="*/ 355600 h 8260080"/>
              <a:gd name="connsiteX187" fmla="*/ 2682240 w 3505200"/>
              <a:gd name="connsiteY187" fmla="*/ 111760 h 8260080"/>
              <a:gd name="connsiteX188" fmla="*/ 2590800 w 3505200"/>
              <a:gd name="connsiteY188" fmla="*/ 121920 h 8260080"/>
              <a:gd name="connsiteX189" fmla="*/ 2611120 w 3505200"/>
              <a:gd name="connsiteY189" fmla="*/ 0 h 8260080"/>
              <a:gd name="connsiteX190" fmla="*/ 2438400 w 3505200"/>
              <a:gd name="connsiteY19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152400 w 3505200"/>
              <a:gd name="connsiteY70" fmla="*/ 6776720 h 8260080"/>
              <a:gd name="connsiteX71" fmla="*/ 233680 w 3505200"/>
              <a:gd name="connsiteY71" fmla="*/ 6959600 h 8260080"/>
              <a:gd name="connsiteX72" fmla="*/ 304800 w 3505200"/>
              <a:gd name="connsiteY72" fmla="*/ 7020560 h 8260080"/>
              <a:gd name="connsiteX73" fmla="*/ 264160 w 3505200"/>
              <a:gd name="connsiteY73" fmla="*/ 7122160 h 8260080"/>
              <a:gd name="connsiteX74" fmla="*/ 335280 w 3505200"/>
              <a:gd name="connsiteY74" fmla="*/ 7193280 h 8260080"/>
              <a:gd name="connsiteX75" fmla="*/ 325120 w 3505200"/>
              <a:gd name="connsiteY75" fmla="*/ 7254240 h 8260080"/>
              <a:gd name="connsiteX76" fmla="*/ 325120 w 3505200"/>
              <a:gd name="connsiteY76" fmla="*/ 7254240 h 8260080"/>
              <a:gd name="connsiteX77" fmla="*/ 325120 w 3505200"/>
              <a:gd name="connsiteY77" fmla="*/ 7355840 h 8260080"/>
              <a:gd name="connsiteX78" fmla="*/ 447040 w 3505200"/>
              <a:gd name="connsiteY78" fmla="*/ 7366000 h 8260080"/>
              <a:gd name="connsiteX79" fmla="*/ 447040 w 3505200"/>
              <a:gd name="connsiteY79" fmla="*/ 7477760 h 8260080"/>
              <a:gd name="connsiteX80" fmla="*/ 558800 w 3505200"/>
              <a:gd name="connsiteY80" fmla="*/ 7528560 h 8260080"/>
              <a:gd name="connsiteX81" fmla="*/ 508000 w 3505200"/>
              <a:gd name="connsiteY81" fmla="*/ 7630160 h 8260080"/>
              <a:gd name="connsiteX82" fmla="*/ 436880 w 3505200"/>
              <a:gd name="connsiteY82" fmla="*/ 7609840 h 8260080"/>
              <a:gd name="connsiteX83" fmla="*/ 447040 w 3505200"/>
              <a:gd name="connsiteY83" fmla="*/ 7691120 h 8260080"/>
              <a:gd name="connsiteX84" fmla="*/ 518160 w 3505200"/>
              <a:gd name="connsiteY84" fmla="*/ 7741920 h 8260080"/>
              <a:gd name="connsiteX85" fmla="*/ 457200 w 3505200"/>
              <a:gd name="connsiteY85" fmla="*/ 7792720 h 8260080"/>
              <a:gd name="connsiteX86" fmla="*/ 396240 w 3505200"/>
              <a:gd name="connsiteY86" fmla="*/ 7701280 h 8260080"/>
              <a:gd name="connsiteX87" fmla="*/ 396240 w 3505200"/>
              <a:gd name="connsiteY87" fmla="*/ 7701280 h 8260080"/>
              <a:gd name="connsiteX88" fmla="*/ 436880 w 3505200"/>
              <a:gd name="connsiteY88" fmla="*/ 7874000 h 8260080"/>
              <a:gd name="connsiteX89" fmla="*/ 436880 w 3505200"/>
              <a:gd name="connsiteY89" fmla="*/ 7924800 h 8260080"/>
              <a:gd name="connsiteX90" fmla="*/ 548640 w 3505200"/>
              <a:gd name="connsiteY90" fmla="*/ 7965440 h 8260080"/>
              <a:gd name="connsiteX91" fmla="*/ 508000 w 3505200"/>
              <a:gd name="connsiteY91" fmla="*/ 8016240 h 8260080"/>
              <a:gd name="connsiteX92" fmla="*/ 589280 w 3505200"/>
              <a:gd name="connsiteY92" fmla="*/ 8056880 h 8260080"/>
              <a:gd name="connsiteX93" fmla="*/ 497840 w 3505200"/>
              <a:gd name="connsiteY93" fmla="*/ 8117840 h 8260080"/>
              <a:gd name="connsiteX94" fmla="*/ 518160 w 3505200"/>
              <a:gd name="connsiteY94" fmla="*/ 8209280 h 8260080"/>
              <a:gd name="connsiteX95" fmla="*/ 640080 w 3505200"/>
              <a:gd name="connsiteY95" fmla="*/ 8260080 h 8260080"/>
              <a:gd name="connsiteX96" fmla="*/ 731520 w 3505200"/>
              <a:gd name="connsiteY96" fmla="*/ 8219440 h 8260080"/>
              <a:gd name="connsiteX97" fmla="*/ 853440 w 3505200"/>
              <a:gd name="connsiteY97" fmla="*/ 8209280 h 8260080"/>
              <a:gd name="connsiteX98" fmla="*/ 955040 w 3505200"/>
              <a:gd name="connsiteY98" fmla="*/ 8260080 h 8260080"/>
              <a:gd name="connsiteX99" fmla="*/ 965200 w 3505200"/>
              <a:gd name="connsiteY99" fmla="*/ 8107680 h 8260080"/>
              <a:gd name="connsiteX100" fmla="*/ 894080 w 3505200"/>
              <a:gd name="connsiteY100" fmla="*/ 8026400 h 8260080"/>
              <a:gd name="connsiteX101" fmla="*/ 1016000 w 3505200"/>
              <a:gd name="connsiteY101" fmla="*/ 7863840 h 8260080"/>
              <a:gd name="connsiteX102" fmla="*/ 1107440 w 3505200"/>
              <a:gd name="connsiteY102" fmla="*/ 7894320 h 8260080"/>
              <a:gd name="connsiteX103" fmla="*/ 1127760 w 3505200"/>
              <a:gd name="connsiteY103" fmla="*/ 7853680 h 8260080"/>
              <a:gd name="connsiteX104" fmla="*/ 1066800 w 3505200"/>
              <a:gd name="connsiteY104" fmla="*/ 7813040 h 8260080"/>
              <a:gd name="connsiteX105" fmla="*/ 1137920 w 3505200"/>
              <a:gd name="connsiteY105" fmla="*/ 7762240 h 8260080"/>
              <a:gd name="connsiteX106" fmla="*/ 1330960 w 3505200"/>
              <a:gd name="connsiteY106" fmla="*/ 7802880 h 8260080"/>
              <a:gd name="connsiteX107" fmla="*/ 1361440 w 3505200"/>
              <a:gd name="connsiteY107" fmla="*/ 7772400 h 8260080"/>
              <a:gd name="connsiteX108" fmla="*/ 1483360 w 3505200"/>
              <a:gd name="connsiteY108" fmla="*/ 7823200 h 8260080"/>
              <a:gd name="connsiteX109" fmla="*/ 1554480 w 3505200"/>
              <a:gd name="connsiteY109" fmla="*/ 7731760 h 8260080"/>
              <a:gd name="connsiteX110" fmla="*/ 1524000 w 3505200"/>
              <a:gd name="connsiteY110" fmla="*/ 7640320 h 8260080"/>
              <a:gd name="connsiteX111" fmla="*/ 1645920 w 3505200"/>
              <a:gd name="connsiteY111" fmla="*/ 7437120 h 8260080"/>
              <a:gd name="connsiteX112" fmla="*/ 1635760 w 3505200"/>
              <a:gd name="connsiteY112" fmla="*/ 7335520 h 8260080"/>
              <a:gd name="connsiteX113" fmla="*/ 1696720 w 3505200"/>
              <a:gd name="connsiteY113" fmla="*/ 7223760 h 8260080"/>
              <a:gd name="connsiteX114" fmla="*/ 1625600 w 3505200"/>
              <a:gd name="connsiteY114" fmla="*/ 7172960 h 8260080"/>
              <a:gd name="connsiteX115" fmla="*/ 1747520 w 3505200"/>
              <a:gd name="connsiteY115" fmla="*/ 6990080 h 8260080"/>
              <a:gd name="connsiteX116" fmla="*/ 1666240 w 3505200"/>
              <a:gd name="connsiteY116" fmla="*/ 6939280 h 8260080"/>
              <a:gd name="connsiteX117" fmla="*/ 1737360 w 3505200"/>
              <a:gd name="connsiteY117" fmla="*/ 6888480 h 8260080"/>
              <a:gd name="connsiteX118" fmla="*/ 1645920 w 3505200"/>
              <a:gd name="connsiteY118" fmla="*/ 6776720 h 8260080"/>
              <a:gd name="connsiteX119" fmla="*/ 1808480 w 3505200"/>
              <a:gd name="connsiteY119" fmla="*/ 6715760 h 8260080"/>
              <a:gd name="connsiteX120" fmla="*/ 1727200 w 3505200"/>
              <a:gd name="connsiteY120" fmla="*/ 6614160 h 8260080"/>
              <a:gd name="connsiteX121" fmla="*/ 1686560 w 3505200"/>
              <a:gd name="connsiteY121" fmla="*/ 6421120 h 8260080"/>
              <a:gd name="connsiteX122" fmla="*/ 1889760 w 3505200"/>
              <a:gd name="connsiteY122" fmla="*/ 6299200 h 8260080"/>
              <a:gd name="connsiteX123" fmla="*/ 1940560 w 3505200"/>
              <a:gd name="connsiteY123" fmla="*/ 6228080 h 8260080"/>
              <a:gd name="connsiteX124" fmla="*/ 2032000 w 3505200"/>
              <a:gd name="connsiteY124" fmla="*/ 6136640 h 8260080"/>
              <a:gd name="connsiteX125" fmla="*/ 2011680 w 3505200"/>
              <a:gd name="connsiteY125" fmla="*/ 6014720 h 8260080"/>
              <a:gd name="connsiteX126" fmla="*/ 2123440 w 3505200"/>
              <a:gd name="connsiteY126" fmla="*/ 6065520 h 8260080"/>
              <a:gd name="connsiteX127" fmla="*/ 2092960 w 3505200"/>
              <a:gd name="connsiteY127" fmla="*/ 6167120 h 8260080"/>
              <a:gd name="connsiteX128" fmla="*/ 2286000 w 3505200"/>
              <a:gd name="connsiteY128" fmla="*/ 5933440 h 8260080"/>
              <a:gd name="connsiteX129" fmla="*/ 2255520 w 3505200"/>
              <a:gd name="connsiteY129" fmla="*/ 5801360 h 8260080"/>
              <a:gd name="connsiteX130" fmla="*/ 2448560 w 3505200"/>
              <a:gd name="connsiteY130" fmla="*/ 5598160 h 8260080"/>
              <a:gd name="connsiteX131" fmla="*/ 2357120 w 3505200"/>
              <a:gd name="connsiteY131" fmla="*/ 5435600 h 8260080"/>
              <a:gd name="connsiteX132" fmla="*/ 2225040 w 3505200"/>
              <a:gd name="connsiteY132" fmla="*/ 5415280 h 8260080"/>
              <a:gd name="connsiteX133" fmla="*/ 2103120 w 3505200"/>
              <a:gd name="connsiteY133" fmla="*/ 5222240 h 8260080"/>
              <a:gd name="connsiteX134" fmla="*/ 2092960 w 3505200"/>
              <a:gd name="connsiteY134" fmla="*/ 5110480 h 8260080"/>
              <a:gd name="connsiteX135" fmla="*/ 2052320 w 3505200"/>
              <a:gd name="connsiteY135" fmla="*/ 5151120 h 8260080"/>
              <a:gd name="connsiteX136" fmla="*/ 2042160 w 3505200"/>
              <a:gd name="connsiteY136" fmla="*/ 5242560 h 8260080"/>
              <a:gd name="connsiteX137" fmla="*/ 1981200 w 3505200"/>
              <a:gd name="connsiteY137" fmla="*/ 5191760 h 8260080"/>
              <a:gd name="connsiteX138" fmla="*/ 2011680 w 3505200"/>
              <a:gd name="connsiteY138" fmla="*/ 5120640 h 8260080"/>
              <a:gd name="connsiteX139" fmla="*/ 1930400 w 3505200"/>
              <a:gd name="connsiteY139" fmla="*/ 5100320 h 8260080"/>
              <a:gd name="connsiteX140" fmla="*/ 1859280 w 3505200"/>
              <a:gd name="connsiteY140" fmla="*/ 4917440 h 8260080"/>
              <a:gd name="connsiteX141" fmla="*/ 1828800 w 3505200"/>
              <a:gd name="connsiteY141" fmla="*/ 4622800 h 8260080"/>
              <a:gd name="connsiteX142" fmla="*/ 1910080 w 3505200"/>
              <a:gd name="connsiteY142" fmla="*/ 4419600 h 8260080"/>
              <a:gd name="connsiteX143" fmla="*/ 1920240 w 3505200"/>
              <a:gd name="connsiteY143" fmla="*/ 4277360 h 8260080"/>
              <a:gd name="connsiteX144" fmla="*/ 1971040 w 3505200"/>
              <a:gd name="connsiteY144" fmla="*/ 4124960 h 8260080"/>
              <a:gd name="connsiteX145" fmla="*/ 1879600 w 3505200"/>
              <a:gd name="connsiteY145" fmla="*/ 4023360 h 8260080"/>
              <a:gd name="connsiteX146" fmla="*/ 2072640 w 3505200"/>
              <a:gd name="connsiteY146" fmla="*/ 4003040 h 8260080"/>
              <a:gd name="connsiteX147" fmla="*/ 2092960 w 3505200"/>
              <a:gd name="connsiteY147" fmla="*/ 3850640 h 8260080"/>
              <a:gd name="connsiteX148" fmla="*/ 2001520 w 3505200"/>
              <a:gd name="connsiteY148" fmla="*/ 3728720 h 8260080"/>
              <a:gd name="connsiteX149" fmla="*/ 2164080 w 3505200"/>
              <a:gd name="connsiteY149" fmla="*/ 3769360 h 8260080"/>
              <a:gd name="connsiteX150" fmla="*/ 2265680 w 3505200"/>
              <a:gd name="connsiteY150" fmla="*/ 3566160 h 8260080"/>
              <a:gd name="connsiteX151" fmla="*/ 2336800 w 3505200"/>
              <a:gd name="connsiteY151" fmla="*/ 3515360 h 8260080"/>
              <a:gd name="connsiteX152" fmla="*/ 2367280 w 3505200"/>
              <a:gd name="connsiteY152" fmla="*/ 3362960 h 8260080"/>
              <a:gd name="connsiteX153" fmla="*/ 2489200 w 3505200"/>
              <a:gd name="connsiteY153" fmla="*/ 3423920 h 8260080"/>
              <a:gd name="connsiteX154" fmla="*/ 2560320 w 3505200"/>
              <a:gd name="connsiteY154" fmla="*/ 3302000 h 8260080"/>
              <a:gd name="connsiteX155" fmla="*/ 2743200 w 3505200"/>
              <a:gd name="connsiteY155" fmla="*/ 3149600 h 8260080"/>
              <a:gd name="connsiteX156" fmla="*/ 2844800 w 3505200"/>
              <a:gd name="connsiteY156" fmla="*/ 3088640 h 8260080"/>
              <a:gd name="connsiteX157" fmla="*/ 2804160 w 3505200"/>
              <a:gd name="connsiteY157" fmla="*/ 2966720 h 8260080"/>
              <a:gd name="connsiteX158" fmla="*/ 2976880 w 3505200"/>
              <a:gd name="connsiteY158" fmla="*/ 2763520 h 8260080"/>
              <a:gd name="connsiteX159" fmla="*/ 2794000 w 3505200"/>
              <a:gd name="connsiteY159" fmla="*/ 2621280 h 8260080"/>
              <a:gd name="connsiteX160" fmla="*/ 2946400 w 3505200"/>
              <a:gd name="connsiteY160" fmla="*/ 2377440 h 8260080"/>
              <a:gd name="connsiteX161" fmla="*/ 2854960 w 3505200"/>
              <a:gd name="connsiteY161" fmla="*/ 2255520 h 8260080"/>
              <a:gd name="connsiteX162" fmla="*/ 3027680 w 3505200"/>
              <a:gd name="connsiteY162" fmla="*/ 2113280 h 8260080"/>
              <a:gd name="connsiteX163" fmla="*/ 3119120 w 3505200"/>
              <a:gd name="connsiteY163" fmla="*/ 2021840 h 8260080"/>
              <a:gd name="connsiteX164" fmla="*/ 3027680 w 3505200"/>
              <a:gd name="connsiteY164" fmla="*/ 1960880 h 8260080"/>
              <a:gd name="connsiteX165" fmla="*/ 3139440 w 3505200"/>
              <a:gd name="connsiteY165" fmla="*/ 1869440 h 8260080"/>
              <a:gd name="connsiteX166" fmla="*/ 3281680 w 3505200"/>
              <a:gd name="connsiteY166" fmla="*/ 1950720 h 8260080"/>
              <a:gd name="connsiteX167" fmla="*/ 3403600 w 3505200"/>
              <a:gd name="connsiteY167" fmla="*/ 1889760 h 8260080"/>
              <a:gd name="connsiteX168" fmla="*/ 3505200 w 3505200"/>
              <a:gd name="connsiteY168" fmla="*/ 1910080 h 8260080"/>
              <a:gd name="connsiteX169" fmla="*/ 3444240 w 3505200"/>
              <a:gd name="connsiteY169" fmla="*/ 1656080 h 8260080"/>
              <a:gd name="connsiteX170" fmla="*/ 3373120 w 3505200"/>
              <a:gd name="connsiteY170" fmla="*/ 1635760 h 8260080"/>
              <a:gd name="connsiteX171" fmla="*/ 3352800 w 3505200"/>
              <a:gd name="connsiteY171" fmla="*/ 1503680 h 8260080"/>
              <a:gd name="connsiteX172" fmla="*/ 3444240 w 3505200"/>
              <a:gd name="connsiteY172" fmla="*/ 1412240 h 8260080"/>
              <a:gd name="connsiteX173" fmla="*/ 3393440 w 3505200"/>
              <a:gd name="connsiteY173" fmla="*/ 1280160 h 8260080"/>
              <a:gd name="connsiteX174" fmla="*/ 3434080 w 3505200"/>
              <a:gd name="connsiteY174" fmla="*/ 1249680 h 8260080"/>
              <a:gd name="connsiteX175" fmla="*/ 3281680 w 3505200"/>
              <a:gd name="connsiteY175" fmla="*/ 1066800 h 8260080"/>
              <a:gd name="connsiteX176" fmla="*/ 3383280 w 3505200"/>
              <a:gd name="connsiteY176" fmla="*/ 975360 h 8260080"/>
              <a:gd name="connsiteX177" fmla="*/ 3302000 w 3505200"/>
              <a:gd name="connsiteY177" fmla="*/ 924560 h 8260080"/>
              <a:gd name="connsiteX178" fmla="*/ 3190240 w 3505200"/>
              <a:gd name="connsiteY178" fmla="*/ 944880 h 8260080"/>
              <a:gd name="connsiteX179" fmla="*/ 3281680 w 3505200"/>
              <a:gd name="connsiteY179" fmla="*/ 792480 h 8260080"/>
              <a:gd name="connsiteX180" fmla="*/ 3210560 w 3505200"/>
              <a:gd name="connsiteY180" fmla="*/ 650240 h 8260080"/>
              <a:gd name="connsiteX181" fmla="*/ 3302000 w 3505200"/>
              <a:gd name="connsiteY181" fmla="*/ 568960 h 8260080"/>
              <a:gd name="connsiteX182" fmla="*/ 3190240 w 3505200"/>
              <a:gd name="connsiteY182" fmla="*/ 487680 h 8260080"/>
              <a:gd name="connsiteX183" fmla="*/ 3108960 w 3505200"/>
              <a:gd name="connsiteY183" fmla="*/ 528320 h 8260080"/>
              <a:gd name="connsiteX184" fmla="*/ 3108960 w 3505200"/>
              <a:gd name="connsiteY184" fmla="*/ 406400 h 8260080"/>
              <a:gd name="connsiteX185" fmla="*/ 2926080 w 3505200"/>
              <a:gd name="connsiteY185" fmla="*/ 314960 h 8260080"/>
              <a:gd name="connsiteX186" fmla="*/ 2834640 w 3505200"/>
              <a:gd name="connsiteY186" fmla="*/ 355600 h 8260080"/>
              <a:gd name="connsiteX187" fmla="*/ 2682240 w 3505200"/>
              <a:gd name="connsiteY187" fmla="*/ 111760 h 8260080"/>
              <a:gd name="connsiteX188" fmla="*/ 2590800 w 3505200"/>
              <a:gd name="connsiteY188" fmla="*/ 121920 h 8260080"/>
              <a:gd name="connsiteX189" fmla="*/ 2611120 w 3505200"/>
              <a:gd name="connsiteY189" fmla="*/ 0 h 8260080"/>
              <a:gd name="connsiteX190" fmla="*/ 2438400 w 3505200"/>
              <a:gd name="connsiteY19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150019 w 3505200"/>
              <a:gd name="connsiteY70" fmla="*/ 6767195 h 8260080"/>
              <a:gd name="connsiteX71" fmla="*/ 233680 w 3505200"/>
              <a:gd name="connsiteY71" fmla="*/ 6959600 h 8260080"/>
              <a:gd name="connsiteX72" fmla="*/ 304800 w 3505200"/>
              <a:gd name="connsiteY72" fmla="*/ 7020560 h 8260080"/>
              <a:gd name="connsiteX73" fmla="*/ 264160 w 3505200"/>
              <a:gd name="connsiteY73" fmla="*/ 7122160 h 8260080"/>
              <a:gd name="connsiteX74" fmla="*/ 335280 w 3505200"/>
              <a:gd name="connsiteY74" fmla="*/ 7193280 h 8260080"/>
              <a:gd name="connsiteX75" fmla="*/ 325120 w 3505200"/>
              <a:gd name="connsiteY75" fmla="*/ 7254240 h 8260080"/>
              <a:gd name="connsiteX76" fmla="*/ 325120 w 3505200"/>
              <a:gd name="connsiteY76" fmla="*/ 7254240 h 8260080"/>
              <a:gd name="connsiteX77" fmla="*/ 325120 w 3505200"/>
              <a:gd name="connsiteY77" fmla="*/ 7355840 h 8260080"/>
              <a:gd name="connsiteX78" fmla="*/ 447040 w 3505200"/>
              <a:gd name="connsiteY78" fmla="*/ 7366000 h 8260080"/>
              <a:gd name="connsiteX79" fmla="*/ 447040 w 3505200"/>
              <a:gd name="connsiteY79" fmla="*/ 7477760 h 8260080"/>
              <a:gd name="connsiteX80" fmla="*/ 558800 w 3505200"/>
              <a:gd name="connsiteY80" fmla="*/ 7528560 h 8260080"/>
              <a:gd name="connsiteX81" fmla="*/ 508000 w 3505200"/>
              <a:gd name="connsiteY81" fmla="*/ 7630160 h 8260080"/>
              <a:gd name="connsiteX82" fmla="*/ 436880 w 3505200"/>
              <a:gd name="connsiteY82" fmla="*/ 7609840 h 8260080"/>
              <a:gd name="connsiteX83" fmla="*/ 447040 w 3505200"/>
              <a:gd name="connsiteY83" fmla="*/ 7691120 h 8260080"/>
              <a:gd name="connsiteX84" fmla="*/ 518160 w 3505200"/>
              <a:gd name="connsiteY84" fmla="*/ 7741920 h 8260080"/>
              <a:gd name="connsiteX85" fmla="*/ 457200 w 3505200"/>
              <a:gd name="connsiteY85" fmla="*/ 7792720 h 8260080"/>
              <a:gd name="connsiteX86" fmla="*/ 396240 w 3505200"/>
              <a:gd name="connsiteY86" fmla="*/ 7701280 h 8260080"/>
              <a:gd name="connsiteX87" fmla="*/ 396240 w 3505200"/>
              <a:gd name="connsiteY87" fmla="*/ 7701280 h 8260080"/>
              <a:gd name="connsiteX88" fmla="*/ 436880 w 3505200"/>
              <a:gd name="connsiteY88" fmla="*/ 7874000 h 8260080"/>
              <a:gd name="connsiteX89" fmla="*/ 436880 w 3505200"/>
              <a:gd name="connsiteY89" fmla="*/ 7924800 h 8260080"/>
              <a:gd name="connsiteX90" fmla="*/ 548640 w 3505200"/>
              <a:gd name="connsiteY90" fmla="*/ 7965440 h 8260080"/>
              <a:gd name="connsiteX91" fmla="*/ 508000 w 3505200"/>
              <a:gd name="connsiteY91" fmla="*/ 8016240 h 8260080"/>
              <a:gd name="connsiteX92" fmla="*/ 589280 w 3505200"/>
              <a:gd name="connsiteY92" fmla="*/ 8056880 h 8260080"/>
              <a:gd name="connsiteX93" fmla="*/ 497840 w 3505200"/>
              <a:gd name="connsiteY93" fmla="*/ 8117840 h 8260080"/>
              <a:gd name="connsiteX94" fmla="*/ 518160 w 3505200"/>
              <a:gd name="connsiteY94" fmla="*/ 8209280 h 8260080"/>
              <a:gd name="connsiteX95" fmla="*/ 640080 w 3505200"/>
              <a:gd name="connsiteY95" fmla="*/ 8260080 h 8260080"/>
              <a:gd name="connsiteX96" fmla="*/ 731520 w 3505200"/>
              <a:gd name="connsiteY96" fmla="*/ 8219440 h 8260080"/>
              <a:gd name="connsiteX97" fmla="*/ 853440 w 3505200"/>
              <a:gd name="connsiteY97" fmla="*/ 8209280 h 8260080"/>
              <a:gd name="connsiteX98" fmla="*/ 955040 w 3505200"/>
              <a:gd name="connsiteY98" fmla="*/ 8260080 h 8260080"/>
              <a:gd name="connsiteX99" fmla="*/ 965200 w 3505200"/>
              <a:gd name="connsiteY99" fmla="*/ 8107680 h 8260080"/>
              <a:gd name="connsiteX100" fmla="*/ 894080 w 3505200"/>
              <a:gd name="connsiteY100" fmla="*/ 8026400 h 8260080"/>
              <a:gd name="connsiteX101" fmla="*/ 1016000 w 3505200"/>
              <a:gd name="connsiteY101" fmla="*/ 7863840 h 8260080"/>
              <a:gd name="connsiteX102" fmla="*/ 1107440 w 3505200"/>
              <a:gd name="connsiteY102" fmla="*/ 7894320 h 8260080"/>
              <a:gd name="connsiteX103" fmla="*/ 1127760 w 3505200"/>
              <a:gd name="connsiteY103" fmla="*/ 7853680 h 8260080"/>
              <a:gd name="connsiteX104" fmla="*/ 1066800 w 3505200"/>
              <a:gd name="connsiteY104" fmla="*/ 7813040 h 8260080"/>
              <a:gd name="connsiteX105" fmla="*/ 1137920 w 3505200"/>
              <a:gd name="connsiteY105" fmla="*/ 7762240 h 8260080"/>
              <a:gd name="connsiteX106" fmla="*/ 1330960 w 3505200"/>
              <a:gd name="connsiteY106" fmla="*/ 7802880 h 8260080"/>
              <a:gd name="connsiteX107" fmla="*/ 1361440 w 3505200"/>
              <a:gd name="connsiteY107" fmla="*/ 7772400 h 8260080"/>
              <a:gd name="connsiteX108" fmla="*/ 1483360 w 3505200"/>
              <a:gd name="connsiteY108" fmla="*/ 7823200 h 8260080"/>
              <a:gd name="connsiteX109" fmla="*/ 1554480 w 3505200"/>
              <a:gd name="connsiteY109" fmla="*/ 7731760 h 8260080"/>
              <a:gd name="connsiteX110" fmla="*/ 1524000 w 3505200"/>
              <a:gd name="connsiteY110" fmla="*/ 7640320 h 8260080"/>
              <a:gd name="connsiteX111" fmla="*/ 1645920 w 3505200"/>
              <a:gd name="connsiteY111" fmla="*/ 7437120 h 8260080"/>
              <a:gd name="connsiteX112" fmla="*/ 1635760 w 3505200"/>
              <a:gd name="connsiteY112" fmla="*/ 7335520 h 8260080"/>
              <a:gd name="connsiteX113" fmla="*/ 1696720 w 3505200"/>
              <a:gd name="connsiteY113" fmla="*/ 7223760 h 8260080"/>
              <a:gd name="connsiteX114" fmla="*/ 1625600 w 3505200"/>
              <a:gd name="connsiteY114" fmla="*/ 7172960 h 8260080"/>
              <a:gd name="connsiteX115" fmla="*/ 1747520 w 3505200"/>
              <a:gd name="connsiteY115" fmla="*/ 6990080 h 8260080"/>
              <a:gd name="connsiteX116" fmla="*/ 1666240 w 3505200"/>
              <a:gd name="connsiteY116" fmla="*/ 6939280 h 8260080"/>
              <a:gd name="connsiteX117" fmla="*/ 1737360 w 3505200"/>
              <a:gd name="connsiteY117" fmla="*/ 6888480 h 8260080"/>
              <a:gd name="connsiteX118" fmla="*/ 1645920 w 3505200"/>
              <a:gd name="connsiteY118" fmla="*/ 6776720 h 8260080"/>
              <a:gd name="connsiteX119" fmla="*/ 1808480 w 3505200"/>
              <a:gd name="connsiteY119" fmla="*/ 6715760 h 8260080"/>
              <a:gd name="connsiteX120" fmla="*/ 1727200 w 3505200"/>
              <a:gd name="connsiteY120" fmla="*/ 6614160 h 8260080"/>
              <a:gd name="connsiteX121" fmla="*/ 1686560 w 3505200"/>
              <a:gd name="connsiteY121" fmla="*/ 6421120 h 8260080"/>
              <a:gd name="connsiteX122" fmla="*/ 1889760 w 3505200"/>
              <a:gd name="connsiteY122" fmla="*/ 6299200 h 8260080"/>
              <a:gd name="connsiteX123" fmla="*/ 1940560 w 3505200"/>
              <a:gd name="connsiteY123" fmla="*/ 6228080 h 8260080"/>
              <a:gd name="connsiteX124" fmla="*/ 2032000 w 3505200"/>
              <a:gd name="connsiteY124" fmla="*/ 6136640 h 8260080"/>
              <a:gd name="connsiteX125" fmla="*/ 2011680 w 3505200"/>
              <a:gd name="connsiteY125" fmla="*/ 6014720 h 8260080"/>
              <a:gd name="connsiteX126" fmla="*/ 2123440 w 3505200"/>
              <a:gd name="connsiteY126" fmla="*/ 6065520 h 8260080"/>
              <a:gd name="connsiteX127" fmla="*/ 2092960 w 3505200"/>
              <a:gd name="connsiteY127" fmla="*/ 6167120 h 8260080"/>
              <a:gd name="connsiteX128" fmla="*/ 2286000 w 3505200"/>
              <a:gd name="connsiteY128" fmla="*/ 5933440 h 8260080"/>
              <a:gd name="connsiteX129" fmla="*/ 2255520 w 3505200"/>
              <a:gd name="connsiteY129" fmla="*/ 5801360 h 8260080"/>
              <a:gd name="connsiteX130" fmla="*/ 2448560 w 3505200"/>
              <a:gd name="connsiteY130" fmla="*/ 5598160 h 8260080"/>
              <a:gd name="connsiteX131" fmla="*/ 2357120 w 3505200"/>
              <a:gd name="connsiteY131" fmla="*/ 5435600 h 8260080"/>
              <a:gd name="connsiteX132" fmla="*/ 2225040 w 3505200"/>
              <a:gd name="connsiteY132" fmla="*/ 5415280 h 8260080"/>
              <a:gd name="connsiteX133" fmla="*/ 2103120 w 3505200"/>
              <a:gd name="connsiteY133" fmla="*/ 5222240 h 8260080"/>
              <a:gd name="connsiteX134" fmla="*/ 2092960 w 3505200"/>
              <a:gd name="connsiteY134" fmla="*/ 5110480 h 8260080"/>
              <a:gd name="connsiteX135" fmla="*/ 2052320 w 3505200"/>
              <a:gd name="connsiteY135" fmla="*/ 5151120 h 8260080"/>
              <a:gd name="connsiteX136" fmla="*/ 2042160 w 3505200"/>
              <a:gd name="connsiteY136" fmla="*/ 5242560 h 8260080"/>
              <a:gd name="connsiteX137" fmla="*/ 1981200 w 3505200"/>
              <a:gd name="connsiteY137" fmla="*/ 5191760 h 8260080"/>
              <a:gd name="connsiteX138" fmla="*/ 2011680 w 3505200"/>
              <a:gd name="connsiteY138" fmla="*/ 5120640 h 8260080"/>
              <a:gd name="connsiteX139" fmla="*/ 1930400 w 3505200"/>
              <a:gd name="connsiteY139" fmla="*/ 5100320 h 8260080"/>
              <a:gd name="connsiteX140" fmla="*/ 1859280 w 3505200"/>
              <a:gd name="connsiteY140" fmla="*/ 4917440 h 8260080"/>
              <a:gd name="connsiteX141" fmla="*/ 1828800 w 3505200"/>
              <a:gd name="connsiteY141" fmla="*/ 4622800 h 8260080"/>
              <a:gd name="connsiteX142" fmla="*/ 1910080 w 3505200"/>
              <a:gd name="connsiteY142" fmla="*/ 4419600 h 8260080"/>
              <a:gd name="connsiteX143" fmla="*/ 1920240 w 3505200"/>
              <a:gd name="connsiteY143" fmla="*/ 4277360 h 8260080"/>
              <a:gd name="connsiteX144" fmla="*/ 1971040 w 3505200"/>
              <a:gd name="connsiteY144" fmla="*/ 4124960 h 8260080"/>
              <a:gd name="connsiteX145" fmla="*/ 1879600 w 3505200"/>
              <a:gd name="connsiteY145" fmla="*/ 4023360 h 8260080"/>
              <a:gd name="connsiteX146" fmla="*/ 2072640 w 3505200"/>
              <a:gd name="connsiteY146" fmla="*/ 4003040 h 8260080"/>
              <a:gd name="connsiteX147" fmla="*/ 2092960 w 3505200"/>
              <a:gd name="connsiteY147" fmla="*/ 3850640 h 8260080"/>
              <a:gd name="connsiteX148" fmla="*/ 2001520 w 3505200"/>
              <a:gd name="connsiteY148" fmla="*/ 3728720 h 8260080"/>
              <a:gd name="connsiteX149" fmla="*/ 2164080 w 3505200"/>
              <a:gd name="connsiteY149" fmla="*/ 3769360 h 8260080"/>
              <a:gd name="connsiteX150" fmla="*/ 2265680 w 3505200"/>
              <a:gd name="connsiteY150" fmla="*/ 3566160 h 8260080"/>
              <a:gd name="connsiteX151" fmla="*/ 2336800 w 3505200"/>
              <a:gd name="connsiteY151" fmla="*/ 3515360 h 8260080"/>
              <a:gd name="connsiteX152" fmla="*/ 2367280 w 3505200"/>
              <a:gd name="connsiteY152" fmla="*/ 3362960 h 8260080"/>
              <a:gd name="connsiteX153" fmla="*/ 2489200 w 3505200"/>
              <a:gd name="connsiteY153" fmla="*/ 3423920 h 8260080"/>
              <a:gd name="connsiteX154" fmla="*/ 2560320 w 3505200"/>
              <a:gd name="connsiteY154" fmla="*/ 3302000 h 8260080"/>
              <a:gd name="connsiteX155" fmla="*/ 2743200 w 3505200"/>
              <a:gd name="connsiteY155" fmla="*/ 3149600 h 8260080"/>
              <a:gd name="connsiteX156" fmla="*/ 2844800 w 3505200"/>
              <a:gd name="connsiteY156" fmla="*/ 3088640 h 8260080"/>
              <a:gd name="connsiteX157" fmla="*/ 2804160 w 3505200"/>
              <a:gd name="connsiteY157" fmla="*/ 2966720 h 8260080"/>
              <a:gd name="connsiteX158" fmla="*/ 2976880 w 3505200"/>
              <a:gd name="connsiteY158" fmla="*/ 2763520 h 8260080"/>
              <a:gd name="connsiteX159" fmla="*/ 2794000 w 3505200"/>
              <a:gd name="connsiteY159" fmla="*/ 2621280 h 8260080"/>
              <a:gd name="connsiteX160" fmla="*/ 2946400 w 3505200"/>
              <a:gd name="connsiteY160" fmla="*/ 2377440 h 8260080"/>
              <a:gd name="connsiteX161" fmla="*/ 2854960 w 3505200"/>
              <a:gd name="connsiteY161" fmla="*/ 2255520 h 8260080"/>
              <a:gd name="connsiteX162" fmla="*/ 3027680 w 3505200"/>
              <a:gd name="connsiteY162" fmla="*/ 2113280 h 8260080"/>
              <a:gd name="connsiteX163" fmla="*/ 3119120 w 3505200"/>
              <a:gd name="connsiteY163" fmla="*/ 2021840 h 8260080"/>
              <a:gd name="connsiteX164" fmla="*/ 3027680 w 3505200"/>
              <a:gd name="connsiteY164" fmla="*/ 1960880 h 8260080"/>
              <a:gd name="connsiteX165" fmla="*/ 3139440 w 3505200"/>
              <a:gd name="connsiteY165" fmla="*/ 1869440 h 8260080"/>
              <a:gd name="connsiteX166" fmla="*/ 3281680 w 3505200"/>
              <a:gd name="connsiteY166" fmla="*/ 1950720 h 8260080"/>
              <a:gd name="connsiteX167" fmla="*/ 3403600 w 3505200"/>
              <a:gd name="connsiteY167" fmla="*/ 1889760 h 8260080"/>
              <a:gd name="connsiteX168" fmla="*/ 3505200 w 3505200"/>
              <a:gd name="connsiteY168" fmla="*/ 1910080 h 8260080"/>
              <a:gd name="connsiteX169" fmla="*/ 3444240 w 3505200"/>
              <a:gd name="connsiteY169" fmla="*/ 1656080 h 8260080"/>
              <a:gd name="connsiteX170" fmla="*/ 3373120 w 3505200"/>
              <a:gd name="connsiteY170" fmla="*/ 1635760 h 8260080"/>
              <a:gd name="connsiteX171" fmla="*/ 3352800 w 3505200"/>
              <a:gd name="connsiteY171" fmla="*/ 1503680 h 8260080"/>
              <a:gd name="connsiteX172" fmla="*/ 3444240 w 3505200"/>
              <a:gd name="connsiteY172" fmla="*/ 1412240 h 8260080"/>
              <a:gd name="connsiteX173" fmla="*/ 3393440 w 3505200"/>
              <a:gd name="connsiteY173" fmla="*/ 1280160 h 8260080"/>
              <a:gd name="connsiteX174" fmla="*/ 3434080 w 3505200"/>
              <a:gd name="connsiteY174" fmla="*/ 1249680 h 8260080"/>
              <a:gd name="connsiteX175" fmla="*/ 3281680 w 3505200"/>
              <a:gd name="connsiteY175" fmla="*/ 1066800 h 8260080"/>
              <a:gd name="connsiteX176" fmla="*/ 3383280 w 3505200"/>
              <a:gd name="connsiteY176" fmla="*/ 975360 h 8260080"/>
              <a:gd name="connsiteX177" fmla="*/ 3302000 w 3505200"/>
              <a:gd name="connsiteY177" fmla="*/ 924560 h 8260080"/>
              <a:gd name="connsiteX178" fmla="*/ 3190240 w 3505200"/>
              <a:gd name="connsiteY178" fmla="*/ 944880 h 8260080"/>
              <a:gd name="connsiteX179" fmla="*/ 3281680 w 3505200"/>
              <a:gd name="connsiteY179" fmla="*/ 792480 h 8260080"/>
              <a:gd name="connsiteX180" fmla="*/ 3210560 w 3505200"/>
              <a:gd name="connsiteY180" fmla="*/ 650240 h 8260080"/>
              <a:gd name="connsiteX181" fmla="*/ 3302000 w 3505200"/>
              <a:gd name="connsiteY181" fmla="*/ 568960 h 8260080"/>
              <a:gd name="connsiteX182" fmla="*/ 3190240 w 3505200"/>
              <a:gd name="connsiteY182" fmla="*/ 487680 h 8260080"/>
              <a:gd name="connsiteX183" fmla="*/ 3108960 w 3505200"/>
              <a:gd name="connsiteY183" fmla="*/ 528320 h 8260080"/>
              <a:gd name="connsiteX184" fmla="*/ 3108960 w 3505200"/>
              <a:gd name="connsiteY184" fmla="*/ 406400 h 8260080"/>
              <a:gd name="connsiteX185" fmla="*/ 2926080 w 3505200"/>
              <a:gd name="connsiteY185" fmla="*/ 314960 h 8260080"/>
              <a:gd name="connsiteX186" fmla="*/ 2834640 w 3505200"/>
              <a:gd name="connsiteY186" fmla="*/ 355600 h 8260080"/>
              <a:gd name="connsiteX187" fmla="*/ 2682240 w 3505200"/>
              <a:gd name="connsiteY187" fmla="*/ 111760 h 8260080"/>
              <a:gd name="connsiteX188" fmla="*/ 2590800 w 3505200"/>
              <a:gd name="connsiteY188" fmla="*/ 121920 h 8260080"/>
              <a:gd name="connsiteX189" fmla="*/ 2611120 w 3505200"/>
              <a:gd name="connsiteY189" fmla="*/ 0 h 8260080"/>
              <a:gd name="connsiteX190" fmla="*/ 2438400 w 3505200"/>
              <a:gd name="connsiteY19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150019 w 3505200"/>
              <a:gd name="connsiteY70" fmla="*/ 6767195 h 8260080"/>
              <a:gd name="connsiteX71" fmla="*/ 233680 w 3505200"/>
              <a:gd name="connsiteY71" fmla="*/ 6959600 h 8260080"/>
              <a:gd name="connsiteX72" fmla="*/ 304800 w 3505200"/>
              <a:gd name="connsiteY72" fmla="*/ 7020560 h 8260080"/>
              <a:gd name="connsiteX73" fmla="*/ 264160 w 3505200"/>
              <a:gd name="connsiteY73" fmla="*/ 7122160 h 8260080"/>
              <a:gd name="connsiteX74" fmla="*/ 335280 w 3505200"/>
              <a:gd name="connsiteY74" fmla="*/ 7193280 h 8260080"/>
              <a:gd name="connsiteX75" fmla="*/ 325120 w 3505200"/>
              <a:gd name="connsiteY75" fmla="*/ 7254240 h 8260080"/>
              <a:gd name="connsiteX76" fmla="*/ 325120 w 3505200"/>
              <a:gd name="connsiteY76" fmla="*/ 7254240 h 8260080"/>
              <a:gd name="connsiteX77" fmla="*/ 325120 w 3505200"/>
              <a:gd name="connsiteY77" fmla="*/ 7355840 h 8260080"/>
              <a:gd name="connsiteX78" fmla="*/ 447040 w 3505200"/>
              <a:gd name="connsiteY78" fmla="*/ 7366000 h 8260080"/>
              <a:gd name="connsiteX79" fmla="*/ 447040 w 3505200"/>
              <a:gd name="connsiteY79" fmla="*/ 7477760 h 8260080"/>
              <a:gd name="connsiteX80" fmla="*/ 558800 w 3505200"/>
              <a:gd name="connsiteY80" fmla="*/ 7528560 h 8260080"/>
              <a:gd name="connsiteX81" fmla="*/ 508000 w 3505200"/>
              <a:gd name="connsiteY81" fmla="*/ 7630160 h 8260080"/>
              <a:gd name="connsiteX82" fmla="*/ 436880 w 3505200"/>
              <a:gd name="connsiteY82" fmla="*/ 7609840 h 8260080"/>
              <a:gd name="connsiteX83" fmla="*/ 447040 w 3505200"/>
              <a:gd name="connsiteY83" fmla="*/ 7691120 h 8260080"/>
              <a:gd name="connsiteX84" fmla="*/ 518160 w 3505200"/>
              <a:gd name="connsiteY84" fmla="*/ 7741920 h 8260080"/>
              <a:gd name="connsiteX85" fmla="*/ 457200 w 3505200"/>
              <a:gd name="connsiteY85" fmla="*/ 7792720 h 8260080"/>
              <a:gd name="connsiteX86" fmla="*/ 396240 w 3505200"/>
              <a:gd name="connsiteY86" fmla="*/ 7701280 h 8260080"/>
              <a:gd name="connsiteX87" fmla="*/ 396240 w 3505200"/>
              <a:gd name="connsiteY87" fmla="*/ 7701280 h 8260080"/>
              <a:gd name="connsiteX88" fmla="*/ 436880 w 3505200"/>
              <a:gd name="connsiteY88" fmla="*/ 7874000 h 8260080"/>
              <a:gd name="connsiteX89" fmla="*/ 436880 w 3505200"/>
              <a:gd name="connsiteY89" fmla="*/ 7924800 h 8260080"/>
              <a:gd name="connsiteX90" fmla="*/ 548640 w 3505200"/>
              <a:gd name="connsiteY90" fmla="*/ 7965440 h 8260080"/>
              <a:gd name="connsiteX91" fmla="*/ 508000 w 3505200"/>
              <a:gd name="connsiteY91" fmla="*/ 8016240 h 8260080"/>
              <a:gd name="connsiteX92" fmla="*/ 589280 w 3505200"/>
              <a:gd name="connsiteY92" fmla="*/ 8056880 h 8260080"/>
              <a:gd name="connsiteX93" fmla="*/ 497840 w 3505200"/>
              <a:gd name="connsiteY93" fmla="*/ 8117840 h 8260080"/>
              <a:gd name="connsiteX94" fmla="*/ 518160 w 3505200"/>
              <a:gd name="connsiteY94" fmla="*/ 8209280 h 8260080"/>
              <a:gd name="connsiteX95" fmla="*/ 640080 w 3505200"/>
              <a:gd name="connsiteY95" fmla="*/ 8260080 h 8260080"/>
              <a:gd name="connsiteX96" fmla="*/ 731520 w 3505200"/>
              <a:gd name="connsiteY96" fmla="*/ 8219440 h 8260080"/>
              <a:gd name="connsiteX97" fmla="*/ 853440 w 3505200"/>
              <a:gd name="connsiteY97" fmla="*/ 8209280 h 8260080"/>
              <a:gd name="connsiteX98" fmla="*/ 955040 w 3505200"/>
              <a:gd name="connsiteY98" fmla="*/ 8260080 h 8260080"/>
              <a:gd name="connsiteX99" fmla="*/ 965200 w 3505200"/>
              <a:gd name="connsiteY99" fmla="*/ 8107680 h 8260080"/>
              <a:gd name="connsiteX100" fmla="*/ 894080 w 3505200"/>
              <a:gd name="connsiteY100" fmla="*/ 8026400 h 8260080"/>
              <a:gd name="connsiteX101" fmla="*/ 1016000 w 3505200"/>
              <a:gd name="connsiteY101" fmla="*/ 7863840 h 8260080"/>
              <a:gd name="connsiteX102" fmla="*/ 1107440 w 3505200"/>
              <a:gd name="connsiteY102" fmla="*/ 7894320 h 8260080"/>
              <a:gd name="connsiteX103" fmla="*/ 1127760 w 3505200"/>
              <a:gd name="connsiteY103" fmla="*/ 7853680 h 8260080"/>
              <a:gd name="connsiteX104" fmla="*/ 1066800 w 3505200"/>
              <a:gd name="connsiteY104" fmla="*/ 7813040 h 8260080"/>
              <a:gd name="connsiteX105" fmla="*/ 1137920 w 3505200"/>
              <a:gd name="connsiteY105" fmla="*/ 7762240 h 8260080"/>
              <a:gd name="connsiteX106" fmla="*/ 1330960 w 3505200"/>
              <a:gd name="connsiteY106" fmla="*/ 7802880 h 8260080"/>
              <a:gd name="connsiteX107" fmla="*/ 1361440 w 3505200"/>
              <a:gd name="connsiteY107" fmla="*/ 7772400 h 8260080"/>
              <a:gd name="connsiteX108" fmla="*/ 1483360 w 3505200"/>
              <a:gd name="connsiteY108" fmla="*/ 7823200 h 8260080"/>
              <a:gd name="connsiteX109" fmla="*/ 1554480 w 3505200"/>
              <a:gd name="connsiteY109" fmla="*/ 7731760 h 8260080"/>
              <a:gd name="connsiteX110" fmla="*/ 1524000 w 3505200"/>
              <a:gd name="connsiteY110" fmla="*/ 7640320 h 8260080"/>
              <a:gd name="connsiteX111" fmla="*/ 1645920 w 3505200"/>
              <a:gd name="connsiteY111" fmla="*/ 7437120 h 8260080"/>
              <a:gd name="connsiteX112" fmla="*/ 1635760 w 3505200"/>
              <a:gd name="connsiteY112" fmla="*/ 7335520 h 8260080"/>
              <a:gd name="connsiteX113" fmla="*/ 1696720 w 3505200"/>
              <a:gd name="connsiteY113" fmla="*/ 7223760 h 8260080"/>
              <a:gd name="connsiteX114" fmla="*/ 1625600 w 3505200"/>
              <a:gd name="connsiteY114" fmla="*/ 7172960 h 8260080"/>
              <a:gd name="connsiteX115" fmla="*/ 1747520 w 3505200"/>
              <a:gd name="connsiteY115" fmla="*/ 6990080 h 8260080"/>
              <a:gd name="connsiteX116" fmla="*/ 1666240 w 3505200"/>
              <a:gd name="connsiteY116" fmla="*/ 6939280 h 8260080"/>
              <a:gd name="connsiteX117" fmla="*/ 1737360 w 3505200"/>
              <a:gd name="connsiteY117" fmla="*/ 6888480 h 8260080"/>
              <a:gd name="connsiteX118" fmla="*/ 1645920 w 3505200"/>
              <a:gd name="connsiteY118" fmla="*/ 6776720 h 8260080"/>
              <a:gd name="connsiteX119" fmla="*/ 1808480 w 3505200"/>
              <a:gd name="connsiteY119" fmla="*/ 6715760 h 8260080"/>
              <a:gd name="connsiteX120" fmla="*/ 1727200 w 3505200"/>
              <a:gd name="connsiteY120" fmla="*/ 6614160 h 8260080"/>
              <a:gd name="connsiteX121" fmla="*/ 1686560 w 3505200"/>
              <a:gd name="connsiteY121" fmla="*/ 6421120 h 8260080"/>
              <a:gd name="connsiteX122" fmla="*/ 1889760 w 3505200"/>
              <a:gd name="connsiteY122" fmla="*/ 6299200 h 8260080"/>
              <a:gd name="connsiteX123" fmla="*/ 1940560 w 3505200"/>
              <a:gd name="connsiteY123" fmla="*/ 6228080 h 8260080"/>
              <a:gd name="connsiteX124" fmla="*/ 2032000 w 3505200"/>
              <a:gd name="connsiteY124" fmla="*/ 6136640 h 8260080"/>
              <a:gd name="connsiteX125" fmla="*/ 2011680 w 3505200"/>
              <a:gd name="connsiteY125" fmla="*/ 6014720 h 8260080"/>
              <a:gd name="connsiteX126" fmla="*/ 2123440 w 3505200"/>
              <a:gd name="connsiteY126" fmla="*/ 6065520 h 8260080"/>
              <a:gd name="connsiteX127" fmla="*/ 2092960 w 3505200"/>
              <a:gd name="connsiteY127" fmla="*/ 6167120 h 8260080"/>
              <a:gd name="connsiteX128" fmla="*/ 2286000 w 3505200"/>
              <a:gd name="connsiteY128" fmla="*/ 5933440 h 8260080"/>
              <a:gd name="connsiteX129" fmla="*/ 2255520 w 3505200"/>
              <a:gd name="connsiteY129" fmla="*/ 5801360 h 8260080"/>
              <a:gd name="connsiteX130" fmla="*/ 2448560 w 3505200"/>
              <a:gd name="connsiteY130" fmla="*/ 5598160 h 8260080"/>
              <a:gd name="connsiteX131" fmla="*/ 2357120 w 3505200"/>
              <a:gd name="connsiteY131" fmla="*/ 5435600 h 8260080"/>
              <a:gd name="connsiteX132" fmla="*/ 2225040 w 3505200"/>
              <a:gd name="connsiteY132" fmla="*/ 5415280 h 8260080"/>
              <a:gd name="connsiteX133" fmla="*/ 2103120 w 3505200"/>
              <a:gd name="connsiteY133" fmla="*/ 5222240 h 8260080"/>
              <a:gd name="connsiteX134" fmla="*/ 2092960 w 3505200"/>
              <a:gd name="connsiteY134" fmla="*/ 5110480 h 8260080"/>
              <a:gd name="connsiteX135" fmla="*/ 2052320 w 3505200"/>
              <a:gd name="connsiteY135" fmla="*/ 5151120 h 8260080"/>
              <a:gd name="connsiteX136" fmla="*/ 2042160 w 3505200"/>
              <a:gd name="connsiteY136" fmla="*/ 5242560 h 8260080"/>
              <a:gd name="connsiteX137" fmla="*/ 1981200 w 3505200"/>
              <a:gd name="connsiteY137" fmla="*/ 5191760 h 8260080"/>
              <a:gd name="connsiteX138" fmla="*/ 2011680 w 3505200"/>
              <a:gd name="connsiteY138" fmla="*/ 5120640 h 8260080"/>
              <a:gd name="connsiteX139" fmla="*/ 1930400 w 3505200"/>
              <a:gd name="connsiteY139" fmla="*/ 5100320 h 8260080"/>
              <a:gd name="connsiteX140" fmla="*/ 1859280 w 3505200"/>
              <a:gd name="connsiteY140" fmla="*/ 4917440 h 8260080"/>
              <a:gd name="connsiteX141" fmla="*/ 1828800 w 3505200"/>
              <a:gd name="connsiteY141" fmla="*/ 4622800 h 8260080"/>
              <a:gd name="connsiteX142" fmla="*/ 1910080 w 3505200"/>
              <a:gd name="connsiteY142" fmla="*/ 4419600 h 8260080"/>
              <a:gd name="connsiteX143" fmla="*/ 1920240 w 3505200"/>
              <a:gd name="connsiteY143" fmla="*/ 4277360 h 8260080"/>
              <a:gd name="connsiteX144" fmla="*/ 1971040 w 3505200"/>
              <a:gd name="connsiteY144" fmla="*/ 4124960 h 8260080"/>
              <a:gd name="connsiteX145" fmla="*/ 1879600 w 3505200"/>
              <a:gd name="connsiteY145" fmla="*/ 4023360 h 8260080"/>
              <a:gd name="connsiteX146" fmla="*/ 2072640 w 3505200"/>
              <a:gd name="connsiteY146" fmla="*/ 4003040 h 8260080"/>
              <a:gd name="connsiteX147" fmla="*/ 2092960 w 3505200"/>
              <a:gd name="connsiteY147" fmla="*/ 3850640 h 8260080"/>
              <a:gd name="connsiteX148" fmla="*/ 2001520 w 3505200"/>
              <a:gd name="connsiteY148" fmla="*/ 3728720 h 8260080"/>
              <a:gd name="connsiteX149" fmla="*/ 2164080 w 3505200"/>
              <a:gd name="connsiteY149" fmla="*/ 3769360 h 8260080"/>
              <a:gd name="connsiteX150" fmla="*/ 2265680 w 3505200"/>
              <a:gd name="connsiteY150" fmla="*/ 3566160 h 8260080"/>
              <a:gd name="connsiteX151" fmla="*/ 2336800 w 3505200"/>
              <a:gd name="connsiteY151" fmla="*/ 3515360 h 8260080"/>
              <a:gd name="connsiteX152" fmla="*/ 2367280 w 3505200"/>
              <a:gd name="connsiteY152" fmla="*/ 3362960 h 8260080"/>
              <a:gd name="connsiteX153" fmla="*/ 2489200 w 3505200"/>
              <a:gd name="connsiteY153" fmla="*/ 3423920 h 8260080"/>
              <a:gd name="connsiteX154" fmla="*/ 2560320 w 3505200"/>
              <a:gd name="connsiteY154" fmla="*/ 3302000 h 8260080"/>
              <a:gd name="connsiteX155" fmla="*/ 2743200 w 3505200"/>
              <a:gd name="connsiteY155" fmla="*/ 3149600 h 8260080"/>
              <a:gd name="connsiteX156" fmla="*/ 2844800 w 3505200"/>
              <a:gd name="connsiteY156" fmla="*/ 3088640 h 8260080"/>
              <a:gd name="connsiteX157" fmla="*/ 2804160 w 3505200"/>
              <a:gd name="connsiteY157" fmla="*/ 2966720 h 8260080"/>
              <a:gd name="connsiteX158" fmla="*/ 2976880 w 3505200"/>
              <a:gd name="connsiteY158" fmla="*/ 2763520 h 8260080"/>
              <a:gd name="connsiteX159" fmla="*/ 2794000 w 3505200"/>
              <a:gd name="connsiteY159" fmla="*/ 2621280 h 8260080"/>
              <a:gd name="connsiteX160" fmla="*/ 2946400 w 3505200"/>
              <a:gd name="connsiteY160" fmla="*/ 2377440 h 8260080"/>
              <a:gd name="connsiteX161" fmla="*/ 2854960 w 3505200"/>
              <a:gd name="connsiteY161" fmla="*/ 2255520 h 8260080"/>
              <a:gd name="connsiteX162" fmla="*/ 3027680 w 3505200"/>
              <a:gd name="connsiteY162" fmla="*/ 2113280 h 8260080"/>
              <a:gd name="connsiteX163" fmla="*/ 3119120 w 3505200"/>
              <a:gd name="connsiteY163" fmla="*/ 2021840 h 8260080"/>
              <a:gd name="connsiteX164" fmla="*/ 3027680 w 3505200"/>
              <a:gd name="connsiteY164" fmla="*/ 1960880 h 8260080"/>
              <a:gd name="connsiteX165" fmla="*/ 3139440 w 3505200"/>
              <a:gd name="connsiteY165" fmla="*/ 1869440 h 8260080"/>
              <a:gd name="connsiteX166" fmla="*/ 3281680 w 3505200"/>
              <a:gd name="connsiteY166" fmla="*/ 1950720 h 8260080"/>
              <a:gd name="connsiteX167" fmla="*/ 3403600 w 3505200"/>
              <a:gd name="connsiteY167" fmla="*/ 1889760 h 8260080"/>
              <a:gd name="connsiteX168" fmla="*/ 3505200 w 3505200"/>
              <a:gd name="connsiteY168" fmla="*/ 1910080 h 8260080"/>
              <a:gd name="connsiteX169" fmla="*/ 3444240 w 3505200"/>
              <a:gd name="connsiteY169" fmla="*/ 1656080 h 8260080"/>
              <a:gd name="connsiteX170" fmla="*/ 3373120 w 3505200"/>
              <a:gd name="connsiteY170" fmla="*/ 1635760 h 8260080"/>
              <a:gd name="connsiteX171" fmla="*/ 3352800 w 3505200"/>
              <a:gd name="connsiteY171" fmla="*/ 1503680 h 8260080"/>
              <a:gd name="connsiteX172" fmla="*/ 3444240 w 3505200"/>
              <a:gd name="connsiteY172" fmla="*/ 1412240 h 8260080"/>
              <a:gd name="connsiteX173" fmla="*/ 3393440 w 3505200"/>
              <a:gd name="connsiteY173" fmla="*/ 1280160 h 8260080"/>
              <a:gd name="connsiteX174" fmla="*/ 3434080 w 3505200"/>
              <a:gd name="connsiteY174" fmla="*/ 1249680 h 8260080"/>
              <a:gd name="connsiteX175" fmla="*/ 3281680 w 3505200"/>
              <a:gd name="connsiteY175" fmla="*/ 1066800 h 8260080"/>
              <a:gd name="connsiteX176" fmla="*/ 3383280 w 3505200"/>
              <a:gd name="connsiteY176" fmla="*/ 975360 h 8260080"/>
              <a:gd name="connsiteX177" fmla="*/ 3302000 w 3505200"/>
              <a:gd name="connsiteY177" fmla="*/ 924560 h 8260080"/>
              <a:gd name="connsiteX178" fmla="*/ 3190240 w 3505200"/>
              <a:gd name="connsiteY178" fmla="*/ 944880 h 8260080"/>
              <a:gd name="connsiteX179" fmla="*/ 3281680 w 3505200"/>
              <a:gd name="connsiteY179" fmla="*/ 792480 h 8260080"/>
              <a:gd name="connsiteX180" fmla="*/ 3210560 w 3505200"/>
              <a:gd name="connsiteY180" fmla="*/ 650240 h 8260080"/>
              <a:gd name="connsiteX181" fmla="*/ 3302000 w 3505200"/>
              <a:gd name="connsiteY181" fmla="*/ 568960 h 8260080"/>
              <a:gd name="connsiteX182" fmla="*/ 3190240 w 3505200"/>
              <a:gd name="connsiteY182" fmla="*/ 487680 h 8260080"/>
              <a:gd name="connsiteX183" fmla="*/ 3108960 w 3505200"/>
              <a:gd name="connsiteY183" fmla="*/ 528320 h 8260080"/>
              <a:gd name="connsiteX184" fmla="*/ 3108960 w 3505200"/>
              <a:gd name="connsiteY184" fmla="*/ 406400 h 8260080"/>
              <a:gd name="connsiteX185" fmla="*/ 2926080 w 3505200"/>
              <a:gd name="connsiteY185" fmla="*/ 314960 h 8260080"/>
              <a:gd name="connsiteX186" fmla="*/ 2834640 w 3505200"/>
              <a:gd name="connsiteY186" fmla="*/ 355600 h 8260080"/>
              <a:gd name="connsiteX187" fmla="*/ 2682240 w 3505200"/>
              <a:gd name="connsiteY187" fmla="*/ 111760 h 8260080"/>
              <a:gd name="connsiteX188" fmla="*/ 2590800 w 3505200"/>
              <a:gd name="connsiteY188" fmla="*/ 121920 h 8260080"/>
              <a:gd name="connsiteX189" fmla="*/ 2611120 w 3505200"/>
              <a:gd name="connsiteY189" fmla="*/ 0 h 8260080"/>
              <a:gd name="connsiteX190" fmla="*/ 2438400 w 3505200"/>
              <a:gd name="connsiteY19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190574 w 3505200"/>
              <a:gd name="connsiteY70" fmla="*/ 6693346 h 8260080"/>
              <a:gd name="connsiteX71" fmla="*/ 150019 w 3505200"/>
              <a:gd name="connsiteY71" fmla="*/ 6767195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0019 w 3505200"/>
              <a:gd name="connsiteY71" fmla="*/ 6767195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0019 w 3505200"/>
              <a:gd name="connsiteY71" fmla="*/ 6767195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0019 w 3505200"/>
              <a:gd name="connsiteY71" fmla="*/ 6767195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7163 w 3505200"/>
              <a:gd name="connsiteY71" fmla="*/ 6779101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26536 w 3505200"/>
              <a:gd name="connsiteY72" fmla="*/ 6973887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26536 w 3505200"/>
              <a:gd name="connsiteY72" fmla="*/ 6973887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56077 w 3505200"/>
              <a:gd name="connsiteY76" fmla="*/ 7270909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56077 w 3505200"/>
              <a:gd name="connsiteY76" fmla="*/ 7270909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56077 w 3505200"/>
              <a:gd name="connsiteY76" fmla="*/ 7270909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282892 w 3505200"/>
              <a:gd name="connsiteY75" fmla="*/ 7300436 h 8260080"/>
              <a:gd name="connsiteX76" fmla="*/ 356077 w 3505200"/>
              <a:gd name="connsiteY76" fmla="*/ 7270909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282892 w 3505200"/>
              <a:gd name="connsiteY75" fmla="*/ 7300436 h 8260080"/>
              <a:gd name="connsiteX76" fmla="*/ 334645 w 3505200"/>
              <a:gd name="connsiteY76" fmla="*/ 7194709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282892 w 3505200"/>
              <a:gd name="connsiteY75" fmla="*/ 7300436 h 8260080"/>
              <a:gd name="connsiteX76" fmla="*/ 334645 w 3505200"/>
              <a:gd name="connsiteY76" fmla="*/ 7194709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282892 w 3505200"/>
              <a:gd name="connsiteY75" fmla="*/ 7300436 h 8260080"/>
              <a:gd name="connsiteX76" fmla="*/ 334645 w 3505200"/>
              <a:gd name="connsiteY76" fmla="*/ 7194709 h 8260080"/>
              <a:gd name="connsiteX77" fmla="*/ 337026 w 3505200"/>
              <a:gd name="connsiteY77" fmla="*/ 7316154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282892 w 3505200"/>
              <a:gd name="connsiteY75" fmla="*/ 7300436 h 8260080"/>
              <a:gd name="connsiteX76" fmla="*/ 334645 w 3505200"/>
              <a:gd name="connsiteY76" fmla="*/ 7194709 h 8260080"/>
              <a:gd name="connsiteX77" fmla="*/ 354881 w 3505200"/>
              <a:gd name="connsiteY77" fmla="*/ 7257702 h 8260080"/>
              <a:gd name="connsiteX78" fmla="*/ 337026 w 3505200"/>
              <a:gd name="connsiteY78" fmla="*/ 7316154 h 8260080"/>
              <a:gd name="connsiteX79" fmla="*/ 370364 w 3505200"/>
              <a:gd name="connsiteY79" fmla="*/ 7360602 h 8260080"/>
              <a:gd name="connsiteX80" fmla="*/ 447040 w 3505200"/>
              <a:gd name="connsiteY80" fmla="*/ 7366000 h 8260080"/>
              <a:gd name="connsiteX81" fmla="*/ 447040 w 3505200"/>
              <a:gd name="connsiteY81" fmla="*/ 7477760 h 8260080"/>
              <a:gd name="connsiteX82" fmla="*/ 558800 w 3505200"/>
              <a:gd name="connsiteY82" fmla="*/ 7528560 h 8260080"/>
              <a:gd name="connsiteX83" fmla="*/ 508000 w 3505200"/>
              <a:gd name="connsiteY83" fmla="*/ 7630160 h 8260080"/>
              <a:gd name="connsiteX84" fmla="*/ 436880 w 3505200"/>
              <a:gd name="connsiteY84" fmla="*/ 7609840 h 8260080"/>
              <a:gd name="connsiteX85" fmla="*/ 447040 w 3505200"/>
              <a:gd name="connsiteY85" fmla="*/ 7691120 h 8260080"/>
              <a:gd name="connsiteX86" fmla="*/ 518160 w 3505200"/>
              <a:gd name="connsiteY86" fmla="*/ 7741920 h 8260080"/>
              <a:gd name="connsiteX87" fmla="*/ 457200 w 3505200"/>
              <a:gd name="connsiteY87" fmla="*/ 7792720 h 8260080"/>
              <a:gd name="connsiteX88" fmla="*/ 396240 w 3505200"/>
              <a:gd name="connsiteY88" fmla="*/ 7701280 h 8260080"/>
              <a:gd name="connsiteX89" fmla="*/ 396240 w 3505200"/>
              <a:gd name="connsiteY89" fmla="*/ 7701280 h 8260080"/>
              <a:gd name="connsiteX90" fmla="*/ 436880 w 3505200"/>
              <a:gd name="connsiteY90" fmla="*/ 7874000 h 8260080"/>
              <a:gd name="connsiteX91" fmla="*/ 436880 w 3505200"/>
              <a:gd name="connsiteY91" fmla="*/ 7924800 h 8260080"/>
              <a:gd name="connsiteX92" fmla="*/ 548640 w 3505200"/>
              <a:gd name="connsiteY92" fmla="*/ 7965440 h 8260080"/>
              <a:gd name="connsiteX93" fmla="*/ 508000 w 3505200"/>
              <a:gd name="connsiteY93" fmla="*/ 8016240 h 8260080"/>
              <a:gd name="connsiteX94" fmla="*/ 589280 w 3505200"/>
              <a:gd name="connsiteY94" fmla="*/ 8056880 h 8260080"/>
              <a:gd name="connsiteX95" fmla="*/ 497840 w 3505200"/>
              <a:gd name="connsiteY95" fmla="*/ 8117840 h 8260080"/>
              <a:gd name="connsiteX96" fmla="*/ 518160 w 3505200"/>
              <a:gd name="connsiteY96" fmla="*/ 8209280 h 8260080"/>
              <a:gd name="connsiteX97" fmla="*/ 640080 w 3505200"/>
              <a:gd name="connsiteY97" fmla="*/ 8260080 h 8260080"/>
              <a:gd name="connsiteX98" fmla="*/ 731520 w 3505200"/>
              <a:gd name="connsiteY98" fmla="*/ 8219440 h 8260080"/>
              <a:gd name="connsiteX99" fmla="*/ 853440 w 3505200"/>
              <a:gd name="connsiteY99" fmla="*/ 8209280 h 8260080"/>
              <a:gd name="connsiteX100" fmla="*/ 955040 w 3505200"/>
              <a:gd name="connsiteY100" fmla="*/ 8260080 h 8260080"/>
              <a:gd name="connsiteX101" fmla="*/ 965200 w 3505200"/>
              <a:gd name="connsiteY101" fmla="*/ 8107680 h 8260080"/>
              <a:gd name="connsiteX102" fmla="*/ 894080 w 3505200"/>
              <a:gd name="connsiteY102" fmla="*/ 8026400 h 8260080"/>
              <a:gd name="connsiteX103" fmla="*/ 1016000 w 3505200"/>
              <a:gd name="connsiteY103" fmla="*/ 7863840 h 8260080"/>
              <a:gd name="connsiteX104" fmla="*/ 1107440 w 3505200"/>
              <a:gd name="connsiteY104" fmla="*/ 7894320 h 8260080"/>
              <a:gd name="connsiteX105" fmla="*/ 1127760 w 3505200"/>
              <a:gd name="connsiteY105" fmla="*/ 7853680 h 8260080"/>
              <a:gd name="connsiteX106" fmla="*/ 1066800 w 3505200"/>
              <a:gd name="connsiteY106" fmla="*/ 7813040 h 8260080"/>
              <a:gd name="connsiteX107" fmla="*/ 1137920 w 3505200"/>
              <a:gd name="connsiteY107" fmla="*/ 7762240 h 8260080"/>
              <a:gd name="connsiteX108" fmla="*/ 1330960 w 3505200"/>
              <a:gd name="connsiteY108" fmla="*/ 7802880 h 8260080"/>
              <a:gd name="connsiteX109" fmla="*/ 1361440 w 3505200"/>
              <a:gd name="connsiteY109" fmla="*/ 7772400 h 8260080"/>
              <a:gd name="connsiteX110" fmla="*/ 1483360 w 3505200"/>
              <a:gd name="connsiteY110" fmla="*/ 7823200 h 8260080"/>
              <a:gd name="connsiteX111" fmla="*/ 1554480 w 3505200"/>
              <a:gd name="connsiteY111" fmla="*/ 7731760 h 8260080"/>
              <a:gd name="connsiteX112" fmla="*/ 1524000 w 3505200"/>
              <a:gd name="connsiteY112" fmla="*/ 7640320 h 8260080"/>
              <a:gd name="connsiteX113" fmla="*/ 1645920 w 3505200"/>
              <a:gd name="connsiteY113" fmla="*/ 7437120 h 8260080"/>
              <a:gd name="connsiteX114" fmla="*/ 1635760 w 3505200"/>
              <a:gd name="connsiteY114" fmla="*/ 7335520 h 8260080"/>
              <a:gd name="connsiteX115" fmla="*/ 1696720 w 3505200"/>
              <a:gd name="connsiteY115" fmla="*/ 7223760 h 8260080"/>
              <a:gd name="connsiteX116" fmla="*/ 1625600 w 3505200"/>
              <a:gd name="connsiteY116" fmla="*/ 7172960 h 8260080"/>
              <a:gd name="connsiteX117" fmla="*/ 1747520 w 3505200"/>
              <a:gd name="connsiteY117" fmla="*/ 6990080 h 8260080"/>
              <a:gd name="connsiteX118" fmla="*/ 1666240 w 3505200"/>
              <a:gd name="connsiteY118" fmla="*/ 6939280 h 8260080"/>
              <a:gd name="connsiteX119" fmla="*/ 1737360 w 3505200"/>
              <a:gd name="connsiteY119" fmla="*/ 6888480 h 8260080"/>
              <a:gd name="connsiteX120" fmla="*/ 1645920 w 3505200"/>
              <a:gd name="connsiteY120" fmla="*/ 6776720 h 8260080"/>
              <a:gd name="connsiteX121" fmla="*/ 1808480 w 3505200"/>
              <a:gd name="connsiteY121" fmla="*/ 6715760 h 8260080"/>
              <a:gd name="connsiteX122" fmla="*/ 1727200 w 3505200"/>
              <a:gd name="connsiteY122" fmla="*/ 6614160 h 8260080"/>
              <a:gd name="connsiteX123" fmla="*/ 1686560 w 3505200"/>
              <a:gd name="connsiteY123" fmla="*/ 6421120 h 8260080"/>
              <a:gd name="connsiteX124" fmla="*/ 1889760 w 3505200"/>
              <a:gd name="connsiteY124" fmla="*/ 6299200 h 8260080"/>
              <a:gd name="connsiteX125" fmla="*/ 1940560 w 3505200"/>
              <a:gd name="connsiteY125" fmla="*/ 6228080 h 8260080"/>
              <a:gd name="connsiteX126" fmla="*/ 2032000 w 3505200"/>
              <a:gd name="connsiteY126" fmla="*/ 6136640 h 8260080"/>
              <a:gd name="connsiteX127" fmla="*/ 2011680 w 3505200"/>
              <a:gd name="connsiteY127" fmla="*/ 6014720 h 8260080"/>
              <a:gd name="connsiteX128" fmla="*/ 2123440 w 3505200"/>
              <a:gd name="connsiteY128" fmla="*/ 6065520 h 8260080"/>
              <a:gd name="connsiteX129" fmla="*/ 2092960 w 3505200"/>
              <a:gd name="connsiteY129" fmla="*/ 6167120 h 8260080"/>
              <a:gd name="connsiteX130" fmla="*/ 2286000 w 3505200"/>
              <a:gd name="connsiteY130" fmla="*/ 5933440 h 8260080"/>
              <a:gd name="connsiteX131" fmla="*/ 2255520 w 3505200"/>
              <a:gd name="connsiteY131" fmla="*/ 5801360 h 8260080"/>
              <a:gd name="connsiteX132" fmla="*/ 2448560 w 3505200"/>
              <a:gd name="connsiteY132" fmla="*/ 5598160 h 8260080"/>
              <a:gd name="connsiteX133" fmla="*/ 2357120 w 3505200"/>
              <a:gd name="connsiteY133" fmla="*/ 5435600 h 8260080"/>
              <a:gd name="connsiteX134" fmla="*/ 2225040 w 3505200"/>
              <a:gd name="connsiteY134" fmla="*/ 5415280 h 8260080"/>
              <a:gd name="connsiteX135" fmla="*/ 2103120 w 3505200"/>
              <a:gd name="connsiteY135" fmla="*/ 5222240 h 8260080"/>
              <a:gd name="connsiteX136" fmla="*/ 2092960 w 3505200"/>
              <a:gd name="connsiteY136" fmla="*/ 5110480 h 8260080"/>
              <a:gd name="connsiteX137" fmla="*/ 2052320 w 3505200"/>
              <a:gd name="connsiteY137" fmla="*/ 5151120 h 8260080"/>
              <a:gd name="connsiteX138" fmla="*/ 2042160 w 3505200"/>
              <a:gd name="connsiteY138" fmla="*/ 5242560 h 8260080"/>
              <a:gd name="connsiteX139" fmla="*/ 1981200 w 3505200"/>
              <a:gd name="connsiteY139" fmla="*/ 5191760 h 8260080"/>
              <a:gd name="connsiteX140" fmla="*/ 2011680 w 3505200"/>
              <a:gd name="connsiteY140" fmla="*/ 5120640 h 8260080"/>
              <a:gd name="connsiteX141" fmla="*/ 1930400 w 3505200"/>
              <a:gd name="connsiteY141" fmla="*/ 5100320 h 8260080"/>
              <a:gd name="connsiteX142" fmla="*/ 1859280 w 3505200"/>
              <a:gd name="connsiteY142" fmla="*/ 4917440 h 8260080"/>
              <a:gd name="connsiteX143" fmla="*/ 1828800 w 3505200"/>
              <a:gd name="connsiteY143" fmla="*/ 4622800 h 8260080"/>
              <a:gd name="connsiteX144" fmla="*/ 1910080 w 3505200"/>
              <a:gd name="connsiteY144" fmla="*/ 4419600 h 8260080"/>
              <a:gd name="connsiteX145" fmla="*/ 1920240 w 3505200"/>
              <a:gd name="connsiteY145" fmla="*/ 4277360 h 8260080"/>
              <a:gd name="connsiteX146" fmla="*/ 1971040 w 3505200"/>
              <a:gd name="connsiteY146" fmla="*/ 4124960 h 8260080"/>
              <a:gd name="connsiteX147" fmla="*/ 1879600 w 3505200"/>
              <a:gd name="connsiteY147" fmla="*/ 4023360 h 8260080"/>
              <a:gd name="connsiteX148" fmla="*/ 2072640 w 3505200"/>
              <a:gd name="connsiteY148" fmla="*/ 4003040 h 8260080"/>
              <a:gd name="connsiteX149" fmla="*/ 2092960 w 3505200"/>
              <a:gd name="connsiteY149" fmla="*/ 3850640 h 8260080"/>
              <a:gd name="connsiteX150" fmla="*/ 2001520 w 3505200"/>
              <a:gd name="connsiteY150" fmla="*/ 3728720 h 8260080"/>
              <a:gd name="connsiteX151" fmla="*/ 2164080 w 3505200"/>
              <a:gd name="connsiteY151" fmla="*/ 3769360 h 8260080"/>
              <a:gd name="connsiteX152" fmla="*/ 2265680 w 3505200"/>
              <a:gd name="connsiteY152" fmla="*/ 3566160 h 8260080"/>
              <a:gd name="connsiteX153" fmla="*/ 2336800 w 3505200"/>
              <a:gd name="connsiteY153" fmla="*/ 3515360 h 8260080"/>
              <a:gd name="connsiteX154" fmla="*/ 2367280 w 3505200"/>
              <a:gd name="connsiteY154" fmla="*/ 3362960 h 8260080"/>
              <a:gd name="connsiteX155" fmla="*/ 2489200 w 3505200"/>
              <a:gd name="connsiteY155" fmla="*/ 3423920 h 8260080"/>
              <a:gd name="connsiteX156" fmla="*/ 2560320 w 3505200"/>
              <a:gd name="connsiteY156" fmla="*/ 3302000 h 8260080"/>
              <a:gd name="connsiteX157" fmla="*/ 2743200 w 3505200"/>
              <a:gd name="connsiteY157" fmla="*/ 3149600 h 8260080"/>
              <a:gd name="connsiteX158" fmla="*/ 2844800 w 3505200"/>
              <a:gd name="connsiteY158" fmla="*/ 3088640 h 8260080"/>
              <a:gd name="connsiteX159" fmla="*/ 2804160 w 3505200"/>
              <a:gd name="connsiteY159" fmla="*/ 2966720 h 8260080"/>
              <a:gd name="connsiteX160" fmla="*/ 2976880 w 3505200"/>
              <a:gd name="connsiteY160" fmla="*/ 2763520 h 8260080"/>
              <a:gd name="connsiteX161" fmla="*/ 2794000 w 3505200"/>
              <a:gd name="connsiteY161" fmla="*/ 2621280 h 8260080"/>
              <a:gd name="connsiteX162" fmla="*/ 2946400 w 3505200"/>
              <a:gd name="connsiteY162" fmla="*/ 2377440 h 8260080"/>
              <a:gd name="connsiteX163" fmla="*/ 2854960 w 3505200"/>
              <a:gd name="connsiteY163" fmla="*/ 2255520 h 8260080"/>
              <a:gd name="connsiteX164" fmla="*/ 3027680 w 3505200"/>
              <a:gd name="connsiteY164" fmla="*/ 2113280 h 8260080"/>
              <a:gd name="connsiteX165" fmla="*/ 3119120 w 3505200"/>
              <a:gd name="connsiteY165" fmla="*/ 2021840 h 8260080"/>
              <a:gd name="connsiteX166" fmla="*/ 3027680 w 3505200"/>
              <a:gd name="connsiteY166" fmla="*/ 1960880 h 8260080"/>
              <a:gd name="connsiteX167" fmla="*/ 3139440 w 3505200"/>
              <a:gd name="connsiteY167" fmla="*/ 1869440 h 8260080"/>
              <a:gd name="connsiteX168" fmla="*/ 3281680 w 3505200"/>
              <a:gd name="connsiteY168" fmla="*/ 1950720 h 8260080"/>
              <a:gd name="connsiteX169" fmla="*/ 3403600 w 3505200"/>
              <a:gd name="connsiteY169" fmla="*/ 1889760 h 8260080"/>
              <a:gd name="connsiteX170" fmla="*/ 3505200 w 3505200"/>
              <a:gd name="connsiteY170" fmla="*/ 1910080 h 8260080"/>
              <a:gd name="connsiteX171" fmla="*/ 3444240 w 3505200"/>
              <a:gd name="connsiteY171" fmla="*/ 1656080 h 8260080"/>
              <a:gd name="connsiteX172" fmla="*/ 3373120 w 3505200"/>
              <a:gd name="connsiteY172" fmla="*/ 1635760 h 8260080"/>
              <a:gd name="connsiteX173" fmla="*/ 3352800 w 3505200"/>
              <a:gd name="connsiteY173" fmla="*/ 1503680 h 8260080"/>
              <a:gd name="connsiteX174" fmla="*/ 3444240 w 3505200"/>
              <a:gd name="connsiteY174" fmla="*/ 1412240 h 8260080"/>
              <a:gd name="connsiteX175" fmla="*/ 3393440 w 3505200"/>
              <a:gd name="connsiteY175" fmla="*/ 1280160 h 8260080"/>
              <a:gd name="connsiteX176" fmla="*/ 3434080 w 3505200"/>
              <a:gd name="connsiteY176" fmla="*/ 1249680 h 8260080"/>
              <a:gd name="connsiteX177" fmla="*/ 3281680 w 3505200"/>
              <a:gd name="connsiteY177" fmla="*/ 1066800 h 8260080"/>
              <a:gd name="connsiteX178" fmla="*/ 3383280 w 3505200"/>
              <a:gd name="connsiteY178" fmla="*/ 975360 h 8260080"/>
              <a:gd name="connsiteX179" fmla="*/ 3302000 w 3505200"/>
              <a:gd name="connsiteY179" fmla="*/ 924560 h 8260080"/>
              <a:gd name="connsiteX180" fmla="*/ 3190240 w 3505200"/>
              <a:gd name="connsiteY180" fmla="*/ 944880 h 8260080"/>
              <a:gd name="connsiteX181" fmla="*/ 3281680 w 3505200"/>
              <a:gd name="connsiteY181" fmla="*/ 792480 h 8260080"/>
              <a:gd name="connsiteX182" fmla="*/ 3210560 w 3505200"/>
              <a:gd name="connsiteY182" fmla="*/ 650240 h 8260080"/>
              <a:gd name="connsiteX183" fmla="*/ 3302000 w 3505200"/>
              <a:gd name="connsiteY183" fmla="*/ 568960 h 8260080"/>
              <a:gd name="connsiteX184" fmla="*/ 3190240 w 3505200"/>
              <a:gd name="connsiteY184" fmla="*/ 487680 h 8260080"/>
              <a:gd name="connsiteX185" fmla="*/ 3108960 w 3505200"/>
              <a:gd name="connsiteY185" fmla="*/ 528320 h 8260080"/>
              <a:gd name="connsiteX186" fmla="*/ 3108960 w 3505200"/>
              <a:gd name="connsiteY186" fmla="*/ 406400 h 8260080"/>
              <a:gd name="connsiteX187" fmla="*/ 2926080 w 3505200"/>
              <a:gd name="connsiteY187" fmla="*/ 314960 h 8260080"/>
              <a:gd name="connsiteX188" fmla="*/ 2834640 w 3505200"/>
              <a:gd name="connsiteY188" fmla="*/ 355600 h 8260080"/>
              <a:gd name="connsiteX189" fmla="*/ 2682240 w 3505200"/>
              <a:gd name="connsiteY189" fmla="*/ 111760 h 8260080"/>
              <a:gd name="connsiteX190" fmla="*/ 2590800 w 3505200"/>
              <a:gd name="connsiteY190" fmla="*/ 121920 h 8260080"/>
              <a:gd name="connsiteX191" fmla="*/ 2611120 w 3505200"/>
              <a:gd name="connsiteY191" fmla="*/ 0 h 8260080"/>
              <a:gd name="connsiteX192" fmla="*/ 2438400 w 3505200"/>
              <a:gd name="connsiteY19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9624 w 3505200"/>
              <a:gd name="connsiteY70" fmla="*/ 6602858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9624 w 3505200"/>
              <a:gd name="connsiteY70" fmla="*/ 6602858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38112 w 3505200"/>
              <a:gd name="connsiteY71" fmla="*/ 6767194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38112 w 3505200"/>
              <a:gd name="connsiteY71" fmla="*/ 6767194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38112 w 3505200"/>
              <a:gd name="connsiteY72" fmla="*/ 6767194 h 8260080"/>
              <a:gd name="connsiteX73" fmla="*/ 233679 w 3505200"/>
              <a:gd name="connsiteY73" fmla="*/ 6971505 h 8260080"/>
              <a:gd name="connsiteX74" fmla="*/ 271463 w 3505200"/>
              <a:gd name="connsiteY74" fmla="*/ 7030085 h 8260080"/>
              <a:gd name="connsiteX75" fmla="*/ 280829 w 3505200"/>
              <a:gd name="connsiteY75" fmla="*/ 7148354 h 8260080"/>
              <a:gd name="connsiteX76" fmla="*/ 242962 w 3505200"/>
              <a:gd name="connsiteY76" fmla="*/ 7226746 h 8260080"/>
              <a:gd name="connsiteX77" fmla="*/ 282892 w 3505200"/>
              <a:gd name="connsiteY77" fmla="*/ 7300436 h 8260080"/>
              <a:gd name="connsiteX78" fmla="*/ 334645 w 3505200"/>
              <a:gd name="connsiteY78" fmla="*/ 7194709 h 8260080"/>
              <a:gd name="connsiteX79" fmla="*/ 354881 w 3505200"/>
              <a:gd name="connsiteY79" fmla="*/ 7257702 h 8260080"/>
              <a:gd name="connsiteX80" fmla="*/ 337026 w 3505200"/>
              <a:gd name="connsiteY80" fmla="*/ 7316154 h 8260080"/>
              <a:gd name="connsiteX81" fmla="*/ 370364 w 3505200"/>
              <a:gd name="connsiteY81" fmla="*/ 7360602 h 8260080"/>
              <a:gd name="connsiteX82" fmla="*/ 447040 w 3505200"/>
              <a:gd name="connsiteY82" fmla="*/ 7366000 h 8260080"/>
              <a:gd name="connsiteX83" fmla="*/ 447040 w 3505200"/>
              <a:gd name="connsiteY83" fmla="*/ 7477760 h 8260080"/>
              <a:gd name="connsiteX84" fmla="*/ 558800 w 3505200"/>
              <a:gd name="connsiteY84" fmla="*/ 7528560 h 8260080"/>
              <a:gd name="connsiteX85" fmla="*/ 508000 w 3505200"/>
              <a:gd name="connsiteY85" fmla="*/ 7630160 h 8260080"/>
              <a:gd name="connsiteX86" fmla="*/ 436880 w 3505200"/>
              <a:gd name="connsiteY86" fmla="*/ 7609840 h 8260080"/>
              <a:gd name="connsiteX87" fmla="*/ 447040 w 3505200"/>
              <a:gd name="connsiteY87" fmla="*/ 7691120 h 8260080"/>
              <a:gd name="connsiteX88" fmla="*/ 518160 w 3505200"/>
              <a:gd name="connsiteY88" fmla="*/ 7741920 h 8260080"/>
              <a:gd name="connsiteX89" fmla="*/ 457200 w 3505200"/>
              <a:gd name="connsiteY89" fmla="*/ 7792720 h 8260080"/>
              <a:gd name="connsiteX90" fmla="*/ 396240 w 3505200"/>
              <a:gd name="connsiteY90" fmla="*/ 7701280 h 8260080"/>
              <a:gd name="connsiteX91" fmla="*/ 396240 w 3505200"/>
              <a:gd name="connsiteY91" fmla="*/ 7701280 h 8260080"/>
              <a:gd name="connsiteX92" fmla="*/ 436880 w 3505200"/>
              <a:gd name="connsiteY92" fmla="*/ 7874000 h 8260080"/>
              <a:gd name="connsiteX93" fmla="*/ 436880 w 3505200"/>
              <a:gd name="connsiteY93" fmla="*/ 7924800 h 8260080"/>
              <a:gd name="connsiteX94" fmla="*/ 548640 w 3505200"/>
              <a:gd name="connsiteY94" fmla="*/ 7965440 h 8260080"/>
              <a:gd name="connsiteX95" fmla="*/ 508000 w 3505200"/>
              <a:gd name="connsiteY95" fmla="*/ 8016240 h 8260080"/>
              <a:gd name="connsiteX96" fmla="*/ 589280 w 3505200"/>
              <a:gd name="connsiteY96" fmla="*/ 8056880 h 8260080"/>
              <a:gd name="connsiteX97" fmla="*/ 497840 w 3505200"/>
              <a:gd name="connsiteY97" fmla="*/ 8117840 h 8260080"/>
              <a:gd name="connsiteX98" fmla="*/ 518160 w 3505200"/>
              <a:gd name="connsiteY98" fmla="*/ 8209280 h 8260080"/>
              <a:gd name="connsiteX99" fmla="*/ 640080 w 3505200"/>
              <a:gd name="connsiteY99" fmla="*/ 8260080 h 8260080"/>
              <a:gd name="connsiteX100" fmla="*/ 731520 w 3505200"/>
              <a:gd name="connsiteY100" fmla="*/ 8219440 h 8260080"/>
              <a:gd name="connsiteX101" fmla="*/ 853440 w 3505200"/>
              <a:gd name="connsiteY101" fmla="*/ 8209280 h 8260080"/>
              <a:gd name="connsiteX102" fmla="*/ 955040 w 3505200"/>
              <a:gd name="connsiteY102" fmla="*/ 8260080 h 8260080"/>
              <a:gd name="connsiteX103" fmla="*/ 965200 w 3505200"/>
              <a:gd name="connsiteY103" fmla="*/ 8107680 h 8260080"/>
              <a:gd name="connsiteX104" fmla="*/ 894080 w 3505200"/>
              <a:gd name="connsiteY104" fmla="*/ 8026400 h 8260080"/>
              <a:gd name="connsiteX105" fmla="*/ 1016000 w 3505200"/>
              <a:gd name="connsiteY105" fmla="*/ 7863840 h 8260080"/>
              <a:gd name="connsiteX106" fmla="*/ 1107440 w 3505200"/>
              <a:gd name="connsiteY106" fmla="*/ 7894320 h 8260080"/>
              <a:gd name="connsiteX107" fmla="*/ 1127760 w 3505200"/>
              <a:gd name="connsiteY107" fmla="*/ 7853680 h 8260080"/>
              <a:gd name="connsiteX108" fmla="*/ 1066800 w 3505200"/>
              <a:gd name="connsiteY108" fmla="*/ 7813040 h 8260080"/>
              <a:gd name="connsiteX109" fmla="*/ 1137920 w 3505200"/>
              <a:gd name="connsiteY109" fmla="*/ 7762240 h 8260080"/>
              <a:gd name="connsiteX110" fmla="*/ 1330960 w 3505200"/>
              <a:gd name="connsiteY110" fmla="*/ 7802880 h 8260080"/>
              <a:gd name="connsiteX111" fmla="*/ 1361440 w 3505200"/>
              <a:gd name="connsiteY111" fmla="*/ 7772400 h 8260080"/>
              <a:gd name="connsiteX112" fmla="*/ 1483360 w 3505200"/>
              <a:gd name="connsiteY112" fmla="*/ 7823200 h 8260080"/>
              <a:gd name="connsiteX113" fmla="*/ 1554480 w 3505200"/>
              <a:gd name="connsiteY113" fmla="*/ 7731760 h 8260080"/>
              <a:gd name="connsiteX114" fmla="*/ 1524000 w 3505200"/>
              <a:gd name="connsiteY114" fmla="*/ 7640320 h 8260080"/>
              <a:gd name="connsiteX115" fmla="*/ 1645920 w 3505200"/>
              <a:gd name="connsiteY115" fmla="*/ 7437120 h 8260080"/>
              <a:gd name="connsiteX116" fmla="*/ 1635760 w 3505200"/>
              <a:gd name="connsiteY116" fmla="*/ 7335520 h 8260080"/>
              <a:gd name="connsiteX117" fmla="*/ 1696720 w 3505200"/>
              <a:gd name="connsiteY117" fmla="*/ 7223760 h 8260080"/>
              <a:gd name="connsiteX118" fmla="*/ 1625600 w 3505200"/>
              <a:gd name="connsiteY118" fmla="*/ 7172960 h 8260080"/>
              <a:gd name="connsiteX119" fmla="*/ 1747520 w 3505200"/>
              <a:gd name="connsiteY119" fmla="*/ 6990080 h 8260080"/>
              <a:gd name="connsiteX120" fmla="*/ 1666240 w 3505200"/>
              <a:gd name="connsiteY120" fmla="*/ 6939280 h 8260080"/>
              <a:gd name="connsiteX121" fmla="*/ 1737360 w 3505200"/>
              <a:gd name="connsiteY121" fmla="*/ 6888480 h 8260080"/>
              <a:gd name="connsiteX122" fmla="*/ 1645920 w 3505200"/>
              <a:gd name="connsiteY122" fmla="*/ 6776720 h 8260080"/>
              <a:gd name="connsiteX123" fmla="*/ 1808480 w 3505200"/>
              <a:gd name="connsiteY123" fmla="*/ 6715760 h 8260080"/>
              <a:gd name="connsiteX124" fmla="*/ 1727200 w 3505200"/>
              <a:gd name="connsiteY124" fmla="*/ 6614160 h 8260080"/>
              <a:gd name="connsiteX125" fmla="*/ 1686560 w 3505200"/>
              <a:gd name="connsiteY125" fmla="*/ 6421120 h 8260080"/>
              <a:gd name="connsiteX126" fmla="*/ 1889760 w 3505200"/>
              <a:gd name="connsiteY126" fmla="*/ 6299200 h 8260080"/>
              <a:gd name="connsiteX127" fmla="*/ 1940560 w 3505200"/>
              <a:gd name="connsiteY127" fmla="*/ 6228080 h 8260080"/>
              <a:gd name="connsiteX128" fmla="*/ 2032000 w 3505200"/>
              <a:gd name="connsiteY128" fmla="*/ 6136640 h 8260080"/>
              <a:gd name="connsiteX129" fmla="*/ 2011680 w 3505200"/>
              <a:gd name="connsiteY129" fmla="*/ 6014720 h 8260080"/>
              <a:gd name="connsiteX130" fmla="*/ 2123440 w 3505200"/>
              <a:gd name="connsiteY130" fmla="*/ 6065520 h 8260080"/>
              <a:gd name="connsiteX131" fmla="*/ 2092960 w 3505200"/>
              <a:gd name="connsiteY131" fmla="*/ 6167120 h 8260080"/>
              <a:gd name="connsiteX132" fmla="*/ 2286000 w 3505200"/>
              <a:gd name="connsiteY132" fmla="*/ 5933440 h 8260080"/>
              <a:gd name="connsiteX133" fmla="*/ 2255520 w 3505200"/>
              <a:gd name="connsiteY133" fmla="*/ 5801360 h 8260080"/>
              <a:gd name="connsiteX134" fmla="*/ 2448560 w 3505200"/>
              <a:gd name="connsiteY134" fmla="*/ 5598160 h 8260080"/>
              <a:gd name="connsiteX135" fmla="*/ 2357120 w 3505200"/>
              <a:gd name="connsiteY135" fmla="*/ 5435600 h 8260080"/>
              <a:gd name="connsiteX136" fmla="*/ 2225040 w 3505200"/>
              <a:gd name="connsiteY136" fmla="*/ 5415280 h 8260080"/>
              <a:gd name="connsiteX137" fmla="*/ 2103120 w 3505200"/>
              <a:gd name="connsiteY137" fmla="*/ 5222240 h 8260080"/>
              <a:gd name="connsiteX138" fmla="*/ 2092960 w 3505200"/>
              <a:gd name="connsiteY138" fmla="*/ 5110480 h 8260080"/>
              <a:gd name="connsiteX139" fmla="*/ 2052320 w 3505200"/>
              <a:gd name="connsiteY139" fmla="*/ 5151120 h 8260080"/>
              <a:gd name="connsiteX140" fmla="*/ 2042160 w 3505200"/>
              <a:gd name="connsiteY140" fmla="*/ 5242560 h 8260080"/>
              <a:gd name="connsiteX141" fmla="*/ 1981200 w 3505200"/>
              <a:gd name="connsiteY141" fmla="*/ 5191760 h 8260080"/>
              <a:gd name="connsiteX142" fmla="*/ 2011680 w 3505200"/>
              <a:gd name="connsiteY142" fmla="*/ 5120640 h 8260080"/>
              <a:gd name="connsiteX143" fmla="*/ 1930400 w 3505200"/>
              <a:gd name="connsiteY143" fmla="*/ 5100320 h 8260080"/>
              <a:gd name="connsiteX144" fmla="*/ 1859280 w 3505200"/>
              <a:gd name="connsiteY144" fmla="*/ 4917440 h 8260080"/>
              <a:gd name="connsiteX145" fmla="*/ 1828800 w 3505200"/>
              <a:gd name="connsiteY145" fmla="*/ 4622800 h 8260080"/>
              <a:gd name="connsiteX146" fmla="*/ 1910080 w 3505200"/>
              <a:gd name="connsiteY146" fmla="*/ 4419600 h 8260080"/>
              <a:gd name="connsiteX147" fmla="*/ 1920240 w 3505200"/>
              <a:gd name="connsiteY147" fmla="*/ 4277360 h 8260080"/>
              <a:gd name="connsiteX148" fmla="*/ 1971040 w 3505200"/>
              <a:gd name="connsiteY148" fmla="*/ 4124960 h 8260080"/>
              <a:gd name="connsiteX149" fmla="*/ 1879600 w 3505200"/>
              <a:gd name="connsiteY149" fmla="*/ 4023360 h 8260080"/>
              <a:gd name="connsiteX150" fmla="*/ 2072640 w 3505200"/>
              <a:gd name="connsiteY150" fmla="*/ 4003040 h 8260080"/>
              <a:gd name="connsiteX151" fmla="*/ 2092960 w 3505200"/>
              <a:gd name="connsiteY151" fmla="*/ 3850640 h 8260080"/>
              <a:gd name="connsiteX152" fmla="*/ 2001520 w 3505200"/>
              <a:gd name="connsiteY152" fmla="*/ 3728720 h 8260080"/>
              <a:gd name="connsiteX153" fmla="*/ 2164080 w 3505200"/>
              <a:gd name="connsiteY153" fmla="*/ 3769360 h 8260080"/>
              <a:gd name="connsiteX154" fmla="*/ 2265680 w 3505200"/>
              <a:gd name="connsiteY154" fmla="*/ 3566160 h 8260080"/>
              <a:gd name="connsiteX155" fmla="*/ 2336800 w 3505200"/>
              <a:gd name="connsiteY155" fmla="*/ 3515360 h 8260080"/>
              <a:gd name="connsiteX156" fmla="*/ 2367280 w 3505200"/>
              <a:gd name="connsiteY156" fmla="*/ 3362960 h 8260080"/>
              <a:gd name="connsiteX157" fmla="*/ 2489200 w 3505200"/>
              <a:gd name="connsiteY157" fmla="*/ 3423920 h 8260080"/>
              <a:gd name="connsiteX158" fmla="*/ 2560320 w 3505200"/>
              <a:gd name="connsiteY158" fmla="*/ 3302000 h 8260080"/>
              <a:gd name="connsiteX159" fmla="*/ 2743200 w 3505200"/>
              <a:gd name="connsiteY159" fmla="*/ 3149600 h 8260080"/>
              <a:gd name="connsiteX160" fmla="*/ 2844800 w 3505200"/>
              <a:gd name="connsiteY160" fmla="*/ 3088640 h 8260080"/>
              <a:gd name="connsiteX161" fmla="*/ 2804160 w 3505200"/>
              <a:gd name="connsiteY161" fmla="*/ 2966720 h 8260080"/>
              <a:gd name="connsiteX162" fmla="*/ 2976880 w 3505200"/>
              <a:gd name="connsiteY162" fmla="*/ 2763520 h 8260080"/>
              <a:gd name="connsiteX163" fmla="*/ 2794000 w 3505200"/>
              <a:gd name="connsiteY163" fmla="*/ 2621280 h 8260080"/>
              <a:gd name="connsiteX164" fmla="*/ 2946400 w 3505200"/>
              <a:gd name="connsiteY164" fmla="*/ 2377440 h 8260080"/>
              <a:gd name="connsiteX165" fmla="*/ 2854960 w 3505200"/>
              <a:gd name="connsiteY165" fmla="*/ 2255520 h 8260080"/>
              <a:gd name="connsiteX166" fmla="*/ 3027680 w 3505200"/>
              <a:gd name="connsiteY166" fmla="*/ 2113280 h 8260080"/>
              <a:gd name="connsiteX167" fmla="*/ 3119120 w 3505200"/>
              <a:gd name="connsiteY167" fmla="*/ 2021840 h 8260080"/>
              <a:gd name="connsiteX168" fmla="*/ 3027680 w 3505200"/>
              <a:gd name="connsiteY168" fmla="*/ 1960880 h 8260080"/>
              <a:gd name="connsiteX169" fmla="*/ 3139440 w 3505200"/>
              <a:gd name="connsiteY169" fmla="*/ 1869440 h 8260080"/>
              <a:gd name="connsiteX170" fmla="*/ 3281680 w 3505200"/>
              <a:gd name="connsiteY170" fmla="*/ 1950720 h 8260080"/>
              <a:gd name="connsiteX171" fmla="*/ 3403600 w 3505200"/>
              <a:gd name="connsiteY171" fmla="*/ 1889760 h 8260080"/>
              <a:gd name="connsiteX172" fmla="*/ 3505200 w 3505200"/>
              <a:gd name="connsiteY172" fmla="*/ 1910080 h 8260080"/>
              <a:gd name="connsiteX173" fmla="*/ 3444240 w 3505200"/>
              <a:gd name="connsiteY173" fmla="*/ 1656080 h 8260080"/>
              <a:gd name="connsiteX174" fmla="*/ 3373120 w 3505200"/>
              <a:gd name="connsiteY174" fmla="*/ 1635760 h 8260080"/>
              <a:gd name="connsiteX175" fmla="*/ 3352800 w 3505200"/>
              <a:gd name="connsiteY175" fmla="*/ 1503680 h 8260080"/>
              <a:gd name="connsiteX176" fmla="*/ 3444240 w 3505200"/>
              <a:gd name="connsiteY176" fmla="*/ 1412240 h 8260080"/>
              <a:gd name="connsiteX177" fmla="*/ 3393440 w 3505200"/>
              <a:gd name="connsiteY177" fmla="*/ 1280160 h 8260080"/>
              <a:gd name="connsiteX178" fmla="*/ 3434080 w 3505200"/>
              <a:gd name="connsiteY178" fmla="*/ 1249680 h 8260080"/>
              <a:gd name="connsiteX179" fmla="*/ 3281680 w 3505200"/>
              <a:gd name="connsiteY179" fmla="*/ 1066800 h 8260080"/>
              <a:gd name="connsiteX180" fmla="*/ 3383280 w 3505200"/>
              <a:gd name="connsiteY180" fmla="*/ 975360 h 8260080"/>
              <a:gd name="connsiteX181" fmla="*/ 3302000 w 3505200"/>
              <a:gd name="connsiteY181" fmla="*/ 924560 h 8260080"/>
              <a:gd name="connsiteX182" fmla="*/ 3190240 w 3505200"/>
              <a:gd name="connsiteY182" fmla="*/ 944880 h 8260080"/>
              <a:gd name="connsiteX183" fmla="*/ 3281680 w 3505200"/>
              <a:gd name="connsiteY183" fmla="*/ 792480 h 8260080"/>
              <a:gd name="connsiteX184" fmla="*/ 3210560 w 3505200"/>
              <a:gd name="connsiteY184" fmla="*/ 650240 h 8260080"/>
              <a:gd name="connsiteX185" fmla="*/ 3302000 w 3505200"/>
              <a:gd name="connsiteY185" fmla="*/ 568960 h 8260080"/>
              <a:gd name="connsiteX186" fmla="*/ 3190240 w 3505200"/>
              <a:gd name="connsiteY186" fmla="*/ 487680 h 8260080"/>
              <a:gd name="connsiteX187" fmla="*/ 3108960 w 3505200"/>
              <a:gd name="connsiteY187" fmla="*/ 528320 h 8260080"/>
              <a:gd name="connsiteX188" fmla="*/ 3108960 w 3505200"/>
              <a:gd name="connsiteY188" fmla="*/ 406400 h 8260080"/>
              <a:gd name="connsiteX189" fmla="*/ 2926080 w 3505200"/>
              <a:gd name="connsiteY189" fmla="*/ 314960 h 8260080"/>
              <a:gd name="connsiteX190" fmla="*/ 2834640 w 3505200"/>
              <a:gd name="connsiteY190" fmla="*/ 355600 h 8260080"/>
              <a:gd name="connsiteX191" fmla="*/ 2682240 w 3505200"/>
              <a:gd name="connsiteY191" fmla="*/ 111760 h 8260080"/>
              <a:gd name="connsiteX192" fmla="*/ 2590800 w 3505200"/>
              <a:gd name="connsiteY192" fmla="*/ 121920 h 8260080"/>
              <a:gd name="connsiteX193" fmla="*/ 2611120 w 3505200"/>
              <a:gd name="connsiteY193" fmla="*/ 0 h 8260080"/>
              <a:gd name="connsiteX194" fmla="*/ 2438400 w 3505200"/>
              <a:gd name="connsiteY194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233679 w 3505200"/>
              <a:gd name="connsiteY74" fmla="*/ 6971505 h 8260080"/>
              <a:gd name="connsiteX75" fmla="*/ 271463 w 3505200"/>
              <a:gd name="connsiteY75" fmla="*/ 7030085 h 8260080"/>
              <a:gd name="connsiteX76" fmla="*/ 280829 w 3505200"/>
              <a:gd name="connsiteY76" fmla="*/ 7148354 h 8260080"/>
              <a:gd name="connsiteX77" fmla="*/ 242962 w 3505200"/>
              <a:gd name="connsiteY77" fmla="*/ 7226746 h 8260080"/>
              <a:gd name="connsiteX78" fmla="*/ 282892 w 3505200"/>
              <a:gd name="connsiteY78" fmla="*/ 7300436 h 8260080"/>
              <a:gd name="connsiteX79" fmla="*/ 334645 w 3505200"/>
              <a:gd name="connsiteY79" fmla="*/ 7194709 h 8260080"/>
              <a:gd name="connsiteX80" fmla="*/ 354881 w 3505200"/>
              <a:gd name="connsiteY80" fmla="*/ 7257702 h 8260080"/>
              <a:gd name="connsiteX81" fmla="*/ 337026 w 3505200"/>
              <a:gd name="connsiteY81" fmla="*/ 7316154 h 8260080"/>
              <a:gd name="connsiteX82" fmla="*/ 370364 w 3505200"/>
              <a:gd name="connsiteY82" fmla="*/ 7360602 h 8260080"/>
              <a:gd name="connsiteX83" fmla="*/ 447040 w 3505200"/>
              <a:gd name="connsiteY83" fmla="*/ 7366000 h 8260080"/>
              <a:gd name="connsiteX84" fmla="*/ 447040 w 3505200"/>
              <a:gd name="connsiteY84" fmla="*/ 7477760 h 8260080"/>
              <a:gd name="connsiteX85" fmla="*/ 558800 w 3505200"/>
              <a:gd name="connsiteY85" fmla="*/ 7528560 h 8260080"/>
              <a:gd name="connsiteX86" fmla="*/ 508000 w 3505200"/>
              <a:gd name="connsiteY86" fmla="*/ 7630160 h 8260080"/>
              <a:gd name="connsiteX87" fmla="*/ 436880 w 3505200"/>
              <a:gd name="connsiteY87" fmla="*/ 7609840 h 8260080"/>
              <a:gd name="connsiteX88" fmla="*/ 447040 w 3505200"/>
              <a:gd name="connsiteY88" fmla="*/ 7691120 h 8260080"/>
              <a:gd name="connsiteX89" fmla="*/ 518160 w 3505200"/>
              <a:gd name="connsiteY89" fmla="*/ 7741920 h 8260080"/>
              <a:gd name="connsiteX90" fmla="*/ 457200 w 3505200"/>
              <a:gd name="connsiteY90" fmla="*/ 7792720 h 8260080"/>
              <a:gd name="connsiteX91" fmla="*/ 396240 w 3505200"/>
              <a:gd name="connsiteY91" fmla="*/ 7701280 h 8260080"/>
              <a:gd name="connsiteX92" fmla="*/ 396240 w 3505200"/>
              <a:gd name="connsiteY92" fmla="*/ 7701280 h 8260080"/>
              <a:gd name="connsiteX93" fmla="*/ 436880 w 3505200"/>
              <a:gd name="connsiteY93" fmla="*/ 7874000 h 8260080"/>
              <a:gd name="connsiteX94" fmla="*/ 436880 w 3505200"/>
              <a:gd name="connsiteY94" fmla="*/ 7924800 h 8260080"/>
              <a:gd name="connsiteX95" fmla="*/ 548640 w 3505200"/>
              <a:gd name="connsiteY95" fmla="*/ 7965440 h 8260080"/>
              <a:gd name="connsiteX96" fmla="*/ 508000 w 3505200"/>
              <a:gd name="connsiteY96" fmla="*/ 8016240 h 8260080"/>
              <a:gd name="connsiteX97" fmla="*/ 589280 w 3505200"/>
              <a:gd name="connsiteY97" fmla="*/ 8056880 h 8260080"/>
              <a:gd name="connsiteX98" fmla="*/ 497840 w 3505200"/>
              <a:gd name="connsiteY98" fmla="*/ 8117840 h 8260080"/>
              <a:gd name="connsiteX99" fmla="*/ 518160 w 3505200"/>
              <a:gd name="connsiteY99" fmla="*/ 8209280 h 8260080"/>
              <a:gd name="connsiteX100" fmla="*/ 640080 w 3505200"/>
              <a:gd name="connsiteY100" fmla="*/ 8260080 h 8260080"/>
              <a:gd name="connsiteX101" fmla="*/ 731520 w 3505200"/>
              <a:gd name="connsiteY101" fmla="*/ 8219440 h 8260080"/>
              <a:gd name="connsiteX102" fmla="*/ 853440 w 3505200"/>
              <a:gd name="connsiteY102" fmla="*/ 8209280 h 8260080"/>
              <a:gd name="connsiteX103" fmla="*/ 955040 w 3505200"/>
              <a:gd name="connsiteY103" fmla="*/ 8260080 h 8260080"/>
              <a:gd name="connsiteX104" fmla="*/ 965200 w 3505200"/>
              <a:gd name="connsiteY104" fmla="*/ 8107680 h 8260080"/>
              <a:gd name="connsiteX105" fmla="*/ 894080 w 3505200"/>
              <a:gd name="connsiteY105" fmla="*/ 8026400 h 8260080"/>
              <a:gd name="connsiteX106" fmla="*/ 1016000 w 3505200"/>
              <a:gd name="connsiteY106" fmla="*/ 7863840 h 8260080"/>
              <a:gd name="connsiteX107" fmla="*/ 1107440 w 3505200"/>
              <a:gd name="connsiteY107" fmla="*/ 7894320 h 8260080"/>
              <a:gd name="connsiteX108" fmla="*/ 1127760 w 3505200"/>
              <a:gd name="connsiteY108" fmla="*/ 7853680 h 8260080"/>
              <a:gd name="connsiteX109" fmla="*/ 1066800 w 3505200"/>
              <a:gd name="connsiteY109" fmla="*/ 7813040 h 8260080"/>
              <a:gd name="connsiteX110" fmla="*/ 1137920 w 3505200"/>
              <a:gd name="connsiteY110" fmla="*/ 7762240 h 8260080"/>
              <a:gd name="connsiteX111" fmla="*/ 1330960 w 3505200"/>
              <a:gd name="connsiteY111" fmla="*/ 7802880 h 8260080"/>
              <a:gd name="connsiteX112" fmla="*/ 1361440 w 3505200"/>
              <a:gd name="connsiteY112" fmla="*/ 7772400 h 8260080"/>
              <a:gd name="connsiteX113" fmla="*/ 1483360 w 3505200"/>
              <a:gd name="connsiteY113" fmla="*/ 7823200 h 8260080"/>
              <a:gd name="connsiteX114" fmla="*/ 1554480 w 3505200"/>
              <a:gd name="connsiteY114" fmla="*/ 7731760 h 8260080"/>
              <a:gd name="connsiteX115" fmla="*/ 1524000 w 3505200"/>
              <a:gd name="connsiteY115" fmla="*/ 7640320 h 8260080"/>
              <a:gd name="connsiteX116" fmla="*/ 1645920 w 3505200"/>
              <a:gd name="connsiteY116" fmla="*/ 7437120 h 8260080"/>
              <a:gd name="connsiteX117" fmla="*/ 1635760 w 3505200"/>
              <a:gd name="connsiteY117" fmla="*/ 7335520 h 8260080"/>
              <a:gd name="connsiteX118" fmla="*/ 1696720 w 3505200"/>
              <a:gd name="connsiteY118" fmla="*/ 7223760 h 8260080"/>
              <a:gd name="connsiteX119" fmla="*/ 1625600 w 3505200"/>
              <a:gd name="connsiteY119" fmla="*/ 7172960 h 8260080"/>
              <a:gd name="connsiteX120" fmla="*/ 1747520 w 3505200"/>
              <a:gd name="connsiteY120" fmla="*/ 6990080 h 8260080"/>
              <a:gd name="connsiteX121" fmla="*/ 1666240 w 3505200"/>
              <a:gd name="connsiteY121" fmla="*/ 6939280 h 8260080"/>
              <a:gd name="connsiteX122" fmla="*/ 1737360 w 3505200"/>
              <a:gd name="connsiteY122" fmla="*/ 6888480 h 8260080"/>
              <a:gd name="connsiteX123" fmla="*/ 1645920 w 3505200"/>
              <a:gd name="connsiteY123" fmla="*/ 6776720 h 8260080"/>
              <a:gd name="connsiteX124" fmla="*/ 1808480 w 3505200"/>
              <a:gd name="connsiteY124" fmla="*/ 6715760 h 8260080"/>
              <a:gd name="connsiteX125" fmla="*/ 1727200 w 3505200"/>
              <a:gd name="connsiteY125" fmla="*/ 6614160 h 8260080"/>
              <a:gd name="connsiteX126" fmla="*/ 1686560 w 3505200"/>
              <a:gd name="connsiteY126" fmla="*/ 6421120 h 8260080"/>
              <a:gd name="connsiteX127" fmla="*/ 1889760 w 3505200"/>
              <a:gd name="connsiteY127" fmla="*/ 6299200 h 8260080"/>
              <a:gd name="connsiteX128" fmla="*/ 1940560 w 3505200"/>
              <a:gd name="connsiteY128" fmla="*/ 6228080 h 8260080"/>
              <a:gd name="connsiteX129" fmla="*/ 2032000 w 3505200"/>
              <a:gd name="connsiteY129" fmla="*/ 6136640 h 8260080"/>
              <a:gd name="connsiteX130" fmla="*/ 2011680 w 3505200"/>
              <a:gd name="connsiteY130" fmla="*/ 6014720 h 8260080"/>
              <a:gd name="connsiteX131" fmla="*/ 2123440 w 3505200"/>
              <a:gd name="connsiteY131" fmla="*/ 6065520 h 8260080"/>
              <a:gd name="connsiteX132" fmla="*/ 2092960 w 3505200"/>
              <a:gd name="connsiteY132" fmla="*/ 6167120 h 8260080"/>
              <a:gd name="connsiteX133" fmla="*/ 2286000 w 3505200"/>
              <a:gd name="connsiteY133" fmla="*/ 5933440 h 8260080"/>
              <a:gd name="connsiteX134" fmla="*/ 2255520 w 3505200"/>
              <a:gd name="connsiteY134" fmla="*/ 5801360 h 8260080"/>
              <a:gd name="connsiteX135" fmla="*/ 2448560 w 3505200"/>
              <a:gd name="connsiteY135" fmla="*/ 5598160 h 8260080"/>
              <a:gd name="connsiteX136" fmla="*/ 2357120 w 3505200"/>
              <a:gd name="connsiteY136" fmla="*/ 5435600 h 8260080"/>
              <a:gd name="connsiteX137" fmla="*/ 2225040 w 3505200"/>
              <a:gd name="connsiteY137" fmla="*/ 5415280 h 8260080"/>
              <a:gd name="connsiteX138" fmla="*/ 2103120 w 3505200"/>
              <a:gd name="connsiteY138" fmla="*/ 5222240 h 8260080"/>
              <a:gd name="connsiteX139" fmla="*/ 2092960 w 3505200"/>
              <a:gd name="connsiteY139" fmla="*/ 5110480 h 8260080"/>
              <a:gd name="connsiteX140" fmla="*/ 2052320 w 3505200"/>
              <a:gd name="connsiteY140" fmla="*/ 5151120 h 8260080"/>
              <a:gd name="connsiteX141" fmla="*/ 2042160 w 3505200"/>
              <a:gd name="connsiteY141" fmla="*/ 5242560 h 8260080"/>
              <a:gd name="connsiteX142" fmla="*/ 1981200 w 3505200"/>
              <a:gd name="connsiteY142" fmla="*/ 5191760 h 8260080"/>
              <a:gd name="connsiteX143" fmla="*/ 2011680 w 3505200"/>
              <a:gd name="connsiteY143" fmla="*/ 5120640 h 8260080"/>
              <a:gd name="connsiteX144" fmla="*/ 1930400 w 3505200"/>
              <a:gd name="connsiteY144" fmla="*/ 5100320 h 8260080"/>
              <a:gd name="connsiteX145" fmla="*/ 1859280 w 3505200"/>
              <a:gd name="connsiteY145" fmla="*/ 4917440 h 8260080"/>
              <a:gd name="connsiteX146" fmla="*/ 1828800 w 3505200"/>
              <a:gd name="connsiteY146" fmla="*/ 4622800 h 8260080"/>
              <a:gd name="connsiteX147" fmla="*/ 1910080 w 3505200"/>
              <a:gd name="connsiteY147" fmla="*/ 4419600 h 8260080"/>
              <a:gd name="connsiteX148" fmla="*/ 1920240 w 3505200"/>
              <a:gd name="connsiteY148" fmla="*/ 4277360 h 8260080"/>
              <a:gd name="connsiteX149" fmla="*/ 1971040 w 3505200"/>
              <a:gd name="connsiteY149" fmla="*/ 4124960 h 8260080"/>
              <a:gd name="connsiteX150" fmla="*/ 1879600 w 3505200"/>
              <a:gd name="connsiteY150" fmla="*/ 4023360 h 8260080"/>
              <a:gd name="connsiteX151" fmla="*/ 2072640 w 3505200"/>
              <a:gd name="connsiteY151" fmla="*/ 4003040 h 8260080"/>
              <a:gd name="connsiteX152" fmla="*/ 2092960 w 3505200"/>
              <a:gd name="connsiteY152" fmla="*/ 3850640 h 8260080"/>
              <a:gd name="connsiteX153" fmla="*/ 2001520 w 3505200"/>
              <a:gd name="connsiteY153" fmla="*/ 3728720 h 8260080"/>
              <a:gd name="connsiteX154" fmla="*/ 2164080 w 3505200"/>
              <a:gd name="connsiteY154" fmla="*/ 3769360 h 8260080"/>
              <a:gd name="connsiteX155" fmla="*/ 2265680 w 3505200"/>
              <a:gd name="connsiteY155" fmla="*/ 3566160 h 8260080"/>
              <a:gd name="connsiteX156" fmla="*/ 2336800 w 3505200"/>
              <a:gd name="connsiteY156" fmla="*/ 3515360 h 8260080"/>
              <a:gd name="connsiteX157" fmla="*/ 2367280 w 3505200"/>
              <a:gd name="connsiteY157" fmla="*/ 3362960 h 8260080"/>
              <a:gd name="connsiteX158" fmla="*/ 2489200 w 3505200"/>
              <a:gd name="connsiteY158" fmla="*/ 3423920 h 8260080"/>
              <a:gd name="connsiteX159" fmla="*/ 2560320 w 3505200"/>
              <a:gd name="connsiteY159" fmla="*/ 3302000 h 8260080"/>
              <a:gd name="connsiteX160" fmla="*/ 2743200 w 3505200"/>
              <a:gd name="connsiteY160" fmla="*/ 3149600 h 8260080"/>
              <a:gd name="connsiteX161" fmla="*/ 2844800 w 3505200"/>
              <a:gd name="connsiteY161" fmla="*/ 3088640 h 8260080"/>
              <a:gd name="connsiteX162" fmla="*/ 2804160 w 3505200"/>
              <a:gd name="connsiteY162" fmla="*/ 2966720 h 8260080"/>
              <a:gd name="connsiteX163" fmla="*/ 2976880 w 3505200"/>
              <a:gd name="connsiteY163" fmla="*/ 2763520 h 8260080"/>
              <a:gd name="connsiteX164" fmla="*/ 2794000 w 3505200"/>
              <a:gd name="connsiteY164" fmla="*/ 2621280 h 8260080"/>
              <a:gd name="connsiteX165" fmla="*/ 2946400 w 3505200"/>
              <a:gd name="connsiteY165" fmla="*/ 2377440 h 8260080"/>
              <a:gd name="connsiteX166" fmla="*/ 2854960 w 3505200"/>
              <a:gd name="connsiteY166" fmla="*/ 2255520 h 8260080"/>
              <a:gd name="connsiteX167" fmla="*/ 3027680 w 3505200"/>
              <a:gd name="connsiteY167" fmla="*/ 2113280 h 8260080"/>
              <a:gd name="connsiteX168" fmla="*/ 3119120 w 3505200"/>
              <a:gd name="connsiteY168" fmla="*/ 2021840 h 8260080"/>
              <a:gd name="connsiteX169" fmla="*/ 3027680 w 3505200"/>
              <a:gd name="connsiteY169" fmla="*/ 1960880 h 8260080"/>
              <a:gd name="connsiteX170" fmla="*/ 3139440 w 3505200"/>
              <a:gd name="connsiteY170" fmla="*/ 1869440 h 8260080"/>
              <a:gd name="connsiteX171" fmla="*/ 3281680 w 3505200"/>
              <a:gd name="connsiteY171" fmla="*/ 1950720 h 8260080"/>
              <a:gd name="connsiteX172" fmla="*/ 3403600 w 3505200"/>
              <a:gd name="connsiteY172" fmla="*/ 1889760 h 8260080"/>
              <a:gd name="connsiteX173" fmla="*/ 3505200 w 3505200"/>
              <a:gd name="connsiteY173" fmla="*/ 1910080 h 8260080"/>
              <a:gd name="connsiteX174" fmla="*/ 3444240 w 3505200"/>
              <a:gd name="connsiteY174" fmla="*/ 1656080 h 8260080"/>
              <a:gd name="connsiteX175" fmla="*/ 3373120 w 3505200"/>
              <a:gd name="connsiteY175" fmla="*/ 1635760 h 8260080"/>
              <a:gd name="connsiteX176" fmla="*/ 3352800 w 3505200"/>
              <a:gd name="connsiteY176" fmla="*/ 1503680 h 8260080"/>
              <a:gd name="connsiteX177" fmla="*/ 3444240 w 3505200"/>
              <a:gd name="connsiteY177" fmla="*/ 1412240 h 8260080"/>
              <a:gd name="connsiteX178" fmla="*/ 3393440 w 3505200"/>
              <a:gd name="connsiteY178" fmla="*/ 1280160 h 8260080"/>
              <a:gd name="connsiteX179" fmla="*/ 3434080 w 3505200"/>
              <a:gd name="connsiteY179" fmla="*/ 1249680 h 8260080"/>
              <a:gd name="connsiteX180" fmla="*/ 3281680 w 3505200"/>
              <a:gd name="connsiteY180" fmla="*/ 1066800 h 8260080"/>
              <a:gd name="connsiteX181" fmla="*/ 3383280 w 3505200"/>
              <a:gd name="connsiteY181" fmla="*/ 975360 h 8260080"/>
              <a:gd name="connsiteX182" fmla="*/ 3302000 w 3505200"/>
              <a:gd name="connsiteY182" fmla="*/ 924560 h 8260080"/>
              <a:gd name="connsiteX183" fmla="*/ 3190240 w 3505200"/>
              <a:gd name="connsiteY183" fmla="*/ 944880 h 8260080"/>
              <a:gd name="connsiteX184" fmla="*/ 3281680 w 3505200"/>
              <a:gd name="connsiteY184" fmla="*/ 792480 h 8260080"/>
              <a:gd name="connsiteX185" fmla="*/ 3210560 w 3505200"/>
              <a:gd name="connsiteY185" fmla="*/ 650240 h 8260080"/>
              <a:gd name="connsiteX186" fmla="*/ 3302000 w 3505200"/>
              <a:gd name="connsiteY186" fmla="*/ 568960 h 8260080"/>
              <a:gd name="connsiteX187" fmla="*/ 3190240 w 3505200"/>
              <a:gd name="connsiteY187" fmla="*/ 487680 h 8260080"/>
              <a:gd name="connsiteX188" fmla="*/ 3108960 w 3505200"/>
              <a:gd name="connsiteY188" fmla="*/ 528320 h 8260080"/>
              <a:gd name="connsiteX189" fmla="*/ 3108960 w 3505200"/>
              <a:gd name="connsiteY189" fmla="*/ 406400 h 8260080"/>
              <a:gd name="connsiteX190" fmla="*/ 2926080 w 3505200"/>
              <a:gd name="connsiteY190" fmla="*/ 314960 h 8260080"/>
              <a:gd name="connsiteX191" fmla="*/ 2834640 w 3505200"/>
              <a:gd name="connsiteY191" fmla="*/ 355600 h 8260080"/>
              <a:gd name="connsiteX192" fmla="*/ 2682240 w 3505200"/>
              <a:gd name="connsiteY192" fmla="*/ 111760 h 8260080"/>
              <a:gd name="connsiteX193" fmla="*/ 2590800 w 3505200"/>
              <a:gd name="connsiteY193" fmla="*/ 121920 h 8260080"/>
              <a:gd name="connsiteX194" fmla="*/ 2611120 w 3505200"/>
              <a:gd name="connsiteY194" fmla="*/ 0 h 8260080"/>
              <a:gd name="connsiteX195" fmla="*/ 2438400 w 3505200"/>
              <a:gd name="connsiteY195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95337 w 3505200"/>
              <a:gd name="connsiteY74" fmla="*/ 6907659 h 8260080"/>
              <a:gd name="connsiteX75" fmla="*/ 233679 w 3505200"/>
              <a:gd name="connsiteY75" fmla="*/ 6971505 h 8260080"/>
              <a:gd name="connsiteX76" fmla="*/ 271463 w 3505200"/>
              <a:gd name="connsiteY76" fmla="*/ 7030085 h 8260080"/>
              <a:gd name="connsiteX77" fmla="*/ 280829 w 3505200"/>
              <a:gd name="connsiteY77" fmla="*/ 7148354 h 8260080"/>
              <a:gd name="connsiteX78" fmla="*/ 242962 w 3505200"/>
              <a:gd name="connsiteY78" fmla="*/ 7226746 h 8260080"/>
              <a:gd name="connsiteX79" fmla="*/ 282892 w 3505200"/>
              <a:gd name="connsiteY79" fmla="*/ 7300436 h 8260080"/>
              <a:gd name="connsiteX80" fmla="*/ 334645 w 3505200"/>
              <a:gd name="connsiteY80" fmla="*/ 7194709 h 8260080"/>
              <a:gd name="connsiteX81" fmla="*/ 354881 w 3505200"/>
              <a:gd name="connsiteY81" fmla="*/ 7257702 h 8260080"/>
              <a:gd name="connsiteX82" fmla="*/ 337026 w 3505200"/>
              <a:gd name="connsiteY82" fmla="*/ 7316154 h 8260080"/>
              <a:gd name="connsiteX83" fmla="*/ 370364 w 3505200"/>
              <a:gd name="connsiteY83" fmla="*/ 7360602 h 8260080"/>
              <a:gd name="connsiteX84" fmla="*/ 447040 w 3505200"/>
              <a:gd name="connsiteY84" fmla="*/ 7366000 h 8260080"/>
              <a:gd name="connsiteX85" fmla="*/ 447040 w 3505200"/>
              <a:gd name="connsiteY85" fmla="*/ 7477760 h 8260080"/>
              <a:gd name="connsiteX86" fmla="*/ 558800 w 3505200"/>
              <a:gd name="connsiteY86" fmla="*/ 7528560 h 8260080"/>
              <a:gd name="connsiteX87" fmla="*/ 508000 w 3505200"/>
              <a:gd name="connsiteY87" fmla="*/ 7630160 h 8260080"/>
              <a:gd name="connsiteX88" fmla="*/ 436880 w 3505200"/>
              <a:gd name="connsiteY88" fmla="*/ 7609840 h 8260080"/>
              <a:gd name="connsiteX89" fmla="*/ 447040 w 3505200"/>
              <a:gd name="connsiteY89" fmla="*/ 7691120 h 8260080"/>
              <a:gd name="connsiteX90" fmla="*/ 518160 w 3505200"/>
              <a:gd name="connsiteY90" fmla="*/ 7741920 h 8260080"/>
              <a:gd name="connsiteX91" fmla="*/ 457200 w 3505200"/>
              <a:gd name="connsiteY91" fmla="*/ 7792720 h 8260080"/>
              <a:gd name="connsiteX92" fmla="*/ 396240 w 3505200"/>
              <a:gd name="connsiteY92" fmla="*/ 7701280 h 8260080"/>
              <a:gd name="connsiteX93" fmla="*/ 396240 w 3505200"/>
              <a:gd name="connsiteY93" fmla="*/ 7701280 h 8260080"/>
              <a:gd name="connsiteX94" fmla="*/ 436880 w 3505200"/>
              <a:gd name="connsiteY94" fmla="*/ 7874000 h 8260080"/>
              <a:gd name="connsiteX95" fmla="*/ 436880 w 3505200"/>
              <a:gd name="connsiteY95" fmla="*/ 7924800 h 8260080"/>
              <a:gd name="connsiteX96" fmla="*/ 548640 w 3505200"/>
              <a:gd name="connsiteY96" fmla="*/ 7965440 h 8260080"/>
              <a:gd name="connsiteX97" fmla="*/ 508000 w 3505200"/>
              <a:gd name="connsiteY97" fmla="*/ 8016240 h 8260080"/>
              <a:gd name="connsiteX98" fmla="*/ 589280 w 3505200"/>
              <a:gd name="connsiteY98" fmla="*/ 8056880 h 8260080"/>
              <a:gd name="connsiteX99" fmla="*/ 497840 w 3505200"/>
              <a:gd name="connsiteY99" fmla="*/ 8117840 h 8260080"/>
              <a:gd name="connsiteX100" fmla="*/ 518160 w 3505200"/>
              <a:gd name="connsiteY100" fmla="*/ 8209280 h 8260080"/>
              <a:gd name="connsiteX101" fmla="*/ 640080 w 3505200"/>
              <a:gd name="connsiteY101" fmla="*/ 8260080 h 8260080"/>
              <a:gd name="connsiteX102" fmla="*/ 731520 w 3505200"/>
              <a:gd name="connsiteY102" fmla="*/ 8219440 h 8260080"/>
              <a:gd name="connsiteX103" fmla="*/ 853440 w 3505200"/>
              <a:gd name="connsiteY103" fmla="*/ 8209280 h 8260080"/>
              <a:gd name="connsiteX104" fmla="*/ 955040 w 3505200"/>
              <a:gd name="connsiteY104" fmla="*/ 8260080 h 8260080"/>
              <a:gd name="connsiteX105" fmla="*/ 965200 w 3505200"/>
              <a:gd name="connsiteY105" fmla="*/ 8107680 h 8260080"/>
              <a:gd name="connsiteX106" fmla="*/ 894080 w 3505200"/>
              <a:gd name="connsiteY106" fmla="*/ 8026400 h 8260080"/>
              <a:gd name="connsiteX107" fmla="*/ 1016000 w 3505200"/>
              <a:gd name="connsiteY107" fmla="*/ 7863840 h 8260080"/>
              <a:gd name="connsiteX108" fmla="*/ 1107440 w 3505200"/>
              <a:gd name="connsiteY108" fmla="*/ 7894320 h 8260080"/>
              <a:gd name="connsiteX109" fmla="*/ 1127760 w 3505200"/>
              <a:gd name="connsiteY109" fmla="*/ 7853680 h 8260080"/>
              <a:gd name="connsiteX110" fmla="*/ 1066800 w 3505200"/>
              <a:gd name="connsiteY110" fmla="*/ 7813040 h 8260080"/>
              <a:gd name="connsiteX111" fmla="*/ 1137920 w 3505200"/>
              <a:gd name="connsiteY111" fmla="*/ 7762240 h 8260080"/>
              <a:gd name="connsiteX112" fmla="*/ 1330960 w 3505200"/>
              <a:gd name="connsiteY112" fmla="*/ 7802880 h 8260080"/>
              <a:gd name="connsiteX113" fmla="*/ 1361440 w 3505200"/>
              <a:gd name="connsiteY113" fmla="*/ 7772400 h 8260080"/>
              <a:gd name="connsiteX114" fmla="*/ 1483360 w 3505200"/>
              <a:gd name="connsiteY114" fmla="*/ 7823200 h 8260080"/>
              <a:gd name="connsiteX115" fmla="*/ 1554480 w 3505200"/>
              <a:gd name="connsiteY115" fmla="*/ 7731760 h 8260080"/>
              <a:gd name="connsiteX116" fmla="*/ 1524000 w 3505200"/>
              <a:gd name="connsiteY116" fmla="*/ 7640320 h 8260080"/>
              <a:gd name="connsiteX117" fmla="*/ 1645920 w 3505200"/>
              <a:gd name="connsiteY117" fmla="*/ 7437120 h 8260080"/>
              <a:gd name="connsiteX118" fmla="*/ 1635760 w 3505200"/>
              <a:gd name="connsiteY118" fmla="*/ 7335520 h 8260080"/>
              <a:gd name="connsiteX119" fmla="*/ 1696720 w 3505200"/>
              <a:gd name="connsiteY119" fmla="*/ 7223760 h 8260080"/>
              <a:gd name="connsiteX120" fmla="*/ 1625600 w 3505200"/>
              <a:gd name="connsiteY120" fmla="*/ 7172960 h 8260080"/>
              <a:gd name="connsiteX121" fmla="*/ 1747520 w 3505200"/>
              <a:gd name="connsiteY121" fmla="*/ 6990080 h 8260080"/>
              <a:gd name="connsiteX122" fmla="*/ 1666240 w 3505200"/>
              <a:gd name="connsiteY122" fmla="*/ 6939280 h 8260080"/>
              <a:gd name="connsiteX123" fmla="*/ 1737360 w 3505200"/>
              <a:gd name="connsiteY123" fmla="*/ 6888480 h 8260080"/>
              <a:gd name="connsiteX124" fmla="*/ 1645920 w 3505200"/>
              <a:gd name="connsiteY124" fmla="*/ 6776720 h 8260080"/>
              <a:gd name="connsiteX125" fmla="*/ 1808480 w 3505200"/>
              <a:gd name="connsiteY125" fmla="*/ 6715760 h 8260080"/>
              <a:gd name="connsiteX126" fmla="*/ 1727200 w 3505200"/>
              <a:gd name="connsiteY126" fmla="*/ 6614160 h 8260080"/>
              <a:gd name="connsiteX127" fmla="*/ 1686560 w 3505200"/>
              <a:gd name="connsiteY127" fmla="*/ 6421120 h 8260080"/>
              <a:gd name="connsiteX128" fmla="*/ 1889760 w 3505200"/>
              <a:gd name="connsiteY128" fmla="*/ 6299200 h 8260080"/>
              <a:gd name="connsiteX129" fmla="*/ 1940560 w 3505200"/>
              <a:gd name="connsiteY129" fmla="*/ 6228080 h 8260080"/>
              <a:gd name="connsiteX130" fmla="*/ 2032000 w 3505200"/>
              <a:gd name="connsiteY130" fmla="*/ 6136640 h 8260080"/>
              <a:gd name="connsiteX131" fmla="*/ 2011680 w 3505200"/>
              <a:gd name="connsiteY131" fmla="*/ 6014720 h 8260080"/>
              <a:gd name="connsiteX132" fmla="*/ 2123440 w 3505200"/>
              <a:gd name="connsiteY132" fmla="*/ 6065520 h 8260080"/>
              <a:gd name="connsiteX133" fmla="*/ 2092960 w 3505200"/>
              <a:gd name="connsiteY133" fmla="*/ 6167120 h 8260080"/>
              <a:gd name="connsiteX134" fmla="*/ 2286000 w 3505200"/>
              <a:gd name="connsiteY134" fmla="*/ 5933440 h 8260080"/>
              <a:gd name="connsiteX135" fmla="*/ 2255520 w 3505200"/>
              <a:gd name="connsiteY135" fmla="*/ 5801360 h 8260080"/>
              <a:gd name="connsiteX136" fmla="*/ 2448560 w 3505200"/>
              <a:gd name="connsiteY136" fmla="*/ 5598160 h 8260080"/>
              <a:gd name="connsiteX137" fmla="*/ 2357120 w 3505200"/>
              <a:gd name="connsiteY137" fmla="*/ 5435600 h 8260080"/>
              <a:gd name="connsiteX138" fmla="*/ 2225040 w 3505200"/>
              <a:gd name="connsiteY138" fmla="*/ 5415280 h 8260080"/>
              <a:gd name="connsiteX139" fmla="*/ 2103120 w 3505200"/>
              <a:gd name="connsiteY139" fmla="*/ 5222240 h 8260080"/>
              <a:gd name="connsiteX140" fmla="*/ 2092960 w 3505200"/>
              <a:gd name="connsiteY140" fmla="*/ 5110480 h 8260080"/>
              <a:gd name="connsiteX141" fmla="*/ 2052320 w 3505200"/>
              <a:gd name="connsiteY141" fmla="*/ 5151120 h 8260080"/>
              <a:gd name="connsiteX142" fmla="*/ 2042160 w 3505200"/>
              <a:gd name="connsiteY142" fmla="*/ 5242560 h 8260080"/>
              <a:gd name="connsiteX143" fmla="*/ 1981200 w 3505200"/>
              <a:gd name="connsiteY143" fmla="*/ 5191760 h 8260080"/>
              <a:gd name="connsiteX144" fmla="*/ 2011680 w 3505200"/>
              <a:gd name="connsiteY144" fmla="*/ 5120640 h 8260080"/>
              <a:gd name="connsiteX145" fmla="*/ 1930400 w 3505200"/>
              <a:gd name="connsiteY145" fmla="*/ 5100320 h 8260080"/>
              <a:gd name="connsiteX146" fmla="*/ 1859280 w 3505200"/>
              <a:gd name="connsiteY146" fmla="*/ 4917440 h 8260080"/>
              <a:gd name="connsiteX147" fmla="*/ 1828800 w 3505200"/>
              <a:gd name="connsiteY147" fmla="*/ 4622800 h 8260080"/>
              <a:gd name="connsiteX148" fmla="*/ 1910080 w 3505200"/>
              <a:gd name="connsiteY148" fmla="*/ 4419600 h 8260080"/>
              <a:gd name="connsiteX149" fmla="*/ 1920240 w 3505200"/>
              <a:gd name="connsiteY149" fmla="*/ 4277360 h 8260080"/>
              <a:gd name="connsiteX150" fmla="*/ 1971040 w 3505200"/>
              <a:gd name="connsiteY150" fmla="*/ 4124960 h 8260080"/>
              <a:gd name="connsiteX151" fmla="*/ 1879600 w 3505200"/>
              <a:gd name="connsiteY151" fmla="*/ 4023360 h 8260080"/>
              <a:gd name="connsiteX152" fmla="*/ 2072640 w 3505200"/>
              <a:gd name="connsiteY152" fmla="*/ 4003040 h 8260080"/>
              <a:gd name="connsiteX153" fmla="*/ 2092960 w 3505200"/>
              <a:gd name="connsiteY153" fmla="*/ 3850640 h 8260080"/>
              <a:gd name="connsiteX154" fmla="*/ 2001520 w 3505200"/>
              <a:gd name="connsiteY154" fmla="*/ 3728720 h 8260080"/>
              <a:gd name="connsiteX155" fmla="*/ 2164080 w 3505200"/>
              <a:gd name="connsiteY155" fmla="*/ 3769360 h 8260080"/>
              <a:gd name="connsiteX156" fmla="*/ 2265680 w 3505200"/>
              <a:gd name="connsiteY156" fmla="*/ 3566160 h 8260080"/>
              <a:gd name="connsiteX157" fmla="*/ 2336800 w 3505200"/>
              <a:gd name="connsiteY157" fmla="*/ 3515360 h 8260080"/>
              <a:gd name="connsiteX158" fmla="*/ 2367280 w 3505200"/>
              <a:gd name="connsiteY158" fmla="*/ 3362960 h 8260080"/>
              <a:gd name="connsiteX159" fmla="*/ 2489200 w 3505200"/>
              <a:gd name="connsiteY159" fmla="*/ 3423920 h 8260080"/>
              <a:gd name="connsiteX160" fmla="*/ 2560320 w 3505200"/>
              <a:gd name="connsiteY160" fmla="*/ 3302000 h 8260080"/>
              <a:gd name="connsiteX161" fmla="*/ 2743200 w 3505200"/>
              <a:gd name="connsiteY161" fmla="*/ 3149600 h 8260080"/>
              <a:gd name="connsiteX162" fmla="*/ 2844800 w 3505200"/>
              <a:gd name="connsiteY162" fmla="*/ 3088640 h 8260080"/>
              <a:gd name="connsiteX163" fmla="*/ 2804160 w 3505200"/>
              <a:gd name="connsiteY163" fmla="*/ 2966720 h 8260080"/>
              <a:gd name="connsiteX164" fmla="*/ 2976880 w 3505200"/>
              <a:gd name="connsiteY164" fmla="*/ 2763520 h 8260080"/>
              <a:gd name="connsiteX165" fmla="*/ 2794000 w 3505200"/>
              <a:gd name="connsiteY165" fmla="*/ 2621280 h 8260080"/>
              <a:gd name="connsiteX166" fmla="*/ 2946400 w 3505200"/>
              <a:gd name="connsiteY166" fmla="*/ 2377440 h 8260080"/>
              <a:gd name="connsiteX167" fmla="*/ 2854960 w 3505200"/>
              <a:gd name="connsiteY167" fmla="*/ 2255520 h 8260080"/>
              <a:gd name="connsiteX168" fmla="*/ 3027680 w 3505200"/>
              <a:gd name="connsiteY168" fmla="*/ 2113280 h 8260080"/>
              <a:gd name="connsiteX169" fmla="*/ 3119120 w 3505200"/>
              <a:gd name="connsiteY169" fmla="*/ 2021840 h 8260080"/>
              <a:gd name="connsiteX170" fmla="*/ 3027680 w 3505200"/>
              <a:gd name="connsiteY170" fmla="*/ 1960880 h 8260080"/>
              <a:gd name="connsiteX171" fmla="*/ 3139440 w 3505200"/>
              <a:gd name="connsiteY171" fmla="*/ 1869440 h 8260080"/>
              <a:gd name="connsiteX172" fmla="*/ 3281680 w 3505200"/>
              <a:gd name="connsiteY172" fmla="*/ 1950720 h 8260080"/>
              <a:gd name="connsiteX173" fmla="*/ 3403600 w 3505200"/>
              <a:gd name="connsiteY173" fmla="*/ 1889760 h 8260080"/>
              <a:gd name="connsiteX174" fmla="*/ 3505200 w 3505200"/>
              <a:gd name="connsiteY174" fmla="*/ 1910080 h 8260080"/>
              <a:gd name="connsiteX175" fmla="*/ 3444240 w 3505200"/>
              <a:gd name="connsiteY175" fmla="*/ 1656080 h 8260080"/>
              <a:gd name="connsiteX176" fmla="*/ 3373120 w 3505200"/>
              <a:gd name="connsiteY176" fmla="*/ 1635760 h 8260080"/>
              <a:gd name="connsiteX177" fmla="*/ 3352800 w 3505200"/>
              <a:gd name="connsiteY177" fmla="*/ 1503680 h 8260080"/>
              <a:gd name="connsiteX178" fmla="*/ 3444240 w 3505200"/>
              <a:gd name="connsiteY178" fmla="*/ 1412240 h 8260080"/>
              <a:gd name="connsiteX179" fmla="*/ 3393440 w 3505200"/>
              <a:gd name="connsiteY179" fmla="*/ 1280160 h 8260080"/>
              <a:gd name="connsiteX180" fmla="*/ 3434080 w 3505200"/>
              <a:gd name="connsiteY180" fmla="*/ 1249680 h 8260080"/>
              <a:gd name="connsiteX181" fmla="*/ 3281680 w 3505200"/>
              <a:gd name="connsiteY181" fmla="*/ 1066800 h 8260080"/>
              <a:gd name="connsiteX182" fmla="*/ 3383280 w 3505200"/>
              <a:gd name="connsiteY182" fmla="*/ 975360 h 8260080"/>
              <a:gd name="connsiteX183" fmla="*/ 3302000 w 3505200"/>
              <a:gd name="connsiteY183" fmla="*/ 924560 h 8260080"/>
              <a:gd name="connsiteX184" fmla="*/ 3190240 w 3505200"/>
              <a:gd name="connsiteY184" fmla="*/ 944880 h 8260080"/>
              <a:gd name="connsiteX185" fmla="*/ 3281680 w 3505200"/>
              <a:gd name="connsiteY185" fmla="*/ 792480 h 8260080"/>
              <a:gd name="connsiteX186" fmla="*/ 3210560 w 3505200"/>
              <a:gd name="connsiteY186" fmla="*/ 650240 h 8260080"/>
              <a:gd name="connsiteX187" fmla="*/ 3302000 w 3505200"/>
              <a:gd name="connsiteY187" fmla="*/ 568960 h 8260080"/>
              <a:gd name="connsiteX188" fmla="*/ 3190240 w 3505200"/>
              <a:gd name="connsiteY188" fmla="*/ 487680 h 8260080"/>
              <a:gd name="connsiteX189" fmla="*/ 3108960 w 3505200"/>
              <a:gd name="connsiteY189" fmla="*/ 528320 h 8260080"/>
              <a:gd name="connsiteX190" fmla="*/ 3108960 w 3505200"/>
              <a:gd name="connsiteY190" fmla="*/ 406400 h 8260080"/>
              <a:gd name="connsiteX191" fmla="*/ 2926080 w 3505200"/>
              <a:gd name="connsiteY191" fmla="*/ 314960 h 8260080"/>
              <a:gd name="connsiteX192" fmla="*/ 2834640 w 3505200"/>
              <a:gd name="connsiteY192" fmla="*/ 355600 h 8260080"/>
              <a:gd name="connsiteX193" fmla="*/ 2682240 w 3505200"/>
              <a:gd name="connsiteY193" fmla="*/ 111760 h 8260080"/>
              <a:gd name="connsiteX194" fmla="*/ 2590800 w 3505200"/>
              <a:gd name="connsiteY194" fmla="*/ 121920 h 8260080"/>
              <a:gd name="connsiteX195" fmla="*/ 2611120 w 3505200"/>
              <a:gd name="connsiteY195" fmla="*/ 0 h 8260080"/>
              <a:gd name="connsiteX196" fmla="*/ 2438400 w 3505200"/>
              <a:gd name="connsiteY196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33679 w 3505200"/>
              <a:gd name="connsiteY76" fmla="*/ 6971505 h 8260080"/>
              <a:gd name="connsiteX77" fmla="*/ 271463 w 3505200"/>
              <a:gd name="connsiteY77" fmla="*/ 7030085 h 8260080"/>
              <a:gd name="connsiteX78" fmla="*/ 280829 w 3505200"/>
              <a:gd name="connsiteY78" fmla="*/ 7148354 h 8260080"/>
              <a:gd name="connsiteX79" fmla="*/ 242962 w 3505200"/>
              <a:gd name="connsiteY79" fmla="*/ 7226746 h 8260080"/>
              <a:gd name="connsiteX80" fmla="*/ 282892 w 3505200"/>
              <a:gd name="connsiteY80" fmla="*/ 7300436 h 8260080"/>
              <a:gd name="connsiteX81" fmla="*/ 334645 w 3505200"/>
              <a:gd name="connsiteY81" fmla="*/ 7194709 h 8260080"/>
              <a:gd name="connsiteX82" fmla="*/ 354881 w 3505200"/>
              <a:gd name="connsiteY82" fmla="*/ 7257702 h 8260080"/>
              <a:gd name="connsiteX83" fmla="*/ 337026 w 3505200"/>
              <a:gd name="connsiteY83" fmla="*/ 7316154 h 8260080"/>
              <a:gd name="connsiteX84" fmla="*/ 370364 w 3505200"/>
              <a:gd name="connsiteY84" fmla="*/ 7360602 h 8260080"/>
              <a:gd name="connsiteX85" fmla="*/ 447040 w 3505200"/>
              <a:gd name="connsiteY85" fmla="*/ 7366000 h 8260080"/>
              <a:gd name="connsiteX86" fmla="*/ 447040 w 3505200"/>
              <a:gd name="connsiteY86" fmla="*/ 7477760 h 8260080"/>
              <a:gd name="connsiteX87" fmla="*/ 558800 w 3505200"/>
              <a:gd name="connsiteY87" fmla="*/ 7528560 h 8260080"/>
              <a:gd name="connsiteX88" fmla="*/ 508000 w 3505200"/>
              <a:gd name="connsiteY88" fmla="*/ 7630160 h 8260080"/>
              <a:gd name="connsiteX89" fmla="*/ 436880 w 3505200"/>
              <a:gd name="connsiteY89" fmla="*/ 7609840 h 8260080"/>
              <a:gd name="connsiteX90" fmla="*/ 447040 w 3505200"/>
              <a:gd name="connsiteY90" fmla="*/ 7691120 h 8260080"/>
              <a:gd name="connsiteX91" fmla="*/ 518160 w 3505200"/>
              <a:gd name="connsiteY91" fmla="*/ 7741920 h 8260080"/>
              <a:gd name="connsiteX92" fmla="*/ 457200 w 3505200"/>
              <a:gd name="connsiteY92" fmla="*/ 7792720 h 8260080"/>
              <a:gd name="connsiteX93" fmla="*/ 396240 w 3505200"/>
              <a:gd name="connsiteY93" fmla="*/ 7701280 h 8260080"/>
              <a:gd name="connsiteX94" fmla="*/ 396240 w 3505200"/>
              <a:gd name="connsiteY94" fmla="*/ 7701280 h 8260080"/>
              <a:gd name="connsiteX95" fmla="*/ 436880 w 3505200"/>
              <a:gd name="connsiteY95" fmla="*/ 7874000 h 8260080"/>
              <a:gd name="connsiteX96" fmla="*/ 436880 w 3505200"/>
              <a:gd name="connsiteY96" fmla="*/ 7924800 h 8260080"/>
              <a:gd name="connsiteX97" fmla="*/ 548640 w 3505200"/>
              <a:gd name="connsiteY97" fmla="*/ 7965440 h 8260080"/>
              <a:gd name="connsiteX98" fmla="*/ 508000 w 3505200"/>
              <a:gd name="connsiteY98" fmla="*/ 8016240 h 8260080"/>
              <a:gd name="connsiteX99" fmla="*/ 589280 w 3505200"/>
              <a:gd name="connsiteY99" fmla="*/ 8056880 h 8260080"/>
              <a:gd name="connsiteX100" fmla="*/ 497840 w 3505200"/>
              <a:gd name="connsiteY100" fmla="*/ 8117840 h 8260080"/>
              <a:gd name="connsiteX101" fmla="*/ 518160 w 3505200"/>
              <a:gd name="connsiteY101" fmla="*/ 8209280 h 8260080"/>
              <a:gd name="connsiteX102" fmla="*/ 640080 w 3505200"/>
              <a:gd name="connsiteY102" fmla="*/ 8260080 h 8260080"/>
              <a:gd name="connsiteX103" fmla="*/ 731520 w 3505200"/>
              <a:gd name="connsiteY103" fmla="*/ 8219440 h 8260080"/>
              <a:gd name="connsiteX104" fmla="*/ 853440 w 3505200"/>
              <a:gd name="connsiteY104" fmla="*/ 8209280 h 8260080"/>
              <a:gd name="connsiteX105" fmla="*/ 955040 w 3505200"/>
              <a:gd name="connsiteY105" fmla="*/ 8260080 h 8260080"/>
              <a:gd name="connsiteX106" fmla="*/ 965200 w 3505200"/>
              <a:gd name="connsiteY106" fmla="*/ 8107680 h 8260080"/>
              <a:gd name="connsiteX107" fmla="*/ 894080 w 3505200"/>
              <a:gd name="connsiteY107" fmla="*/ 8026400 h 8260080"/>
              <a:gd name="connsiteX108" fmla="*/ 1016000 w 3505200"/>
              <a:gd name="connsiteY108" fmla="*/ 7863840 h 8260080"/>
              <a:gd name="connsiteX109" fmla="*/ 1107440 w 3505200"/>
              <a:gd name="connsiteY109" fmla="*/ 7894320 h 8260080"/>
              <a:gd name="connsiteX110" fmla="*/ 1127760 w 3505200"/>
              <a:gd name="connsiteY110" fmla="*/ 7853680 h 8260080"/>
              <a:gd name="connsiteX111" fmla="*/ 1066800 w 3505200"/>
              <a:gd name="connsiteY111" fmla="*/ 7813040 h 8260080"/>
              <a:gd name="connsiteX112" fmla="*/ 1137920 w 3505200"/>
              <a:gd name="connsiteY112" fmla="*/ 7762240 h 8260080"/>
              <a:gd name="connsiteX113" fmla="*/ 1330960 w 3505200"/>
              <a:gd name="connsiteY113" fmla="*/ 7802880 h 8260080"/>
              <a:gd name="connsiteX114" fmla="*/ 1361440 w 3505200"/>
              <a:gd name="connsiteY114" fmla="*/ 7772400 h 8260080"/>
              <a:gd name="connsiteX115" fmla="*/ 1483360 w 3505200"/>
              <a:gd name="connsiteY115" fmla="*/ 7823200 h 8260080"/>
              <a:gd name="connsiteX116" fmla="*/ 1554480 w 3505200"/>
              <a:gd name="connsiteY116" fmla="*/ 7731760 h 8260080"/>
              <a:gd name="connsiteX117" fmla="*/ 1524000 w 3505200"/>
              <a:gd name="connsiteY117" fmla="*/ 7640320 h 8260080"/>
              <a:gd name="connsiteX118" fmla="*/ 1645920 w 3505200"/>
              <a:gd name="connsiteY118" fmla="*/ 7437120 h 8260080"/>
              <a:gd name="connsiteX119" fmla="*/ 1635760 w 3505200"/>
              <a:gd name="connsiteY119" fmla="*/ 7335520 h 8260080"/>
              <a:gd name="connsiteX120" fmla="*/ 1696720 w 3505200"/>
              <a:gd name="connsiteY120" fmla="*/ 7223760 h 8260080"/>
              <a:gd name="connsiteX121" fmla="*/ 1625600 w 3505200"/>
              <a:gd name="connsiteY121" fmla="*/ 7172960 h 8260080"/>
              <a:gd name="connsiteX122" fmla="*/ 1747520 w 3505200"/>
              <a:gd name="connsiteY122" fmla="*/ 6990080 h 8260080"/>
              <a:gd name="connsiteX123" fmla="*/ 1666240 w 3505200"/>
              <a:gd name="connsiteY123" fmla="*/ 6939280 h 8260080"/>
              <a:gd name="connsiteX124" fmla="*/ 1737360 w 3505200"/>
              <a:gd name="connsiteY124" fmla="*/ 6888480 h 8260080"/>
              <a:gd name="connsiteX125" fmla="*/ 1645920 w 3505200"/>
              <a:gd name="connsiteY125" fmla="*/ 6776720 h 8260080"/>
              <a:gd name="connsiteX126" fmla="*/ 1808480 w 3505200"/>
              <a:gd name="connsiteY126" fmla="*/ 6715760 h 8260080"/>
              <a:gd name="connsiteX127" fmla="*/ 1727200 w 3505200"/>
              <a:gd name="connsiteY127" fmla="*/ 6614160 h 8260080"/>
              <a:gd name="connsiteX128" fmla="*/ 1686560 w 3505200"/>
              <a:gd name="connsiteY128" fmla="*/ 6421120 h 8260080"/>
              <a:gd name="connsiteX129" fmla="*/ 1889760 w 3505200"/>
              <a:gd name="connsiteY129" fmla="*/ 6299200 h 8260080"/>
              <a:gd name="connsiteX130" fmla="*/ 1940560 w 3505200"/>
              <a:gd name="connsiteY130" fmla="*/ 6228080 h 8260080"/>
              <a:gd name="connsiteX131" fmla="*/ 2032000 w 3505200"/>
              <a:gd name="connsiteY131" fmla="*/ 6136640 h 8260080"/>
              <a:gd name="connsiteX132" fmla="*/ 2011680 w 3505200"/>
              <a:gd name="connsiteY132" fmla="*/ 6014720 h 8260080"/>
              <a:gd name="connsiteX133" fmla="*/ 2123440 w 3505200"/>
              <a:gd name="connsiteY133" fmla="*/ 6065520 h 8260080"/>
              <a:gd name="connsiteX134" fmla="*/ 2092960 w 3505200"/>
              <a:gd name="connsiteY134" fmla="*/ 6167120 h 8260080"/>
              <a:gd name="connsiteX135" fmla="*/ 2286000 w 3505200"/>
              <a:gd name="connsiteY135" fmla="*/ 5933440 h 8260080"/>
              <a:gd name="connsiteX136" fmla="*/ 2255520 w 3505200"/>
              <a:gd name="connsiteY136" fmla="*/ 5801360 h 8260080"/>
              <a:gd name="connsiteX137" fmla="*/ 2448560 w 3505200"/>
              <a:gd name="connsiteY137" fmla="*/ 5598160 h 8260080"/>
              <a:gd name="connsiteX138" fmla="*/ 2357120 w 3505200"/>
              <a:gd name="connsiteY138" fmla="*/ 5435600 h 8260080"/>
              <a:gd name="connsiteX139" fmla="*/ 2225040 w 3505200"/>
              <a:gd name="connsiteY139" fmla="*/ 5415280 h 8260080"/>
              <a:gd name="connsiteX140" fmla="*/ 2103120 w 3505200"/>
              <a:gd name="connsiteY140" fmla="*/ 5222240 h 8260080"/>
              <a:gd name="connsiteX141" fmla="*/ 2092960 w 3505200"/>
              <a:gd name="connsiteY141" fmla="*/ 5110480 h 8260080"/>
              <a:gd name="connsiteX142" fmla="*/ 2052320 w 3505200"/>
              <a:gd name="connsiteY142" fmla="*/ 5151120 h 8260080"/>
              <a:gd name="connsiteX143" fmla="*/ 2042160 w 3505200"/>
              <a:gd name="connsiteY143" fmla="*/ 5242560 h 8260080"/>
              <a:gd name="connsiteX144" fmla="*/ 1981200 w 3505200"/>
              <a:gd name="connsiteY144" fmla="*/ 5191760 h 8260080"/>
              <a:gd name="connsiteX145" fmla="*/ 2011680 w 3505200"/>
              <a:gd name="connsiteY145" fmla="*/ 5120640 h 8260080"/>
              <a:gd name="connsiteX146" fmla="*/ 1930400 w 3505200"/>
              <a:gd name="connsiteY146" fmla="*/ 5100320 h 8260080"/>
              <a:gd name="connsiteX147" fmla="*/ 1859280 w 3505200"/>
              <a:gd name="connsiteY147" fmla="*/ 4917440 h 8260080"/>
              <a:gd name="connsiteX148" fmla="*/ 1828800 w 3505200"/>
              <a:gd name="connsiteY148" fmla="*/ 4622800 h 8260080"/>
              <a:gd name="connsiteX149" fmla="*/ 1910080 w 3505200"/>
              <a:gd name="connsiteY149" fmla="*/ 4419600 h 8260080"/>
              <a:gd name="connsiteX150" fmla="*/ 1920240 w 3505200"/>
              <a:gd name="connsiteY150" fmla="*/ 4277360 h 8260080"/>
              <a:gd name="connsiteX151" fmla="*/ 1971040 w 3505200"/>
              <a:gd name="connsiteY151" fmla="*/ 4124960 h 8260080"/>
              <a:gd name="connsiteX152" fmla="*/ 1879600 w 3505200"/>
              <a:gd name="connsiteY152" fmla="*/ 4023360 h 8260080"/>
              <a:gd name="connsiteX153" fmla="*/ 2072640 w 3505200"/>
              <a:gd name="connsiteY153" fmla="*/ 4003040 h 8260080"/>
              <a:gd name="connsiteX154" fmla="*/ 2092960 w 3505200"/>
              <a:gd name="connsiteY154" fmla="*/ 3850640 h 8260080"/>
              <a:gd name="connsiteX155" fmla="*/ 2001520 w 3505200"/>
              <a:gd name="connsiteY155" fmla="*/ 3728720 h 8260080"/>
              <a:gd name="connsiteX156" fmla="*/ 2164080 w 3505200"/>
              <a:gd name="connsiteY156" fmla="*/ 3769360 h 8260080"/>
              <a:gd name="connsiteX157" fmla="*/ 2265680 w 3505200"/>
              <a:gd name="connsiteY157" fmla="*/ 3566160 h 8260080"/>
              <a:gd name="connsiteX158" fmla="*/ 2336800 w 3505200"/>
              <a:gd name="connsiteY158" fmla="*/ 3515360 h 8260080"/>
              <a:gd name="connsiteX159" fmla="*/ 2367280 w 3505200"/>
              <a:gd name="connsiteY159" fmla="*/ 3362960 h 8260080"/>
              <a:gd name="connsiteX160" fmla="*/ 2489200 w 3505200"/>
              <a:gd name="connsiteY160" fmla="*/ 3423920 h 8260080"/>
              <a:gd name="connsiteX161" fmla="*/ 2560320 w 3505200"/>
              <a:gd name="connsiteY161" fmla="*/ 3302000 h 8260080"/>
              <a:gd name="connsiteX162" fmla="*/ 2743200 w 3505200"/>
              <a:gd name="connsiteY162" fmla="*/ 3149600 h 8260080"/>
              <a:gd name="connsiteX163" fmla="*/ 2844800 w 3505200"/>
              <a:gd name="connsiteY163" fmla="*/ 3088640 h 8260080"/>
              <a:gd name="connsiteX164" fmla="*/ 2804160 w 3505200"/>
              <a:gd name="connsiteY164" fmla="*/ 2966720 h 8260080"/>
              <a:gd name="connsiteX165" fmla="*/ 2976880 w 3505200"/>
              <a:gd name="connsiteY165" fmla="*/ 2763520 h 8260080"/>
              <a:gd name="connsiteX166" fmla="*/ 2794000 w 3505200"/>
              <a:gd name="connsiteY166" fmla="*/ 2621280 h 8260080"/>
              <a:gd name="connsiteX167" fmla="*/ 2946400 w 3505200"/>
              <a:gd name="connsiteY167" fmla="*/ 2377440 h 8260080"/>
              <a:gd name="connsiteX168" fmla="*/ 2854960 w 3505200"/>
              <a:gd name="connsiteY168" fmla="*/ 2255520 h 8260080"/>
              <a:gd name="connsiteX169" fmla="*/ 3027680 w 3505200"/>
              <a:gd name="connsiteY169" fmla="*/ 2113280 h 8260080"/>
              <a:gd name="connsiteX170" fmla="*/ 3119120 w 3505200"/>
              <a:gd name="connsiteY170" fmla="*/ 2021840 h 8260080"/>
              <a:gd name="connsiteX171" fmla="*/ 3027680 w 3505200"/>
              <a:gd name="connsiteY171" fmla="*/ 1960880 h 8260080"/>
              <a:gd name="connsiteX172" fmla="*/ 3139440 w 3505200"/>
              <a:gd name="connsiteY172" fmla="*/ 1869440 h 8260080"/>
              <a:gd name="connsiteX173" fmla="*/ 3281680 w 3505200"/>
              <a:gd name="connsiteY173" fmla="*/ 1950720 h 8260080"/>
              <a:gd name="connsiteX174" fmla="*/ 3403600 w 3505200"/>
              <a:gd name="connsiteY174" fmla="*/ 1889760 h 8260080"/>
              <a:gd name="connsiteX175" fmla="*/ 3505200 w 3505200"/>
              <a:gd name="connsiteY175" fmla="*/ 1910080 h 8260080"/>
              <a:gd name="connsiteX176" fmla="*/ 3444240 w 3505200"/>
              <a:gd name="connsiteY176" fmla="*/ 1656080 h 8260080"/>
              <a:gd name="connsiteX177" fmla="*/ 3373120 w 3505200"/>
              <a:gd name="connsiteY177" fmla="*/ 1635760 h 8260080"/>
              <a:gd name="connsiteX178" fmla="*/ 3352800 w 3505200"/>
              <a:gd name="connsiteY178" fmla="*/ 1503680 h 8260080"/>
              <a:gd name="connsiteX179" fmla="*/ 3444240 w 3505200"/>
              <a:gd name="connsiteY179" fmla="*/ 1412240 h 8260080"/>
              <a:gd name="connsiteX180" fmla="*/ 3393440 w 3505200"/>
              <a:gd name="connsiteY180" fmla="*/ 1280160 h 8260080"/>
              <a:gd name="connsiteX181" fmla="*/ 3434080 w 3505200"/>
              <a:gd name="connsiteY181" fmla="*/ 1249680 h 8260080"/>
              <a:gd name="connsiteX182" fmla="*/ 3281680 w 3505200"/>
              <a:gd name="connsiteY182" fmla="*/ 1066800 h 8260080"/>
              <a:gd name="connsiteX183" fmla="*/ 3383280 w 3505200"/>
              <a:gd name="connsiteY183" fmla="*/ 975360 h 8260080"/>
              <a:gd name="connsiteX184" fmla="*/ 3302000 w 3505200"/>
              <a:gd name="connsiteY184" fmla="*/ 924560 h 8260080"/>
              <a:gd name="connsiteX185" fmla="*/ 3190240 w 3505200"/>
              <a:gd name="connsiteY185" fmla="*/ 944880 h 8260080"/>
              <a:gd name="connsiteX186" fmla="*/ 3281680 w 3505200"/>
              <a:gd name="connsiteY186" fmla="*/ 792480 h 8260080"/>
              <a:gd name="connsiteX187" fmla="*/ 3210560 w 3505200"/>
              <a:gd name="connsiteY187" fmla="*/ 650240 h 8260080"/>
              <a:gd name="connsiteX188" fmla="*/ 3302000 w 3505200"/>
              <a:gd name="connsiteY188" fmla="*/ 568960 h 8260080"/>
              <a:gd name="connsiteX189" fmla="*/ 3190240 w 3505200"/>
              <a:gd name="connsiteY189" fmla="*/ 487680 h 8260080"/>
              <a:gd name="connsiteX190" fmla="*/ 3108960 w 3505200"/>
              <a:gd name="connsiteY190" fmla="*/ 528320 h 8260080"/>
              <a:gd name="connsiteX191" fmla="*/ 3108960 w 3505200"/>
              <a:gd name="connsiteY191" fmla="*/ 406400 h 8260080"/>
              <a:gd name="connsiteX192" fmla="*/ 2926080 w 3505200"/>
              <a:gd name="connsiteY192" fmla="*/ 314960 h 8260080"/>
              <a:gd name="connsiteX193" fmla="*/ 2834640 w 3505200"/>
              <a:gd name="connsiteY193" fmla="*/ 355600 h 8260080"/>
              <a:gd name="connsiteX194" fmla="*/ 2682240 w 3505200"/>
              <a:gd name="connsiteY194" fmla="*/ 111760 h 8260080"/>
              <a:gd name="connsiteX195" fmla="*/ 2590800 w 3505200"/>
              <a:gd name="connsiteY195" fmla="*/ 121920 h 8260080"/>
              <a:gd name="connsiteX196" fmla="*/ 2611120 w 3505200"/>
              <a:gd name="connsiteY196" fmla="*/ 0 h 8260080"/>
              <a:gd name="connsiteX197" fmla="*/ 2438400 w 3505200"/>
              <a:gd name="connsiteY197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271463 w 3505200"/>
              <a:gd name="connsiteY77" fmla="*/ 7030085 h 8260080"/>
              <a:gd name="connsiteX78" fmla="*/ 280829 w 3505200"/>
              <a:gd name="connsiteY78" fmla="*/ 7148354 h 8260080"/>
              <a:gd name="connsiteX79" fmla="*/ 242962 w 3505200"/>
              <a:gd name="connsiteY79" fmla="*/ 7226746 h 8260080"/>
              <a:gd name="connsiteX80" fmla="*/ 282892 w 3505200"/>
              <a:gd name="connsiteY80" fmla="*/ 7300436 h 8260080"/>
              <a:gd name="connsiteX81" fmla="*/ 334645 w 3505200"/>
              <a:gd name="connsiteY81" fmla="*/ 7194709 h 8260080"/>
              <a:gd name="connsiteX82" fmla="*/ 354881 w 3505200"/>
              <a:gd name="connsiteY82" fmla="*/ 7257702 h 8260080"/>
              <a:gd name="connsiteX83" fmla="*/ 337026 w 3505200"/>
              <a:gd name="connsiteY83" fmla="*/ 7316154 h 8260080"/>
              <a:gd name="connsiteX84" fmla="*/ 370364 w 3505200"/>
              <a:gd name="connsiteY84" fmla="*/ 7360602 h 8260080"/>
              <a:gd name="connsiteX85" fmla="*/ 447040 w 3505200"/>
              <a:gd name="connsiteY85" fmla="*/ 7366000 h 8260080"/>
              <a:gd name="connsiteX86" fmla="*/ 447040 w 3505200"/>
              <a:gd name="connsiteY86" fmla="*/ 7477760 h 8260080"/>
              <a:gd name="connsiteX87" fmla="*/ 558800 w 3505200"/>
              <a:gd name="connsiteY87" fmla="*/ 7528560 h 8260080"/>
              <a:gd name="connsiteX88" fmla="*/ 508000 w 3505200"/>
              <a:gd name="connsiteY88" fmla="*/ 7630160 h 8260080"/>
              <a:gd name="connsiteX89" fmla="*/ 436880 w 3505200"/>
              <a:gd name="connsiteY89" fmla="*/ 7609840 h 8260080"/>
              <a:gd name="connsiteX90" fmla="*/ 447040 w 3505200"/>
              <a:gd name="connsiteY90" fmla="*/ 7691120 h 8260080"/>
              <a:gd name="connsiteX91" fmla="*/ 518160 w 3505200"/>
              <a:gd name="connsiteY91" fmla="*/ 7741920 h 8260080"/>
              <a:gd name="connsiteX92" fmla="*/ 457200 w 3505200"/>
              <a:gd name="connsiteY92" fmla="*/ 7792720 h 8260080"/>
              <a:gd name="connsiteX93" fmla="*/ 396240 w 3505200"/>
              <a:gd name="connsiteY93" fmla="*/ 7701280 h 8260080"/>
              <a:gd name="connsiteX94" fmla="*/ 396240 w 3505200"/>
              <a:gd name="connsiteY94" fmla="*/ 7701280 h 8260080"/>
              <a:gd name="connsiteX95" fmla="*/ 436880 w 3505200"/>
              <a:gd name="connsiteY95" fmla="*/ 7874000 h 8260080"/>
              <a:gd name="connsiteX96" fmla="*/ 436880 w 3505200"/>
              <a:gd name="connsiteY96" fmla="*/ 7924800 h 8260080"/>
              <a:gd name="connsiteX97" fmla="*/ 548640 w 3505200"/>
              <a:gd name="connsiteY97" fmla="*/ 7965440 h 8260080"/>
              <a:gd name="connsiteX98" fmla="*/ 508000 w 3505200"/>
              <a:gd name="connsiteY98" fmla="*/ 8016240 h 8260080"/>
              <a:gd name="connsiteX99" fmla="*/ 589280 w 3505200"/>
              <a:gd name="connsiteY99" fmla="*/ 8056880 h 8260080"/>
              <a:gd name="connsiteX100" fmla="*/ 497840 w 3505200"/>
              <a:gd name="connsiteY100" fmla="*/ 8117840 h 8260080"/>
              <a:gd name="connsiteX101" fmla="*/ 518160 w 3505200"/>
              <a:gd name="connsiteY101" fmla="*/ 8209280 h 8260080"/>
              <a:gd name="connsiteX102" fmla="*/ 640080 w 3505200"/>
              <a:gd name="connsiteY102" fmla="*/ 8260080 h 8260080"/>
              <a:gd name="connsiteX103" fmla="*/ 731520 w 3505200"/>
              <a:gd name="connsiteY103" fmla="*/ 8219440 h 8260080"/>
              <a:gd name="connsiteX104" fmla="*/ 853440 w 3505200"/>
              <a:gd name="connsiteY104" fmla="*/ 8209280 h 8260080"/>
              <a:gd name="connsiteX105" fmla="*/ 955040 w 3505200"/>
              <a:gd name="connsiteY105" fmla="*/ 8260080 h 8260080"/>
              <a:gd name="connsiteX106" fmla="*/ 965200 w 3505200"/>
              <a:gd name="connsiteY106" fmla="*/ 8107680 h 8260080"/>
              <a:gd name="connsiteX107" fmla="*/ 894080 w 3505200"/>
              <a:gd name="connsiteY107" fmla="*/ 8026400 h 8260080"/>
              <a:gd name="connsiteX108" fmla="*/ 1016000 w 3505200"/>
              <a:gd name="connsiteY108" fmla="*/ 7863840 h 8260080"/>
              <a:gd name="connsiteX109" fmla="*/ 1107440 w 3505200"/>
              <a:gd name="connsiteY109" fmla="*/ 7894320 h 8260080"/>
              <a:gd name="connsiteX110" fmla="*/ 1127760 w 3505200"/>
              <a:gd name="connsiteY110" fmla="*/ 7853680 h 8260080"/>
              <a:gd name="connsiteX111" fmla="*/ 1066800 w 3505200"/>
              <a:gd name="connsiteY111" fmla="*/ 7813040 h 8260080"/>
              <a:gd name="connsiteX112" fmla="*/ 1137920 w 3505200"/>
              <a:gd name="connsiteY112" fmla="*/ 7762240 h 8260080"/>
              <a:gd name="connsiteX113" fmla="*/ 1330960 w 3505200"/>
              <a:gd name="connsiteY113" fmla="*/ 7802880 h 8260080"/>
              <a:gd name="connsiteX114" fmla="*/ 1361440 w 3505200"/>
              <a:gd name="connsiteY114" fmla="*/ 7772400 h 8260080"/>
              <a:gd name="connsiteX115" fmla="*/ 1483360 w 3505200"/>
              <a:gd name="connsiteY115" fmla="*/ 7823200 h 8260080"/>
              <a:gd name="connsiteX116" fmla="*/ 1554480 w 3505200"/>
              <a:gd name="connsiteY116" fmla="*/ 7731760 h 8260080"/>
              <a:gd name="connsiteX117" fmla="*/ 1524000 w 3505200"/>
              <a:gd name="connsiteY117" fmla="*/ 7640320 h 8260080"/>
              <a:gd name="connsiteX118" fmla="*/ 1645920 w 3505200"/>
              <a:gd name="connsiteY118" fmla="*/ 7437120 h 8260080"/>
              <a:gd name="connsiteX119" fmla="*/ 1635760 w 3505200"/>
              <a:gd name="connsiteY119" fmla="*/ 7335520 h 8260080"/>
              <a:gd name="connsiteX120" fmla="*/ 1696720 w 3505200"/>
              <a:gd name="connsiteY120" fmla="*/ 7223760 h 8260080"/>
              <a:gd name="connsiteX121" fmla="*/ 1625600 w 3505200"/>
              <a:gd name="connsiteY121" fmla="*/ 7172960 h 8260080"/>
              <a:gd name="connsiteX122" fmla="*/ 1747520 w 3505200"/>
              <a:gd name="connsiteY122" fmla="*/ 6990080 h 8260080"/>
              <a:gd name="connsiteX123" fmla="*/ 1666240 w 3505200"/>
              <a:gd name="connsiteY123" fmla="*/ 6939280 h 8260080"/>
              <a:gd name="connsiteX124" fmla="*/ 1737360 w 3505200"/>
              <a:gd name="connsiteY124" fmla="*/ 6888480 h 8260080"/>
              <a:gd name="connsiteX125" fmla="*/ 1645920 w 3505200"/>
              <a:gd name="connsiteY125" fmla="*/ 6776720 h 8260080"/>
              <a:gd name="connsiteX126" fmla="*/ 1808480 w 3505200"/>
              <a:gd name="connsiteY126" fmla="*/ 6715760 h 8260080"/>
              <a:gd name="connsiteX127" fmla="*/ 1727200 w 3505200"/>
              <a:gd name="connsiteY127" fmla="*/ 6614160 h 8260080"/>
              <a:gd name="connsiteX128" fmla="*/ 1686560 w 3505200"/>
              <a:gd name="connsiteY128" fmla="*/ 6421120 h 8260080"/>
              <a:gd name="connsiteX129" fmla="*/ 1889760 w 3505200"/>
              <a:gd name="connsiteY129" fmla="*/ 6299200 h 8260080"/>
              <a:gd name="connsiteX130" fmla="*/ 1940560 w 3505200"/>
              <a:gd name="connsiteY130" fmla="*/ 6228080 h 8260080"/>
              <a:gd name="connsiteX131" fmla="*/ 2032000 w 3505200"/>
              <a:gd name="connsiteY131" fmla="*/ 6136640 h 8260080"/>
              <a:gd name="connsiteX132" fmla="*/ 2011680 w 3505200"/>
              <a:gd name="connsiteY132" fmla="*/ 6014720 h 8260080"/>
              <a:gd name="connsiteX133" fmla="*/ 2123440 w 3505200"/>
              <a:gd name="connsiteY133" fmla="*/ 6065520 h 8260080"/>
              <a:gd name="connsiteX134" fmla="*/ 2092960 w 3505200"/>
              <a:gd name="connsiteY134" fmla="*/ 6167120 h 8260080"/>
              <a:gd name="connsiteX135" fmla="*/ 2286000 w 3505200"/>
              <a:gd name="connsiteY135" fmla="*/ 5933440 h 8260080"/>
              <a:gd name="connsiteX136" fmla="*/ 2255520 w 3505200"/>
              <a:gd name="connsiteY136" fmla="*/ 5801360 h 8260080"/>
              <a:gd name="connsiteX137" fmla="*/ 2448560 w 3505200"/>
              <a:gd name="connsiteY137" fmla="*/ 5598160 h 8260080"/>
              <a:gd name="connsiteX138" fmla="*/ 2357120 w 3505200"/>
              <a:gd name="connsiteY138" fmla="*/ 5435600 h 8260080"/>
              <a:gd name="connsiteX139" fmla="*/ 2225040 w 3505200"/>
              <a:gd name="connsiteY139" fmla="*/ 5415280 h 8260080"/>
              <a:gd name="connsiteX140" fmla="*/ 2103120 w 3505200"/>
              <a:gd name="connsiteY140" fmla="*/ 5222240 h 8260080"/>
              <a:gd name="connsiteX141" fmla="*/ 2092960 w 3505200"/>
              <a:gd name="connsiteY141" fmla="*/ 5110480 h 8260080"/>
              <a:gd name="connsiteX142" fmla="*/ 2052320 w 3505200"/>
              <a:gd name="connsiteY142" fmla="*/ 5151120 h 8260080"/>
              <a:gd name="connsiteX143" fmla="*/ 2042160 w 3505200"/>
              <a:gd name="connsiteY143" fmla="*/ 5242560 h 8260080"/>
              <a:gd name="connsiteX144" fmla="*/ 1981200 w 3505200"/>
              <a:gd name="connsiteY144" fmla="*/ 5191760 h 8260080"/>
              <a:gd name="connsiteX145" fmla="*/ 2011680 w 3505200"/>
              <a:gd name="connsiteY145" fmla="*/ 5120640 h 8260080"/>
              <a:gd name="connsiteX146" fmla="*/ 1930400 w 3505200"/>
              <a:gd name="connsiteY146" fmla="*/ 5100320 h 8260080"/>
              <a:gd name="connsiteX147" fmla="*/ 1859280 w 3505200"/>
              <a:gd name="connsiteY147" fmla="*/ 4917440 h 8260080"/>
              <a:gd name="connsiteX148" fmla="*/ 1828800 w 3505200"/>
              <a:gd name="connsiteY148" fmla="*/ 4622800 h 8260080"/>
              <a:gd name="connsiteX149" fmla="*/ 1910080 w 3505200"/>
              <a:gd name="connsiteY149" fmla="*/ 4419600 h 8260080"/>
              <a:gd name="connsiteX150" fmla="*/ 1920240 w 3505200"/>
              <a:gd name="connsiteY150" fmla="*/ 4277360 h 8260080"/>
              <a:gd name="connsiteX151" fmla="*/ 1971040 w 3505200"/>
              <a:gd name="connsiteY151" fmla="*/ 4124960 h 8260080"/>
              <a:gd name="connsiteX152" fmla="*/ 1879600 w 3505200"/>
              <a:gd name="connsiteY152" fmla="*/ 4023360 h 8260080"/>
              <a:gd name="connsiteX153" fmla="*/ 2072640 w 3505200"/>
              <a:gd name="connsiteY153" fmla="*/ 4003040 h 8260080"/>
              <a:gd name="connsiteX154" fmla="*/ 2092960 w 3505200"/>
              <a:gd name="connsiteY154" fmla="*/ 3850640 h 8260080"/>
              <a:gd name="connsiteX155" fmla="*/ 2001520 w 3505200"/>
              <a:gd name="connsiteY155" fmla="*/ 3728720 h 8260080"/>
              <a:gd name="connsiteX156" fmla="*/ 2164080 w 3505200"/>
              <a:gd name="connsiteY156" fmla="*/ 3769360 h 8260080"/>
              <a:gd name="connsiteX157" fmla="*/ 2265680 w 3505200"/>
              <a:gd name="connsiteY157" fmla="*/ 3566160 h 8260080"/>
              <a:gd name="connsiteX158" fmla="*/ 2336800 w 3505200"/>
              <a:gd name="connsiteY158" fmla="*/ 3515360 h 8260080"/>
              <a:gd name="connsiteX159" fmla="*/ 2367280 w 3505200"/>
              <a:gd name="connsiteY159" fmla="*/ 3362960 h 8260080"/>
              <a:gd name="connsiteX160" fmla="*/ 2489200 w 3505200"/>
              <a:gd name="connsiteY160" fmla="*/ 3423920 h 8260080"/>
              <a:gd name="connsiteX161" fmla="*/ 2560320 w 3505200"/>
              <a:gd name="connsiteY161" fmla="*/ 3302000 h 8260080"/>
              <a:gd name="connsiteX162" fmla="*/ 2743200 w 3505200"/>
              <a:gd name="connsiteY162" fmla="*/ 3149600 h 8260080"/>
              <a:gd name="connsiteX163" fmla="*/ 2844800 w 3505200"/>
              <a:gd name="connsiteY163" fmla="*/ 3088640 h 8260080"/>
              <a:gd name="connsiteX164" fmla="*/ 2804160 w 3505200"/>
              <a:gd name="connsiteY164" fmla="*/ 2966720 h 8260080"/>
              <a:gd name="connsiteX165" fmla="*/ 2976880 w 3505200"/>
              <a:gd name="connsiteY165" fmla="*/ 2763520 h 8260080"/>
              <a:gd name="connsiteX166" fmla="*/ 2794000 w 3505200"/>
              <a:gd name="connsiteY166" fmla="*/ 2621280 h 8260080"/>
              <a:gd name="connsiteX167" fmla="*/ 2946400 w 3505200"/>
              <a:gd name="connsiteY167" fmla="*/ 2377440 h 8260080"/>
              <a:gd name="connsiteX168" fmla="*/ 2854960 w 3505200"/>
              <a:gd name="connsiteY168" fmla="*/ 2255520 h 8260080"/>
              <a:gd name="connsiteX169" fmla="*/ 3027680 w 3505200"/>
              <a:gd name="connsiteY169" fmla="*/ 2113280 h 8260080"/>
              <a:gd name="connsiteX170" fmla="*/ 3119120 w 3505200"/>
              <a:gd name="connsiteY170" fmla="*/ 2021840 h 8260080"/>
              <a:gd name="connsiteX171" fmla="*/ 3027680 w 3505200"/>
              <a:gd name="connsiteY171" fmla="*/ 1960880 h 8260080"/>
              <a:gd name="connsiteX172" fmla="*/ 3139440 w 3505200"/>
              <a:gd name="connsiteY172" fmla="*/ 1869440 h 8260080"/>
              <a:gd name="connsiteX173" fmla="*/ 3281680 w 3505200"/>
              <a:gd name="connsiteY173" fmla="*/ 1950720 h 8260080"/>
              <a:gd name="connsiteX174" fmla="*/ 3403600 w 3505200"/>
              <a:gd name="connsiteY174" fmla="*/ 1889760 h 8260080"/>
              <a:gd name="connsiteX175" fmla="*/ 3505200 w 3505200"/>
              <a:gd name="connsiteY175" fmla="*/ 1910080 h 8260080"/>
              <a:gd name="connsiteX176" fmla="*/ 3444240 w 3505200"/>
              <a:gd name="connsiteY176" fmla="*/ 1656080 h 8260080"/>
              <a:gd name="connsiteX177" fmla="*/ 3373120 w 3505200"/>
              <a:gd name="connsiteY177" fmla="*/ 1635760 h 8260080"/>
              <a:gd name="connsiteX178" fmla="*/ 3352800 w 3505200"/>
              <a:gd name="connsiteY178" fmla="*/ 1503680 h 8260080"/>
              <a:gd name="connsiteX179" fmla="*/ 3444240 w 3505200"/>
              <a:gd name="connsiteY179" fmla="*/ 1412240 h 8260080"/>
              <a:gd name="connsiteX180" fmla="*/ 3393440 w 3505200"/>
              <a:gd name="connsiteY180" fmla="*/ 1280160 h 8260080"/>
              <a:gd name="connsiteX181" fmla="*/ 3434080 w 3505200"/>
              <a:gd name="connsiteY181" fmla="*/ 1249680 h 8260080"/>
              <a:gd name="connsiteX182" fmla="*/ 3281680 w 3505200"/>
              <a:gd name="connsiteY182" fmla="*/ 1066800 h 8260080"/>
              <a:gd name="connsiteX183" fmla="*/ 3383280 w 3505200"/>
              <a:gd name="connsiteY183" fmla="*/ 975360 h 8260080"/>
              <a:gd name="connsiteX184" fmla="*/ 3302000 w 3505200"/>
              <a:gd name="connsiteY184" fmla="*/ 924560 h 8260080"/>
              <a:gd name="connsiteX185" fmla="*/ 3190240 w 3505200"/>
              <a:gd name="connsiteY185" fmla="*/ 944880 h 8260080"/>
              <a:gd name="connsiteX186" fmla="*/ 3281680 w 3505200"/>
              <a:gd name="connsiteY186" fmla="*/ 792480 h 8260080"/>
              <a:gd name="connsiteX187" fmla="*/ 3210560 w 3505200"/>
              <a:gd name="connsiteY187" fmla="*/ 650240 h 8260080"/>
              <a:gd name="connsiteX188" fmla="*/ 3302000 w 3505200"/>
              <a:gd name="connsiteY188" fmla="*/ 568960 h 8260080"/>
              <a:gd name="connsiteX189" fmla="*/ 3190240 w 3505200"/>
              <a:gd name="connsiteY189" fmla="*/ 487680 h 8260080"/>
              <a:gd name="connsiteX190" fmla="*/ 3108960 w 3505200"/>
              <a:gd name="connsiteY190" fmla="*/ 528320 h 8260080"/>
              <a:gd name="connsiteX191" fmla="*/ 3108960 w 3505200"/>
              <a:gd name="connsiteY191" fmla="*/ 406400 h 8260080"/>
              <a:gd name="connsiteX192" fmla="*/ 2926080 w 3505200"/>
              <a:gd name="connsiteY192" fmla="*/ 314960 h 8260080"/>
              <a:gd name="connsiteX193" fmla="*/ 2834640 w 3505200"/>
              <a:gd name="connsiteY193" fmla="*/ 355600 h 8260080"/>
              <a:gd name="connsiteX194" fmla="*/ 2682240 w 3505200"/>
              <a:gd name="connsiteY194" fmla="*/ 111760 h 8260080"/>
              <a:gd name="connsiteX195" fmla="*/ 2590800 w 3505200"/>
              <a:gd name="connsiteY195" fmla="*/ 121920 h 8260080"/>
              <a:gd name="connsiteX196" fmla="*/ 2611120 w 3505200"/>
              <a:gd name="connsiteY196" fmla="*/ 0 h 8260080"/>
              <a:gd name="connsiteX197" fmla="*/ 2438400 w 3505200"/>
              <a:gd name="connsiteY197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271463 w 3505200"/>
              <a:gd name="connsiteY77" fmla="*/ 7030085 h 8260080"/>
              <a:gd name="connsiteX78" fmla="*/ 280829 w 3505200"/>
              <a:gd name="connsiteY78" fmla="*/ 7148354 h 8260080"/>
              <a:gd name="connsiteX79" fmla="*/ 242962 w 3505200"/>
              <a:gd name="connsiteY79" fmla="*/ 7226746 h 8260080"/>
              <a:gd name="connsiteX80" fmla="*/ 282892 w 3505200"/>
              <a:gd name="connsiteY80" fmla="*/ 7300436 h 8260080"/>
              <a:gd name="connsiteX81" fmla="*/ 334645 w 3505200"/>
              <a:gd name="connsiteY81" fmla="*/ 7194709 h 8260080"/>
              <a:gd name="connsiteX82" fmla="*/ 354881 w 3505200"/>
              <a:gd name="connsiteY82" fmla="*/ 7257702 h 8260080"/>
              <a:gd name="connsiteX83" fmla="*/ 337026 w 3505200"/>
              <a:gd name="connsiteY83" fmla="*/ 7316154 h 8260080"/>
              <a:gd name="connsiteX84" fmla="*/ 370364 w 3505200"/>
              <a:gd name="connsiteY84" fmla="*/ 7360602 h 8260080"/>
              <a:gd name="connsiteX85" fmla="*/ 447040 w 3505200"/>
              <a:gd name="connsiteY85" fmla="*/ 7366000 h 8260080"/>
              <a:gd name="connsiteX86" fmla="*/ 447040 w 3505200"/>
              <a:gd name="connsiteY86" fmla="*/ 7477760 h 8260080"/>
              <a:gd name="connsiteX87" fmla="*/ 558800 w 3505200"/>
              <a:gd name="connsiteY87" fmla="*/ 7528560 h 8260080"/>
              <a:gd name="connsiteX88" fmla="*/ 508000 w 3505200"/>
              <a:gd name="connsiteY88" fmla="*/ 7630160 h 8260080"/>
              <a:gd name="connsiteX89" fmla="*/ 436880 w 3505200"/>
              <a:gd name="connsiteY89" fmla="*/ 7609840 h 8260080"/>
              <a:gd name="connsiteX90" fmla="*/ 447040 w 3505200"/>
              <a:gd name="connsiteY90" fmla="*/ 7691120 h 8260080"/>
              <a:gd name="connsiteX91" fmla="*/ 518160 w 3505200"/>
              <a:gd name="connsiteY91" fmla="*/ 7741920 h 8260080"/>
              <a:gd name="connsiteX92" fmla="*/ 457200 w 3505200"/>
              <a:gd name="connsiteY92" fmla="*/ 7792720 h 8260080"/>
              <a:gd name="connsiteX93" fmla="*/ 396240 w 3505200"/>
              <a:gd name="connsiteY93" fmla="*/ 7701280 h 8260080"/>
              <a:gd name="connsiteX94" fmla="*/ 396240 w 3505200"/>
              <a:gd name="connsiteY94" fmla="*/ 7701280 h 8260080"/>
              <a:gd name="connsiteX95" fmla="*/ 436880 w 3505200"/>
              <a:gd name="connsiteY95" fmla="*/ 7874000 h 8260080"/>
              <a:gd name="connsiteX96" fmla="*/ 436880 w 3505200"/>
              <a:gd name="connsiteY96" fmla="*/ 7924800 h 8260080"/>
              <a:gd name="connsiteX97" fmla="*/ 548640 w 3505200"/>
              <a:gd name="connsiteY97" fmla="*/ 7965440 h 8260080"/>
              <a:gd name="connsiteX98" fmla="*/ 508000 w 3505200"/>
              <a:gd name="connsiteY98" fmla="*/ 8016240 h 8260080"/>
              <a:gd name="connsiteX99" fmla="*/ 589280 w 3505200"/>
              <a:gd name="connsiteY99" fmla="*/ 8056880 h 8260080"/>
              <a:gd name="connsiteX100" fmla="*/ 497840 w 3505200"/>
              <a:gd name="connsiteY100" fmla="*/ 8117840 h 8260080"/>
              <a:gd name="connsiteX101" fmla="*/ 518160 w 3505200"/>
              <a:gd name="connsiteY101" fmla="*/ 8209280 h 8260080"/>
              <a:gd name="connsiteX102" fmla="*/ 640080 w 3505200"/>
              <a:gd name="connsiteY102" fmla="*/ 8260080 h 8260080"/>
              <a:gd name="connsiteX103" fmla="*/ 731520 w 3505200"/>
              <a:gd name="connsiteY103" fmla="*/ 8219440 h 8260080"/>
              <a:gd name="connsiteX104" fmla="*/ 853440 w 3505200"/>
              <a:gd name="connsiteY104" fmla="*/ 8209280 h 8260080"/>
              <a:gd name="connsiteX105" fmla="*/ 955040 w 3505200"/>
              <a:gd name="connsiteY105" fmla="*/ 8260080 h 8260080"/>
              <a:gd name="connsiteX106" fmla="*/ 965200 w 3505200"/>
              <a:gd name="connsiteY106" fmla="*/ 8107680 h 8260080"/>
              <a:gd name="connsiteX107" fmla="*/ 894080 w 3505200"/>
              <a:gd name="connsiteY107" fmla="*/ 8026400 h 8260080"/>
              <a:gd name="connsiteX108" fmla="*/ 1016000 w 3505200"/>
              <a:gd name="connsiteY108" fmla="*/ 7863840 h 8260080"/>
              <a:gd name="connsiteX109" fmla="*/ 1107440 w 3505200"/>
              <a:gd name="connsiteY109" fmla="*/ 7894320 h 8260080"/>
              <a:gd name="connsiteX110" fmla="*/ 1127760 w 3505200"/>
              <a:gd name="connsiteY110" fmla="*/ 7853680 h 8260080"/>
              <a:gd name="connsiteX111" fmla="*/ 1066800 w 3505200"/>
              <a:gd name="connsiteY111" fmla="*/ 7813040 h 8260080"/>
              <a:gd name="connsiteX112" fmla="*/ 1137920 w 3505200"/>
              <a:gd name="connsiteY112" fmla="*/ 7762240 h 8260080"/>
              <a:gd name="connsiteX113" fmla="*/ 1330960 w 3505200"/>
              <a:gd name="connsiteY113" fmla="*/ 7802880 h 8260080"/>
              <a:gd name="connsiteX114" fmla="*/ 1361440 w 3505200"/>
              <a:gd name="connsiteY114" fmla="*/ 7772400 h 8260080"/>
              <a:gd name="connsiteX115" fmla="*/ 1483360 w 3505200"/>
              <a:gd name="connsiteY115" fmla="*/ 7823200 h 8260080"/>
              <a:gd name="connsiteX116" fmla="*/ 1554480 w 3505200"/>
              <a:gd name="connsiteY116" fmla="*/ 7731760 h 8260080"/>
              <a:gd name="connsiteX117" fmla="*/ 1524000 w 3505200"/>
              <a:gd name="connsiteY117" fmla="*/ 7640320 h 8260080"/>
              <a:gd name="connsiteX118" fmla="*/ 1645920 w 3505200"/>
              <a:gd name="connsiteY118" fmla="*/ 7437120 h 8260080"/>
              <a:gd name="connsiteX119" fmla="*/ 1635760 w 3505200"/>
              <a:gd name="connsiteY119" fmla="*/ 7335520 h 8260080"/>
              <a:gd name="connsiteX120" fmla="*/ 1696720 w 3505200"/>
              <a:gd name="connsiteY120" fmla="*/ 7223760 h 8260080"/>
              <a:gd name="connsiteX121" fmla="*/ 1625600 w 3505200"/>
              <a:gd name="connsiteY121" fmla="*/ 7172960 h 8260080"/>
              <a:gd name="connsiteX122" fmla="*/ 1747520 w 3505200"/>
              <a:gd name="connsiteY122" fmla="*/ 6990080 h 8260080"/>
              <a:gd name="connsiteX123" fmla="*/ 1666240 w 3505200"/>
              <a:gd name="connsiteY123" fmla="*/ 6939280 h 8260080"/>
              <a:gd name="connsiteX124" fmla="*/ 1737360 w 3505200"/>
              <a:gd name="connsiteY124" fmla="*/ 6888480 h 8260080"/>
              <a:gd name="connsiteX125" fmla="*/ 1645920 w 3505200"/>
              <a:gd name="connsiteY125" fmla="*/ 6776720 h 8260080"/>
              <a:gd name="connsiteX126" fmla="*/ 1808480 w 3505200"/>
              <a:gd name="connsiteY126" fmla="*/ 6715760 h 8260080"/>
              <a:gd name="connsiteX127" fmla="*/ 1727200 w 3505200"/>
              <a:gd name="connsiteY127" fmla="*/ 6614160 h 8260080"/>
              <a:gd name="connsiteX128" fmla="*/ 1686560 w 3505200"/>
              <a:gd name="connsiteY128" fmla="*/ 6421120 h 8260080"/>
              <a:gd name="connsiteX129" fmla="*/ 1889760 w 3505200"/>
              <a:gd name="connsiteY129" fmla="*/ 6299200 h 8260080"/>
              <a:gd name="connsiteX130" fmla="*/ 1940560 w 3505200"/>
              <a:gd name="connsiteY130" fmla="*/ 6228080 h 8260080"/>
              <a:gd name="connsiteX131" fmla="*/ 2032000 w 3505200"/>
              <a:gd name="connsiteY131" fmla="*/ 6136640 h 8260080"/>
              <a:gd name="connsiteX132" fmla="*/ 2011680 w 3505200"/>
              <a:gd name="connsiteY132" fmla="*/ 6014720 h 8260080"/>
              <a:gd name="connsiteX133" fmla="*/ 2123440 w 3505200"/>
              <a:gd name="connsiteY133" fmla="*/ 6065520 h 8260080"/>
              <a:gd name="connsiteX134" fmla="*/ 2092960 w 3505200"/>
              <a:gd name="connsiteY134" fmla="*/ 6167120 h 8260080"/>
              <a:gd name="connsiteX135" fmla="*/ 2286000 w 3505200"/>
              <a:gd name="connsiteY135" fmla="*/ 5933440 h 8260080"/>
              <a:gd name="connsiteX136" fmla="*/ 2255520 w 3505200"/>
              <a:gd name="connsiteY136" fmla="*/ 5801360 h 8260080"/>
              <a:gd name="connsiteX137" fmla="*/ 2448560 w 3505200"/>
              <a:gd name="connsiteY137" fmla="*/ 5598160 h 8260080"/>
              <a:gd name="connsiteX138" fmla="*/ 2357120 w 3505200"/>
              <a:gd name="connsiteY138" fmla="*/ 5435600 h 8260080"/>
              <a:gd name="connsiteX139" fmla="*/ 2225040 w 3505200"/>
              <a:gd name="connsiteY139" fmla="*/ 5415280 h 8260080"/>
              <a:gd name="connsiteX140" fmla="*/ 2103120 w 3505200"/>
              <a:gd name="connsiteY140" fmla="*/ 5222240 h 8260080"/>
              <a:gd name="connsiteX141" fmla="*/ 2092960 w 3505200"/>
              <a:gd name="connsiteY141" fmla="*/ 5110480 h 8260080"/>
              <a:gd name="connsiteX142" fmla="*/ 2052320 w 3505200"/>
              <a:gd name="connsiteY142" fmla="*/ 5151120 h 8260080"/>
              <a:gd name="connsiteX143" fmla="*/ 2042160 w 3505200"/>
              <a:gd name="connsiteY143" fmla="*/ 5242560 h 8260080"/>
              <a:gd name="connsiteX144" fmla="*/ 1981200 w 3505200"/>
              <a:gd name="connsiteY144" fmla="*/ 5191760 h 8260080"/>
              <a:gd name="connsiteX145" fmla="*/ 2011680 w 3505200"/>
              <a:gd name="connsiteY145" fmla="*/ 5120640 h 8260080"/>
              <a:gd name="connsiteX146" fmla="*/ 1930400 w 3505200"/>
              <a:gd name="connsiteY146" fmla="*/ 5100320 h 8260080"/>
              <a:gd name="connsiteX147" fmla="*/ 1859280 w 3505200"/>
              <a:gd name="connsiteY147" fmla="*/ 4917440 h 8260080"/>
              <a:gd name="connsiteX148" fmla="*/ 1828800 w 3505200"/>
              <a:gd name="connsiteY148" fmla="*/ 4622800 h 8260080"/>
              <a:gd name="connsiteX149" fmla="*/ 1910080 w 3505200"/>
              <a:gd name="connsiteY149" fmla="*/ 4419600 h 8260080"/>
              <a:gd name="connsiteX150" fmla="*/ 1920240 w 3505200"/>
              <a:gd name="connsiteY150" fmla="*/ 4277360 h 8260080"/>
              <a:gd name="connsiteX151" fmla="*/ 1971040 w 3505200"/>
              <a:gd name="connsiteY151" fmla="*/ 4124960 h 8260080"/>
              <a:gd name="connsiteX152" fmla="*/ 1879600 w 3505200"/>
              <a:gd name="connsiteY152" fmla="*/ 4023360 h 8260080"/>
              <a:gd name="connsiteX153" fmla="*/ 2072640 w 3505200"/>
              <a:gd name="connsiteY153" fmla="*/ 4003040 h 8260080"/>
              <a:gd name="connsiteX154" fmla="*/ 2092960 w 3505200"/>
              <a:gd name="connsiteY154" fmla="*/ 3850640 h 8260080"/>
              <a:gd name="connsiteX155" fmla="*/ 2001520 w 3505200"/>
              <a:gd name="connsiteY155" fmla="*/ 3728720 h 8260080"/>
              <a:gd name="connsiteX156" fmla="*/ 2164080 w 3505200"/>
              <a:gd name="connsiteY156" fmla="*/ 3769360 h 8260080"/>
              <a:gd name="connsiteX157" fmla="*/ 2265680 w 3505200"/>
              <a:gd name="connsiteY157" fmla="*/ 3566160 h 8260080"/>
              <a:gd name="connsiteX158" fmla="*/ 2336800 w 3505200"/>
              <a:gd name="connsiteY158" fmla="*/ 3515360 h 8260080"/>
              <a:gd name="connsiteX159" fmla="*/ 2367280 w 3505200"/>
              <a:gd name="connsiteY159" fmla="*/ 3362960 h 8260080"/>
              <a:gd name="connsiteX160" fmla="*/ 2489200 w 3505200"/>
              <a:gd name="connsiteY160" fmla="*/ 3423920 h 8260080"/>
              <a:gd name="connsiteX161" fmla="*/ 2560320 w 3505200"/>
              <a:gd name="connsiteY161" fmla="*/ 3302000 h 8260080"/>
              <a:gd name="connsiteX162" fmla="*/ 2743200 w 3505200"/>
              <a:gd name="connsiteY162" fmla="*/ 3149600 h 8260080"/>
              <a:gd name="connsiteX163" fmla="*/ 2844800 w 3505200"/>
              <a:gd name="connsiteY163" fmla="*/ 3088640 h 8260080"/>
              <a:gd name="connsiteX164" fmla="*/ 2804160 w 3505200"/>
              <a:gd name="connsiteY164" fmla="*/ 2966720 h 8260080"/>
              <a:gd name="connsiteX165" fmla="*/ 2976880 w 3505200"/>
              <a:gd name="connsiteY165" fmla="*/ 2763520 h 8260080"/>
              <a:gd name="connsiteX166" fmla="*/ 2794000 w 3505200"/>
              <a:gd name="connsiteY166" fmla="*/ 2621280 h 8260080"/>
              <a:gd name="connsiteX167" fmla="*/ 2946400 w 3505200"/>
              <a:gd name="connsiteY167" fmla="*/ 2377440 h 8260080"/>
              <a:gd name="connsiteX168" fmla="*/ 2854960 w 3505200"/>
              <a:gd name="connsiteY168" fmla="*/ 2255520 h 8260080"/>
              <a:gd name="connsiteX169" fmla="*/ 3027680 w 3505200"/>
              <a:gd name="connsiteY169" fmla="*/ 2113280 h 8260080"/>
              <a:gd name="connsiteX170" fmla="*/ 3119120 w 3505200"/>
              <a:gd name="connsiteY170" fmla="*/ 2021840 h 8260080"/>
              <a:gd name="connsiteX171" fmla="*/ 3027680 w 3505200"/>
              <a:gd name="connsiteY171" fmla="*/ 1960880 h 8260080"/>
              <a:gd name="connsiteX172" fmla="*/ 3139440 w 3505200"/>
              <a:gd name="connsiteY172" fmla="*/ 1869440 h 8260080"/>
              <a:gd name="connsiteX173" fmla="*/ 3281680 w 3505200"/>
              <a:gd name="connsiteY173" fmla="*/ 1950720 h 8260080"/>
              <a:gd name="connsiteX174" fmla="*/ 3403600 w 3505200"/>
              <a:gd name="connsiteY174" fmla="*/ 1889760 h 8260080"/>
              <a:gd name="connsiteX175" fmla="*/ 3505200 w 3505200"/>
              <a:gd name="connsiteY175" fmla="*/ 1910080 h 8260080"/>
              <a:gd name="connsiteX176" fmla="*/ 3444240 w 3505200"/>
              <a:gd name="connsiteY176" fmla="*/ 1656080 h 8260080"/>
              <a:gd name="connsiteX177" fmla="*/ 3373120 w 3505200"/>
              <a:gd name="connsiteY177" fmla="*/ 1635760 h 8260080"/>
              <a:gd name="connsiteX178" fmla="*/ 3352800 w 3505200"/>
              <a:gd name="connsiteY178" fmla="*/ 1503680 h 8260080"/>
              <a:gd name="connsiteX179" fmla="*/ 3444240 w 3505200"/>
              <a:gd name="connsiteY179" fmla="*/ 1412240 h 8260080"/>
              <a:gd name="connsiteX180" fmla="*/ 3393440 w 3505200"/>
              <a:gd name="connsiteY180" fmla="*/ 1280160 h 8260080"/>
              <a:gd name="connsiteX181" fmla="*/ 3434080 w 3505200"/>
              <a:gd name="connsiteY181" fmla="*/ 1249680 h 8260080"/>
              <a:gd name="connsiteX182" fmla="*/ 3281680 w 3505200"/>
              <a:gd name="connsiteY182" fmla="*/ 1066800 h 8260080"/>
              <a:gd name="connsiteX183" fmla="*/ 3383280 w 3505200"/>
              <a:gd name="connsiteY183" fmla="*/ 975360 h 8260080"/>
              <a:gd name="connsiteX184" fmla="*/ 3302000 w 3505200"/>
              <a:gd name="connsiteY184" fmla="*/ 924560 h 8260080"/>
              <a:gd name="connsiteX185" fmla="*/ 3190240 w 3505200"/>
              <a:gd name="connsiteY185" fmla="*/ 944880 h 8260080"/>
              <a:gd name="connsiteX186" fmla="*/ 3281680 w 3505200"/>
              <a:gd name="connsiteY186" fmla="*/ 792480 h 8260080"/>
              <a:gd name="connsiteX187" fmla="*/ 3210560 w 3505200"/>
              <a:gd name="connsiteY187" fmla="*/ 650240 h 8260080"/>
              <a:gd name="connsiteX188" fmla="*/ 3302000 w 3505200"/>
              <a:gd name="connsiteY188" fmla="*/ 568960 h 8260080"/>
              <a:gd name="connsiteX189" fmla="*/ 3190240 w 3505200"/>
              <a:gd name="connsiteY189" fmla="*/ 487680 h 8260080"/>
              <a:gd name="connsiteX190" fmla="*/ 3108960 w 3505200"/>
              <a:gd name="connsiteY190" fmla="*/ 528320 h 8260080"/>
              <a:gd name="connsiteX191" fmla="*/ 3108960 w 3505200"/>
              <a:gd name="connsiteY191" fmla="*/ 406400 h 8260080"/>
              <a:gd name="connsiteX192" fmla="*/ 2926080 w 3505200"/>
              <a:gd name="connsiteY192" fmla="*/ 314960 h 8260080"/>
              <a:gd name="connsiteX193" fmla="*/ 2834640 w 3505200"/>
              <a:gd name="connsiteY193" fmla="*/ 355600 h 8260080"/>
              <a:gd name="connsiteX194" fmla="*/ 2682240 w 3505200"/>
              <a:gd name="connsiteY194" fmla="*/ 111760 h 8260080"/>
              <a:gd name="connsiteX195" fmla="*/ 2590800 w 3505200"/>
              <a:gd name="connsiteY195" fmla="*/ 121920 h 8260080"/>
              <a:gd name="connsiteX196" fmla="*/ 2611120 w 3505200"/>
              <a:gd name="connsiteY196" fmla="*/ 0 h 8260080"/>
              <a:gd name="connsiteX197" fmla="*/ 2438400 w 3505200"/>
              <a:gd name="connsiteY197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80829 w 3505200"/>
              <a:gd name="connsiteY78" fmla="*/ 7148354 h 8260080"/>
              <a:gd name="connsiteX79" fmla="*/ 242962 w 3505200"/>
              <a:gd name="connsiteY79" fmla="*/ 7226746 h 8260080"/>
              <a:gd name="connsiteX80" fmla="*/ 282892 w 3505200"/>
              <a:gd name="connsiteY80" fmla="*/ 7300436 h 8260080"/>
              <a:gd name="connsiteX81" fmla="*/ 334645 w 3505200"/>
              <a:gd name="connsiteY81" fmla="*/ 7194709 h 8260080"/>
              <a:gd name="connsiteX82" fmla="*/ 354881 w 3505200"/>
              <a:gd name="connsiteY82" fmla="*/ 7257702 h 8260080"/>
              <a:gd name="connsiteX83" fmla="*/ 337026 w 3505200"/>
              <a:gd name="connsiteY83" fmla="*/ 7316154 h 8260080"/>
              <a:gd name="connsiteX84" fmla="*/ 370364 w 3505200"/>
              <a:gd name="connsiteY84" fmla="*/ 7360602 h 8260080"/>
              <a:gd name="connsiteX85" fmla="*/ 447040 w 3505200"/>
              <a:gd name="connsiteY85" fmla="*/ 7366000 h 8260080"/>
              <a:gd name="connsiteX86" fmla="*/ 447040 w 3505200"/>
              <a:gd name="connsiteY86" fmla="*/ 7477760 h 8260080"/>
              <a:gd name="connsiteX87" fmla="*/ 558800 w 3505200"/>
              <a:gd name="connsiteY87" fmla="*/ 7528560 h 8260080"/>
              <a:gd name="connsiteX88" fmla="*/ 508000 w 3505200"/>
              <a:gd name="connsiteY88" fmla="*/ 7630160 h 8260080"/>
              <a:gd name="connsiteX89" fmla="*/ 436880 w 3505200"/>
              <a:gd name="connsiteY89" fmla="*/ 7609840 h 8260080"/>
              <a:gd name="connsiteX90" fmla="*/ 447040 w 3505200"/>
              <a:gd name="connsiteY90" fmla="*/ 7691120 h 8260080"/>
              <a:gd name="connsiteX91" fmla="*/ 518160 w 3505200"/>
              <a:gd name="connsiteY91" fmla="*/ 7741920 h 8260080"/>
              <a:gd name="connsiteX92" fmla="*/ 457200 w 3505200"/>
              <a:gd name="connsiteY92" fmla="*/ 7792720 h 8260080"/>
              <a:gd name="connsiteX93" fmla="*/ 396240 w 3505200"/>
              <a:gd name="connsiteY93" fmla="*/ 7701280 h 8260080"/>
              <a:gd name="connsiteX94" fmla="*/ 396240 w 3505200"/>
              <a:gd name="connsiteY94" fmla="*/ 7701280 h 8260080"/>
              <a:gd name="connsiteX95" fmla="*/ 436880 w 3505200"/>
              <a:gd name="connsiteY95" fmla="*/ 7874000 h 8260080"/>
              <a:gd name="connsiteX96" fmla="*/ 436880 w 3505200"/>
              <a:gd name="connsiteY96" fmla="*/ 7924800 h 8260080"/>
              <a:gd name="connsiteX97" fmla="*/ 548640 w 3505200"/>
              <a:gd name="connsiteY97" fmla="*/ 7965440 h 8260080"/>
              <a:gd name="connsiteX98" fmla="*/ 508000 w 3505200"/>
              <a:gd name="connsiteY98" fmla="*/ 8016240 h 8260080"/>
              <a:gd name="connsiteX99" fmla="*/ 589280 w 3505200"/>
              <a:gd name="connsiteY99" fmla="*/ 8056880 h 8260080"/>
              <a:gd name="connsiteX100" fmla="*/ 497840 w 3505200"/>
              <a:gd name="connsiteY100" fmla="*/ 8117840 h 8260080"/>
              <a:gd name="connsiteX101" fmla="*/ 518160 w 3505200"/>
              <a:gd name="connsiteY101" fmla="*/ 8209280 h 8260080"/>
              <a:gd name="connsiteX102" fmla="*/ 640080 w 3505200"/>
              <a:gd name="connsiteY102" fmla="*/ 8260080 h 8260080"/>
              <a:gd name="connsiteX103" fmla="*/ 731520 w 3505200"/>
              <a:gd name="connsiteY103" fmla="*/ 8219440 h 8260080"/>
              <a:gd name="connsiteX104" fmla="*/ 853440 w 3505200"/>
              <a:gd name="connsiteY104" fmla="*/ 8209280 h 8260080"/>
              <a:gd name="connsiteX105" fmla="*/ 955040 w 3505200"/>
              <a:gd name="connsiteY105" fmla="*/ 8260080 h 8260080"/>
              <a:gd name="connsiteX106" fmla="*/ 965200 w 3505200"/>
              <a:gd name="connsiteY106" fmla="*/ 8107680 h 8260080"/>
              <a:gd name="connsiteX107" fmla="*/ 894080 w 3505200"/>
              <a:gd name="connsiteY107" fmla="*/ 8026400 h 8260080"/>
              <a:gd name="connsiteX108" fmla="*/ 1016000 w 3505200"/>
              <a:gd name="connsiteY108" fmla="*/ 7863840 h 8260080"/>
              <a:gd name="connsiteX109" fmla="*/ 1107440 w 3505200"/>
              <a:gd name="connsiteY109" fmla="*/ 7894320 h 8260080"/>
              <a:gd name="connsiteX110" fmla="*/ 1127760 w 3505200"/>
              <a:gd name="connsiteY110" fmla="*/ 7853680 h 8260080"/>
              <a:gd name="connsiteX111" fmla="*/ 1066800 w 3505200"/>
              <a:gd name="connsiteY111" fmla="*/ 7813040 h 8260080"/>
              <a:gd name="connsiteX112" fmla="*/ 1137920 w 3505200"/>
              <a:gd name="connsiteY112" fmla="*/ 7762240 h 8260080"/>
              <a:gd name="connsiteX113" fmla="*/ 1330960 w 3505200"/>
              <a:gd name="connsiteY113" fmla="*/ 7802880 h 8260080"/>
              <a:gd name="connsiteX114" fmla="*/ 1361440 w 3505200"/>
              <a:gd name="connsiteY114" fmla="*/ 7772400 h 8260080"/>
              <a:gd name="connsiteX115" fmla="*/ 1483360 w 3505200"/>
              <a:gd name="connsiteY115" fmla="*/ 7823200 h 8260080"/>
              <a:gd name="connsiteX116" fmla="*/ 1554480 w 3505200"/>
              <a:gd name="connsiteY116" fmla="*/ 7731760 h 8260080"/>
              <a:gd name="connsiteX117" fmla="*/ 1524000 w 3505200"/>
              <a:gd name="connsiteY117" fmla="*/ 7640320 h 8260080"/>
              <a:gd name="connsiteX118" fmla="*/ 1645920 w 3505200"/>
              <a:gd name="connsiteY118" fmla="*/ 7437120 h 8260080"/>
              <a:gd name="connsiteX119" fmla="*/ 1635760 w 3505200"/>
              <a:gd name="connsiteY119" fmla="*/ 7335520 h 8260080"/>
              <a:gd name="connsiteX120" fmla="*/ 1696720 w 3505200"/>
              <a:gd name="connsiteY120" fmla="*/ 7223760 h 8260080"/>
              <a:gd name="connsiteX121" fmla="*/ 1625600 w 3505200"/>
              <a:gd name="connsiteY121" fmla="*/ 7172960 h 8260080"/>
              <a:gd name="connsiteX122" fmla="*/ 1747520 w 3505200"/>
              <a:gd name="connsiteY122" fmla="*/ 6990080 h 8260080"/>
              <a:gd name="connsiteX123" fmla="*/ 1666240 w 3505200"/>
              <a:gd name="connsiteY123" fmla="*/ 6939280 h 8260080"/>
              <a:gd name="connsiteX124" fmla="*/ 1737360 w 3505200"/>
              <a:gd name="connsiteY124" fmla="*/ 6888480 h 8260080"/>
              <a:gd name="connsiteX125" fmla="*/ 1645920 w 3505200"/>
              <a:gd name="connsiteY125" fmla="*/ 6776720 h 8260080"/>
              <a:gd name="connsiteX126" fmla="*/ 1808480 w 3505200"/>
              <a:gd name="connsiteY126" fmla="*/ 6715760 h 8260080"/>
              <a:gd name="connsiteX127" fmla="*/ 1727200 w 3505200"/>
              <a:gd name="connsiteY127" fmla="*/ 6614160 h 8260080"/>
              <a:gd name="connsiteX128" fmla="*/ 1686560 w 3505200"/>
              <a:gd name="connsiteY128" fmla="*/ 6421120 h 8260080"/>
              <a:gd name="connsiteX129" fmla="*/ 1889760 w 3505200"/>
              <a:gd name="connsiteY129" fmla="*/ 6299200 h 8260080"/>
              <a:gd name="connsiteX130" fmla="*/ 1940560 w 3505200"/>
              <a:gd name="connsiteY130" fmla="*/ 6228080 h 8260080"/>
              <a:gd name="connsiteX131" fmla="*/ 2032000 w 3505200"/>
              <a:gd name="connsiteY131" fmla="*/ 6136640 h 8260080"/>
              <a:gd name="connsiteX132" fmla="*/ 2011680 w 3505200"/>
              <a:gd name="connsiteY132" fmla="*/ 6014720 h 8260080"/>
              <a:gd name="connsiteX133" fmla="*/ 2123440 w 3505200"/>
              <a:gd name="connsiteY133" fmla="*/ 6065520 h 8260080"/>
              <a:gd name="connsiteX134" fmla="*/ 2092960 w 3505200"/>
              <a:gd name="connsiteY134" fmla="*/ 6167120 h 8260080"/>
              <a:gd name="connsiteX135" fmla="*/ 2286000 w 3505200"/>
              <a:gd name="connsiteY135" fmla="*/ 5933440 h 8260080"/>
              <a:gd name="connsiteX136" fmla="*/ 2255520 w 3505200"/>
              <a:gd name="connsiteY136" fmla="*/ 5801360 h 8260080"/>
              <a:gd name="connsiteX137" fmla="*/ 2448560 w 3505200"/>
              <a:gd name="connsiteY137" fmla="*/ 5598160 h 8260080"/>
              <a:gd name="connsiteX138" fmla="*/ 2357120 w 3505200"/>
              <a:gd name="connsiteY138" fmla="*/ 5435600 h 8260080"/>
              <a:gd name="connsiteX139" fmla="*/ 2225040 w 3505200"/>
              <a:gd name="connsiteY139" fmla="*/ 5415280 h 8260080"/>
              <a:gd name="connsiteX140" fmla="*/ 2103120 w 3505200"/>
              <a:gd name="connsiteY140" fmla="*/ 5222240 h 8260080"/>
              <a:gd name="connsiteX141" fmla="*/ 2092960 w 3505200"/>
              <a:gd name="connsiteY141" fmla="*/ 5110480 h 8260080"/>
              <a:gd name="connsiteX142" fmla="*/ 2052320 w 3505200"/>
              <a:gd name="connsiteY142" fmla="*/ 5151120 h 8260080"/>
              <a:gd name="connsiteX143" fmla="*/ 2042160 w 3505200"/>
              <a:gd name="connsiteY143" fmla="*/ 5242560 h 8260080"/>
              <a:gd name="connsiteX144" fmla="*/ 1981200 w 3505200"/>
              <a:gd name="connsiteY144" fmla="*/ 5191760 h 8260080"/>
              <a:gd name="connsiteX145" fmla="*/ 2011680 w 3505200"/>
              <a:gd name="connsiteY145" fmla="*/ 5120640 h 8260080"/>
              <a:gd name="connsiteX146" fmla="*/ 1930400 w 3505200"/>
              <a:gd name="connsiteY146" fmla="*/ 5100320 h 8260080"/>
              <a:gd name="connsiteX147" fmla="*/ 1859280 w 3505200"/>
              <a:gd name="connsiteY147" fmla="*/ 4917440 h 8260080"/>
              <a:gd name="connsiteX148" fmla="*/ 1828800 w 3505200"/>
              <a:gd name="connsiteY148" fmla="*/ 4622800 h 8260080"/>
              <a:gd name="connsiteX149" fmla="*/ 1910080 w 3505200"/>
              <a:gd name="connsiteY149" fmla="*/ 4419600 h 8260080"/>
              <a:gd name="connsiteX150" fmla="*/ 1920240 w 3505200"/>
              <a:gd name="connsiteY150" fmla="*/ 4277360 h 8260080"/>
              <a:gd name="connsiteX151" fmla="*/ 1971040 w 3505200"/>
              <a:gd name="connsiteY151" fmla="*/ 4124960 h 8260080"/>
              <a:gd name="connsiteX152" fmla="*/ 1879600 w 3505200"/>
              <a:gd name="connsiteY152" fmla="*/ 4023360 h 8260080"/>
              <a:gd name="connsiteX153" fmla="*/ 2072640 w 3505200"/>
              <a:gd name="connsiteY153" fmla="*/ 4003040 h 8260080"/>
              <a:gd name="connsiteX154" fmla="*/ 2092960 w 3505200"/>
              <a:gd name="connsiteY154" fmla="*/ 3850640 h 8260080"/>
              <a:gd name="connsiteX155" fmla="*/ 2001520 w 3505200"/>
              <a:gd name="connsiteY155" fmla="*/ 3728720 h 8260080"/>
              <a:gd name="connsiteX156" fmla="*/ 2164080 w 3505200"/>
              <a:gd name="connsiteY156" fmla="*/ 3769360 h 8260080"/>
              <a:gd name="connsiteX157" fmla="*/ 2265680 w 3505200"/>
              <a:gd name="connsiteY157" fmla="*/ 3566160 h 8260080"/>
              <a:gd name="connsiteX158" fmla="*/ 2336800 w 3505200"/>
              <a:gd name="connsiteY158" fmla="*/ 3515360 h 8260080"/>
              <a:gd name="connsiteX159" fmla="*/ 2367280 w 3505200"/>
              <a:gd name="connsiteY159" fmla="*/ 3362960 h 8260080"/>
              <a:gd name="connsiteX160" fmla="*/ 2489200 w 3505200"/>
              <a:gd name="connsiteY160" fmla="*/ 3423920 h 8260080"/>
              <a:gd name="connsiteX161" fmla="*/ 2560320 w 3505200"/>
              <a:gd name="connsiteY161" fmla="*/ 3302000 h 8260080"/>
              <a:gd name="connsiteX162" fmla="*/ 2743200 w 3505200"/>
              <a:gd name="connsiteY162" fmla="*/ 3149600 h 8260080"/>
              <a:gd name="connsiteX163" fmla="*/ 2844800 w 3505200"/>
              <a:gd name="connsiteY163" fmla="*/ 3088640 h 8260080"/>
              <a:gd name="connsiteX164" fmla="*/ 2804160 w 3505200"/>
              <a:gd name="connsiteY164" fmla="*/ 2966720 h 8260080"/>
              <a:gd name="connsiteX165" fmla="*/ 2976880 w 3505200"/>
              <a:gd name="connsiteY165" fmla="*/ 2763520 h 8260080"/>
              <a:gd name="connsiteX166" fmla="*/ 2794000 w 3505200"/>
              <a:gd name="connsiteY166" fmla="*/ 2621280 h 8260080"/>
              <a:gd name="connsiteX167" fmla="*/ 2946400 w 3505200"/>
              <a:gd name="connsiteY167" fmla="*/ 2377440 h 8260080"/>
              <a:gd name="connsiteX168" fmla="*/ 2854960 w 3505200"/>
              <a:gd name="connsiteY168" fmla="*/ 2255520 h 8260080"/>
              <a:gd name="connsiteX169" fmla="*/ 3027680 w 3505200"/>
              <a:gd name="connsiteY169" fmla="*/ 2113280 h 8260080"/>
              <a:gd name="connsiteX170" fmla="*/ 3119120 w 3505200"/>
              <a:gd name="connsiteY170" fmla="*/ 2021840 h 8260080"/>
              <a:gd name="connsiteX171" fmla="*/ 3027680 w 3505200"/>
              <a:gd name="connsiteY171" fmla="*/ 1960880 h 8260080"/>
              <a:gd name="connsiteX172" fmla="*/ 3139440 w 3505200"/>
              <a:gd name="connsiteY172" fmla="*/ 1869440 h 8260080"/>
              <a:gd name="connsiteX173" fmla="*/ 3281680 w 3505200"/>
              <a:gd name="connsiteY173" fmla="*/ 1950720 h 8260080"/>
              <a:gd name="connsiteX174" fmla="*/ 3403600 w 3505200"/>
              <a:gd name="connsiteY174" fmla="*/ 1889760 h 8260080"/>
              <a:gd name="connsiteX175" fmla="*/ 3505200 w 3505200"/>
              <a:gd name="connsiteY175" fmla="*/ 1910080 h 8260080"/>
              <a:gd name="connsiteX176" fmla="*/ 3444240 w 3505200"/>
              <a:gd name="connsiteY176" fmla="*/ 1656080 h 8260080"/>
              <a:gd name="connsiteX177" fmla="*/ 3373120 w 3505200"/>
              <a:gd name="connsiteY177" fmla="*/ 1635760 h 8260080"/>
              <a:gd name="connsiteX178" fmla="*/ 3352800 w 3505200"/>
              <a:gd name="connsiteY178" fmla="*/ 1503680 h 8260080"/>
              <a:gd name="connsiteX179" fmla="*/ 3444240 w 3505200"/>
              <a:gd name="connsiteY179" fmla="*/ 1412240 h 8260080"/>
              <a:gd name="connsiteX180" fmla="*/ 3393440 w 3505200"/>
              <a:gd name="connsiteY180" fmla="*/ 1280160 h 8260080"/>
              <a:gd name="connsiteX181" fmla="*/ 3434080 w 3505200"/>
              <a:gd name="connsiteY181" fmla="*/ 1249680 h 8260080"/>
              <a:gd name="connsiteX182" fmla="*/ 3281680 w 3505200"/>
              <a:gd name="connsiteY182" fmla="*/ 1066800 h 8260080"/>
              <a:gd name="connsiteX183" fmla="*/ 3383280 w 3505200"/>
              <a:gd name="connsiteY183" fmla="*/ 975360 h 8260080"/>
              <a:gd name="connsiteX184" fmla="*/ 3302000 w 3505200"/>
              <a:gd name="connsiteY184" fmla="*/ 924560 h 8260080"/>
              <a:gd name="connsiteX185" fmla="*/ 3190240 w 3505200"/>
              <a:gd name="connsiteY185" fmla="*/ 944880 h 8260080"/>
              <a:gd name="connsiteX186" fmla="*/ 3281680 w 3505200"/>
              <a:gd name="connsiteY186" fmla="*/ 792480 h 8260080"/>
              <a:gd name="connsiteX187" fmla="*/ 3210560 w 3505200"/>
              <a:gd name="connsiteY187" fmla="*/ 650240 h 8260080"/>
              <a:gd name="connsiteX188" fmla="*/ 3302000 w 3505200"/>
              <a:gd name="connsiteY188" fmla="*/ 568960 h 8260080"/>
              <a:gd name="connsiteX189" fmla="*/ 3190240 w 3505200"/>
              <a:gd name="connsiteY189" fmla="*/ 487680 h 8260080"/>
              <a:gd name="connsiteX190" fmla="*/ 3108960 w 3505200"/>
              <a:gd name="connsiteY190" fmla="*/ 528320 h 8260080"/>
              <a:gd name="connsiteX191" fmla="*/ 3108960 w 3505200"/>
              <a:gd name="connsiteY191" fmla="*/ 406400 h 8260080"/>
              <a:gd name="connsiteX192" fmla="*/ 2926080 w 3505200"/>
              <a:gd name="connsiteY192" fmla="*/ 314960 h 8260080"/>
              <a:gd name="connsiteX193" fmla="*/ 2834640 w 3505200"/>
              <a:gd name="connsiteY193" fmla="*/ 355600 h 8260080"/>
              <a:gd name="connsiteX194" fmla="*/ 2682240 w 3505200"/>
              <a:gd name="connsiteY194" fmla="*/ 111760 h 8260080"/>
              <a:gd name="connsiteX195" fmla="*/ 2590800 w 3505200"/>
              <a:gd name="connsiteY195" fmla="*/ 121920 h 8260080"/>
              <a:gd name="connsiteX196" fmla="*/ 2611120 w 3505200"/>
              <a:gd name="connsiteY196" fmla="*/ 0 h 8260080"/>
              <a:gd name="connsiteX197" fmla="*/ 2438400 w 3505200"/>
              <a:gd name="connsiteY197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80829 w 3505200"/>
              <a:gd name="connsiteY79" fmla="*/ 7148354 h 8260080"/>
              <a:gd name="connsiteX80" fmla="*/ 242962 w 3505200"/>
              <a:gd name="connsiteY80" fmla="*/ 7226746 h 8260080"/>
              <a:gd name="connsiteX81" fmla="*/ 282892 w 3505200"/>
              <a:gd name="connsiteY81" fmla="*/ 7300436 h 8260080"/>
              <a:gd name="connsiteX82" fmla="*/ 334645 w 3505200"/>
              <a:gd name="connsiteY82" fmla="*/ 7194709 h 8260080"/>
              <a:gd name="connsiteX83" fmla="*/ 354881 w 3505200"/>
              <a:gd name="connsiteY83" fmla="*/ 7257702 h 8260080"/>
              <a:gd name="connsiteX84" fmla="*/ 337026 w 3505200"/>
              <a:gd name="connsiteY84" fmla="*/ 7316154 h 8260080"/>
              <a:gd name="connsiteX85" fmla="*/ 370364 w 3505200"/>
              <a:gd name="connsiteY85" fmla="*/ 7360602 h 8260080"/>
              <a:gd name="connsiteX86" fmla="*/ 447040 w 3505200"/>
              <a:gd name="connsiteY86" fmla="*/ 7366000 h 8260080"/>
              <a:gd name="connsiteX87" fmla="*/ 447040 w 3505200"/>
              <a:gd name="connsiteY87" fmla="*/ 7477760 h 8260080"/>
              <a:gd name="connsiteX88" fmla="*/ 558800 w 3505200"/>
              <a:gd name="connsiteY88" fmla="*/ 7528560 h 8260080"/>
              <a:gd name="connsiteX89" fmla="*/ 508000 w 3505200"/>
              <a:gd name="connsiteY89" fmla="*/ 7630160 h 8260080"/>
              <a:gd name="connsiteX90" fmla="*/ 436880 w 3505200"/>
              <a:gd name="connsiteY90" fmla="*/ 7609840 h 8260080"/>
              <a:gd name="connsiteX91" fmla="*/ 447040 w 3505200"/>
              <a:gd name="connsiteY91" fmla="*/ 7691120 h 8260080"/>
              <a:gd name="connsiteX92" fmla="*/ 518160 w 3505200"/>
              <a:gd name="connsiteY92" fmla="*/ 7741920 h 8260080"/>
              <a:gd name="connsiteX93" fmla="*/ 457200 w 3505200"/>
              <a:gd name="connsiteY93" fmla="*/ 7792720 h 8260080"/>
              <a:gd name="connsiteX94" fmla="*/ 396240 w 3505200"/>
              <a:gd name="connsiteY94" fmla="*/ 7701280 h 8260080"/>
              <a:gd name="connsiteX95" fmla="*/ 396240 w 3505200"/>
              <a:gd name="connsiteY95" fmla="*/ 7701280 h 8260080"/>
              <a:gd name="connsiteX96" fmla="*/ 436880 w 3505200"/>
              <a:gd name="connsiteY96" fmla="*/ 7874000 h 8260080"/>
              <a:gd name="connsiteX97" fmla="*/ 436880 w 3505200"/>
              <a:gd name="connsiteY97" fmla="*/ 7924800 h 8260080"/>
              <a:gd name="connsiteX98" fmla="*/ 548640 w 3505200"/>
              <a:gd name="connsiteY98" fmla="*/ 7965440 h 8260080"/>
              <a:gd name="connsiteX99" fmla="*/ 508000 w 3505200"/>
              <a:gd name="connsiteY99" fmla="*/ 8016240 h 8260080"/>
              <a:gd name="connsiteX100" fmla="*/ 589280 w 3505200"/>
              <a:gd name="connsiteY100" fmla="*/ 8056880 h 8260080"/>
              <a:gd name="connsiteX101" fmla="*/ 497840 w 3505200"/>
              <a:gd name="connsiteY101" fmla="*/ 8117840 h 8260080"/>
              <a:gd name="connsiteX102" fmla="*/ 518160 w 3505200"/>
              <a:gd name="connsiteY102" fmla="*/ 8209280 h 8260080"/>
              <a:gd name="connsiteX103" fmla="*/ 640080 w 3505200"/>
              <a:gd name="connsiteY103" fmla="*/ 8260080 h 8260080"/>
              <a:gd name="connsiteX104" fmla="*/ 731520 w 3505200"/>
              <a:gd name="connsiteY104" fmla="*/ 8219440 h 8260080"/>
              <a:gd name="connsiteX105" fmla="*/ 853440 w 3505200"/>
              <a:gd name="connsiteY105" fmla="*/ 8209280 h 8260080"/>
              <a:gd name="connsiteX106" fmla="*/ 955040 w 3505200"/>
              <a:gd name="connsiteY106" fmla="*/ 8260080 h 8260080"/>
              <a:gd name="connsiteX107" fmla="*/ 965200 w 3505200"/>
              <a:gd name="connsiteY107" fmla="*/ 8107680 h 8260080"/>
              <a:gd name="connsiteX108" fmla="*/ 894080 w 3505200"/>
              <a:gd name="connsiteY108" fmla="*/ 8026400 h 8260080"/>
              <a:gd name="connsiteX109" fmla="*/ 1016000 w 3505200"/>
              <a:gd name="connsiteY109" fmla="*/ 7863840 h 8260080"/>
              <a:gd name="connsiteX110" fmla="*/ 1107440 w 3505200"/>
              <a:gd name="connsiteY110" fmla="*/ 7894320 h 8260080"/>
              <a:gd name="connsiteX111" fmla="*/ 1127760 w 3505200"/>
              <a:gd name="connsiteY111" fmla="*/ 7853680 h 8260080"/>
              <a:gd name="connsiteX112" fmla="*/ 1066800 w 3505200"/>
              <a:gd name="connsiteY112" fmla="*/ 7813040 h 8260080"/>
              <a:gd name="connsiteX113" fmla="*/ 1137920 w 3505200"/>
              <a:gd name="connsiteY113" fmla="*/ 7762240 h 8260080"/>
              <a:gd name="connsiteX114" fmla="*/ 1330960 w 3505200"/>
              <a:gd name="connsiteY114" fmla="*/ 7802880 h 8260080"/>
              <a:gd name="connsiteX115" fmla="*/ 1361440 w 3505200"/>
              <a:gd name="connsiteY115" fmla="*/ 7772400 h 8260080"/>
              <a:gd name="connsiteX116" fmla="*/ 1483360 w 3505200"/>
              <a:gd name="connsiteY116" fmla="*/ 7823200 h 8260080"/>
              <a:gd name="connsiteX117" fmla="*/ 1554480 w 3505200"/>
              <a:gd name="connsiteY117" fmla="*/ 7731760 h 8260080"/>
              <a:gd name="connsiteX118" fmla="*/ 1524000 w 3505200"/>
              <a:gd name="connsiteY118" fmla="*/ 7640320 h 8260080"/>
              <a:gd name="connsiteX119" fmla="*/ 1645920 w 3505200"/>
              <a:gd name="connsiteY119" fmla="*/ 7437120 h 8260080"/>
              <a:gd name="connsiteX120" fmla="*/ 1635760 w 3505200"/>
              <a:gd name="connsiteY120" fmla="*/ 7335520 h 8260080"/>
              <a:gd name="connsiteX121" fmla="*/ 1696720 w 3505200"/>
              <a:gd name="connsiteY121" fmla="*/ 7223760 h 8260080"/>
              <a:gd name="connsiteX122" fmla="*/ 1625600 w 3505200"/>
              <a:gd name="connsiteY122" fmla="*/ 7172960 h 8260080"/>
              <a:gd name="connsiteX123" fmla="*/ 1747520 w 3505200"/>
              <a:gd name="connsiteY123" fmla="*/ 6990080 h 8260080"/>
              <a:gd name="connsiteX124" fmla="*/ 1666240 w 3505200"/>
              <a:gd name="connsiteY124" fmla="*/ 6939280 h 8260080"/>
              <a:gd name="connsiteX125" fmla="*/ 1737360 w 3505200"/>
              <a:gd name="connsiteY125" fmla="*/ 6888480 h 8260080"/>
              <a:gd name="connsiteX126" fmla="*/ 1645920 w 3505200"/>
              <a:gd name="connsiteY126" fmla="*/ 6776720 h 8260080"/>
              <a:gd name="connsiteX127" fmla="*/ 1808480 w 3505200"/>
              <a:gd name="connsiteY127" fmla="*/ 6715760 h 8260080"/>
              <a:gd name="connsiteX128" fmla="*/ 1727200 w 3505200"/>
              <a:gd name="connsiteY128" fmla="*/ 6614160 h 8260080"/>
              <a:gd name="connsiteX129" fmla="*/ 1686560 w 3505200"/>
              <a:gd name="connsiteY129" fmla="*/ 6421120 h 8260080"/>
              <a:gd name="connsiteX130" fmla="*/ 1889760 w 3505200"/>
              <a:gd name="connsiteY130" fmla="*/ 6299200 h 8260080"/>
              <a:gd name="connsiteX131" fmla="*/ 1940560 w 3505200"/>
              <a:gd name="connsiteY131" fmla="*/ 6228080 h 8260080"/>
              <a:gd name="connsiteX132" fmla="*/ 2032000 w 3505200"/>
              <a:gd name="connsiteY132" fmla="*/ 6136640 h 8260080"/>
              <a:gd name="connsiteX133" fmla="*/ 2011680 w 3505200"/>
              <a:gd name="connsiteY133" fmla="*/ 6014720 h 8260080"/>
              <a:gd name="connsiteX134" fmla="*/ 2123440 w 3505200"/>
              <a:gd name="connsiteY134" fmla="*/ 6065520 h 8260080"/>
              <a:gd name="connsiteX135" fmla="*/ 2092960 w 3505200"/>
              <a:gd name="connsiteY135" fmla="*/ 6167120 h 8260080"/>
              <a:gd name="connsiteX136" fmla="*/ 2286000 w 3505200"/>
              <a:gd name="connsiteY136" fmla="*/ 5933440 h 8260080"/>
              <a:gd name="connsiteX137" fmla="*/ 2255520 w 3505200"/>
              <a:gd name="connsiteY137" fmla="*/ 5801360 h 8260080"/>
              <a:gd name="connsiteX138" fmla="*/ 2448560 w 3505200"/>
              <a:gd name="connsiteY138" fmla="*/ 5598160 h 8260080"/>
              <a:gd name="connsiteX139" fmla="*/ 2357120 w 3505200"/>
              <a:gd name="connsiteY139" fmla="*/ 5435600 h 8260080"/>
              <a:gd name="connsiteX140" fmla="*/ 2225040 w 3505200"/>
              <a:gd name="connsiteY140" fmla="*/ 5415280 h 8260080"/>
              <a:gd name="connsiteX141" fmla="*/ 2103120 w 3505200"/>
              <a:gd name="connsiteY141" fmla="*/ 5222240 h 8260080"/>
              <a:gd name="connsiteX142" fmla="*/ 2092960 w 3505200"/>
              <a:gd name="connsiteY142" fmla="*/ 5110480 h 8260080"/>
              <a:gd name="connsiteX143" fmla="*/ 2052320 w 3505200"/>
              <a:gd name="connsiteY143" fmla="*/ 5151120 h 8260080"/>
              <a:gd name="connsiteX144" fmla="*/ 2042160 w 3505200"/>
              <a:gd name="connsiteY144" fmla="*/ 5242560 h 8260080"/>
              <a:gd name="connsiteX145" fmla="*/ 1981200 w 3505200"/>
              <a:gd name="connsiteY145" fmla="*/ 5191760 h 8260080"/>
              <a:gd name="connsiteX146" fmla="*/ 2011680 w 3505200"/>
              <a:gd name="connsiteY146" fmla="*/ 5120640 h 8260080"/>
              <a:gd name="connsiteX147" fmla="*/ 1930400 w 3505200"/>
              <a:gd name="connsiteY147" fmla="*/ 5100320 h 8260080"/>
              <a:gd name="connsiteX148" fmla="*/ 1859280 w 3505200"/>
              <a:gd name="connsiteY148" fmla="*/ 4917440 h 8260080"/>
              <a:gd name="connsiteX149" fmla="*/ 1828800 w 3505200"/>
              <a:gd name="connsiteY149" fmla="*/ 4622800 h 8260080"/>
              <a:gd name="connsiteX150" fmla="*/ 1910080 w 3505200"/>
              <a:gd name="connsiteY150" fmla="*/ 4419600 h 8260080"/>
              <a:gd name="connsiteX151" fmla="*/ 1920240 w 3505200"/>
              <a:gd name="connsiteY151" fmla="*/ 4277360 h 8260080"/>
              <a:gd name="connsiteX152" fmla="*/ 1971040 w 3505200"/>
              <a:gd name="connsiteY152" fmla="*/ 4124960 h 8260080"/>
              <a:gd name="connsiteX153" fmla="*/ 1879600 w 3505200"/>
              <a:gd name="connsiteY153" fmla="*/ 4023360 h 8260080"/>
              <a:gd name="connsiteX154" fmla="*/ 2072640 w 3505200"/>
              <a:gd name="connsiteY154" fmla="*/ 4003040 h 8260080"/>
              <a:gd name="connsiteX155" fmla="*/ 2092960 w 3505200"/>
              <a:gd name="connsiteY155" fmla="*/ 3850640 h 8260080"/>
              <a:gd name="connsiteX156" fmla="*/ 2001520 w 3505200"/>
              <a:gd name="connsiteY156" fmla="*/ 3728720 h 8260080"/>
              <a:gd name="connsiteX157" fmla="*/ 2164080 w 3505200"/>
              <a:gd name="connsiteY157" fmla="*/ 3769360 h 8260080"/>
              <a:gd name="connsiteX158" fmla="*/ 2265680 w 3505200"/>
              <a:gd name="connsiteY158" fmla="*/ 3566160 h 8260080"/>
              <a:gd name="connsiteX159" fmla="*/ 2336800 w 3505200"/>
              <a:gd name="connsiteY159" fmla="*/ 3515360 h 8260080"/>
              <a:gd name="connsiteX160" fmla="*/ 2367280 w 3505200"/>
              <a:gd name="connsiteY160" fmla="*/ 3362960 h 8260080"/>
              <a:gd name="connsiteX161" fmla="*/ 2489200 w 3505200"/>
              <a:gd name="connsiteY161" fmla="*/ 3423920 h 8260080"/>
              <a:gd name="connsiteX162" fmla="*/ 2560320 w 3505200"/>
              <a:gd name="connsiteY162" fmla="*/ 3302000 h 8260080"/>
              <a:gd name="connsiteX163" fmla="*/ 2743200 w 3505200"/>
              <a:gd name="connsiteY163" fmla="*/ 3149600 h 8260080"/>
              <a:gd name="connsiteX164" fmla="*/ 2844800 w 3505200"/>
              <a:gd name="connsiteY164" fmla="*/ 3088640 h 8260080"/>
              <a:gd name="connsiteX165" fmla="*/ 2804160 w 3505200"/>
              <a:gd name="connsiteY165" fmla="*/ 2966720 h 8260080"/>
              <a:gd name="connsiteX166" fmla="*/ 2976880 w 3505200"/>
              <a:gd name="connsiteY166" fmla="*/ 2763520 h 8260080"/>
              <a:gd name="connsiteX167" fmla="*/ 2794000 w 3505200"/>
              <a:gd name="connsiteY167" fmla="*/ 2621280 h 8260080"/>
              <a:gd name="connsiteX168" fmla="*/ 2946400 w 3505200"/>
              <a:gd name="connsiteY168" fmla="*/ 2377440 h 8260080"/>
              <a:gd name="connsiteX169" fmla="*/ 2854960 w 3505200"/>
              <a:gd name="connsiteY169" fmla="*/ 2255520 h 8260080"/>
              <a:gd name="connsiteX170" fmla="*/ 3027680 w 3505200"/>
              <a:gd name="connsiteY170" fmla="*/ 2113280 h 8260080"/>
              <a:gd name="connsiteX171" fmla="*/ 3119120 w 3505200"/>
              <a:gd name="connsiteY171" fmla="*/ 2021840 h 8260080"/>
              <a:gd name="connsiteX172" fmla="*/ 3027680 w 3505200"/>
              <a:gd name="connsiteY172" fmla="*/ 1960880 h 8260080"/>
              <a:gd name="connsiteX173" fmla="*/ 3139440 w 3505200"/>
              <a:gd name="connsiteY173" fmla="*/ 1869440 h 8260080"/>
              <a:gd name="connsiteX174" fmla="*/ 3281680 w 3505200"/>
              <a:gd name="connsiteY174" fmla="*/ 1950720 h 8260080"/>
              <a:gd name="connsiteX175" fmla="*/ 3403600 w 3505200"/>
              <a:gd name="connsiteY175" fmla="*/ 1889760 h 8260080"/>
              <a:gd name="connsiteX176" fmla="*/ 3505200 w 3505200"/>
              <a:gd name="connsiteY176" fmla="*/ 1910080 h 8260080"/>
              <a:gd name="connsiteX177" fmla="*/ 3444240 w 3505200"/>
              <a:gd name="connsiteY177" fmla="*/ 1656080 h 8260080"/>
              <a:gd name="connsiteX178" fmla="*/ 3373120 w 3505200"/>
              <a:gd name="connsiteY178" fmla="*/ 1635760 h 8260080"/>
              <a:gd name="connsiteX179" fmla="*/ 3352800 w 3505200"/>
              <a:gd name="connsiteY179" fmla="*/ 1503680 h 8260080"/>
              <a:gd name="connsiteX180" fmla="*/ 3444240 w 3505200"/>
              <a:gd name="connsiteY180" fmla="*/ 1412240 h 8260080"/>
              <a:gd name="connsiteX181" fmla="*/ 3393440 w 3505200"/>
              <a:gd name="connsiteY181" fmla="*/ 1280160 h 8260080"/>
              <a:gd name="connsiteX182" fmla="*/ 3434080 w 3505200"/>
              <a:gd name="connsiteY182" fmla="*/ 1249680 h 8260080"/>
              <a:gd name="connsiteX183" fmla="*/ 3281680 w 3505200"/>
              <a:gd name="connsiteY183" fmla="*/ 1066800 h 8260080"/>
              <a:gd name="connsiteX184" fmla="*/ 3383280 w 3505200"/>
              <a:gd name="connsiteY184" fmla="*/ 975360 h 8260080"/>
              <a:gd name="connsiteX185" fmla="*/ 3302000 w 3505200"/>
              <a:gd name="connsiteY185" fmla="*/ 924560 h 8260080"/>
              <a:gd name="connsiteX186" fmla="*/ 3190240 w 3505200"/>
              <a:gd name="connsiteY186" fmla="*/ 944880 h 8260080"/>
              <a:gd name="connsiteX187" fmla="*/ 3281680 w 3505200"/>
              <a:gd name="connsiteY187" fmla="*/ 792480 h 8260080"/>
              <a:gd name="connsiteX188" fmla="*/ 3210560 w 3505200"/>
              <a:gd name="connsiteY188" fmla="*/ 650240 h 8260080"/>
              <a:gd name="connsiteX189" fmla="*/ 3302000 w 3505200"/>
              <a:gd name="connsiteY189" fmla="*/ 568960 h 8260080"/>
              <a:gd name="connsiteX190" fmla="*/ 3190240 w 3505200"/>
              <a:gd name="connsiteY190" fmla="*/ 487680 h 8260080"/>
              <a:gd name="connsiteX191" fmla="*/ 3108960 w 3505200"/>
              <a:gd name="connsiteY191" fmla="*/ 528320 h 8260080"/>
              <a:gd name="connsiteX192" fmla="*/ 3108960 w 3505200"/>
              <a:gd name="connsiteY192" fmla="*/ 406400 h 8260080"/>
              <a:gd name="connsiteX193" fmla="*/ 2926080 w 3505200"/>
              <a:gd name="connsiteY193" fmla="*/ 314960 h 8260080"/>
              <a:gd name="connsiteX194" fmla="*/ 2834640 w 3505200"/>
              <a:gd name="connsiteY194" fmla="*/ 355600 h 8260080"/>
              <a:gd name="connsiteX195" fmla="*/ 2682240 w 3505200"/>
              <a:gd name="connsiteY195" fmla="*/ 111760 h 8260080"/>
              <a:gd name="connsiteX196" fmla="*/ 2590800 w 3505200"/>
              <a:gd name="connsiteY196" fmla="*/ 121920 h 8260080"/>
              <a:gd name="connsiteX197" fmla="*/ 2611120 w 3505200"/>
              <a:gd name="connsiteY197" fmla="*/ 0 h 8260080"/>
              <a:gd name="connsiteX198" fmla="*/ 2438400 w 3505200"/>
              <a:gd name="connsiteY198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80829 w 3505200"/>
              <a:gd name="connsiteY79" fmla="*/ 7148354 h 8260080"/>
              <a:gd name="connsiteX80" fmla="*/ 242962 w 3505200"/>
              <a:gd name="connsiteY80" fmla="*/ 7226746 h 8260080"/>
              <a:gd name="connsiteX81" fmla="*/ 282892 w 3505200"/>
              <a:gd name="connsiteY81" fmla="*/ 7300436 h 8260080"/>
              <a:gd name="connsiteX82" fmla="*/ 334645 w 3505200"/>
              <a:gd name="connsiteY82" fmla="*/ 7194709 h 8260080"/>
              <a:gd name="connsiteX83" fmla="*/ 354881 w 3505200"/>
              <a:gd name="connsiteY83" fmla="*/ 7257702 h 8260080"/>
              <a:gd name="connsiteX84" fmla="*/ 337026 w 3505200"/>
              <a:gd name="connsiteY84" fmla="*/ 7316154 h 8260080"/>
              <a:gd name="connsiteX85" fmla="*/ 370364 w 3505200"/>
              <a:gd name="connsiteY85" fmla="*/ 7360602 h 8260080"/>
              <a:gd name="connsiteX86" fmla="*/ 447040 w 3505200"/>
              <a:gd name="connsiteY86" fmla="*/ 7366000 h 8260080"/>
              <a:gd name="connsiteX87" fmla="*/ 447040 w 3505200"/>
              <a:gd name="connsiteY87" fmla="*/ 7477760 h 8260080"/>
              <a:gd name="connsiteX88" fmla="*/ 558800 w 3505200"/>
              <a:gd name="connsiteY88" fmla="*/ 7528560 h 8260080"/>
              <a:gd name="connsiteX89" fmla="*/ 508000 w 3505200"/>
              <a:gd name="connsiteY89" fmla="*/ 7630160 h 8260080"/>
              <a:gd name="connsiteX90" fmla="*/ 436880 w 3505200"/>
              <a:gd name="connsiteY90" fmla="*/ 7609840 h 8260080"/>
              <a:gd name="connsiteX91" fmla="*/ 447040 w 3505200"/>
              <a:gd name="connsiteY91" fmla="*/ 7691120 h 8260080"/>
              <a:gd name="connsiteX92" fmla="*/ 518160 w 3505200"/>
              <a:gd name="connsiteY92" fmla="*/ 7741920 h 8260080"/>
              <a:gd name="connsiteX93" fmla="*/ 457200 w 3505200"/>
              <a:gd name="connsiteY93" fmla="*/ 7792720 h 8260080"/>
              <a:gd name="connsiteX94" fmla="*/ 396240 w 3505200"/>
              <a:gd name="connsiteY94" fmla="*/ 7701280 h 8260080"/>
              <a:gd name="connsiteX95" fmla="*/ 396240 w 3505200"/>
              <a:gd name="connsiteY95" fmla="*/ 7701280 h 8260080"/>
              <a:gd name="connsiteX96" fmla="*/ 436880 w 3505200"/>
              <a:gd name="connsiteY96" fmla="*/ 7874000 h 8260080"/>
              <a:gd name="connsiteX97" fmla="*/ 436880 w 3505200"/>
              <a:gd name="connsiteY97" fmla="*/ 7924800 h 8260080"/>
              <a:gd name="connsiteX98" fmla="*/ 548640 w 3505200"/>
              <a:gd name="connsiteY98" fmla="*/ 7965440 h 8260080"/>
              <a:gd name="connsiteX99" fmla="*/ 508000 w 3505200"/>
              <a:gd name="connsiteY99" fmla="*/ 8016240 h 8260080"/>
              <a:gd name="connsiteX100" fmla="*/ 589280 w 3505200"/>
              <a:gd name="connsiteY100" fmla="*/ 8056880 h 8260080"/>
              <a:gd name="connsiteX101" fmla="*/ 497840 w 3505200"/>
              <a:gd name="connsiteY101" fmla="*/ 8117840 h 8260080"/>
              <a:gd name="connsiteX102" fmla="*/ 518160 w 3505200"/>
              <a:gd name="connsiteY102" fmla="*/ 8209280 h 8260080"/>
              <a:gd name="connsiteX103" fmla="*/ 640080 w 3505200"/>
              <a:gd name="connsiteY103" fmla="*/ 8260080 h 8260080"/>
              <a:gd name="connsiteX104" fmla="*/ 731520 w 3505200"/>
              <a:gd name="connsiteY104" fmla="*/ 8219440 h 8260080"/>
              <a:gd name="connsiteX105" fmla="*/ 853440 w 3505200"/>
              <a:gd name="connsiteY105" fmla="*/ 8209280 h 8260080"/>
              <a:gd name="connsiteX106" fmla="*/ 955040 w 3505200"/>
              <a:gd name="connsiteY106" fmla="*/ 8260080 h 8260080"/>
              <a:gd name="connsiteX107" fmla="*/ 965200 w 3505200"/>
              <a:gd name="connsiteY107" fmla="*/ 8107680 h 8260080"/>
              <a:gd name="connsiteX108" fmla="*/ 894080 w 3505200"/>
              <a:gd name="connsiteY108" fmla="*/ 8026400 h 8260080"/>
              <a:gd name="connsiteX109" fmla="*/ 1016000 w 3505200"/>
              <a:gd name="connsiteY109" fmla="*/ 7863840 h 8260080"/>
              <a:gd name="connsiteX110" fmla="*/ 1107440 w 3505200"/>
              <a:gd name="connsiteY110" fmla="*/ 7894320 h 8260080"/>
              <a:gd name="connsiteX111" fmla="*/ 1127760 w 3505200"/>
              <a:gd name="connsiteY111" fmla="*/ 7853680 h 8260080"/>
              <a:gd name="connsiteX112" fmla="*/ 1066800 w 3505200"/>
              <a:gd name="connsiteY112" fmla="*/ 7813040 h 8260080"/>
              <a:gd name="connsiteX113" fmla="*/ 1137920 w 3505200"/>
              <a:gd name="connsiteY113" fmla="*/ 7762240 h 8260080"/>
              <a:gd name="connsiteX114" fmla="*/ 1330960 w 3505200"/>
              <a:gd name="connsiteY114" fmla="*/ 7802880 h 8260080"/>
              <a:gd name="connsiteX115" fmla="*/ 1361440 w 3505200"/>
              <a:gd name="connsiteY115" fmla="*/ 7772400 h 8260080"/>
              <a:gd name="connsiteX116" fmla="*/ 1483360 w 3505200"/>
              <a:gd name="connsiteY116" fmla="*/ 7823200 h 8260080"/>
              <a:gd name="connsiteX117" fmla="*/ 1554480 w 3505200"/>
              <a:gd name="connsiteY117" fmla="*/ 7731760 h 8260080"/>
              <a:gd name="connsiteX118" fmla="*/ 1524000 w 3505200"/>
              <a:gd name="connsiteY118" fmla="*/ 7640320 h 8260080"/>
              <a:gd name="connsiteX119" fmla="*/ 1645920 w 3505200"/>
              <a:gd name="connsiteY119" fmla="*/ 7437120 h 8260080"/>
              <a:gd name="connsiteX120" fmla="*/ 1635760 w 3505200"/>
              <a:gd name="connsiteY120" fmla="*/ 7335520 h 8260080"/>
              <a:gd name="connsiteX121" fmla="*/ 1696720 w 3505200"/>
              <a:gd name="connsiteY121" fmla="*/ 7223760 h 8260080"/>
              <a:gd name="connsiteX122" fmla="*/ 1625600 w 3505200"/>
              <a:gd name="connsiteY122" fmla="*/ 7172960 h 8260080"/>
              <a:gd name="connsiteX123" fmla="*/ 1747520 w 3505200"/>
              <a:gd name="connsiteY123" fmla="*/ 6990080 h 8260080"/>
              <a:gd name="connsiteX124" fmla="*/ 1666240 w 3505200"/>
              <a:gd name="connsiteY124" fmla="*/ 6939280 h 8260080"/>
              <a:gd name="connsiteX125" fmla="*/ 1737360 w 3505200"/>
              <a:gd name="connsiteY125" fmla="*/ 6888480 h 8260080"/>
              <a:gd name="connsiteX126" fmla="*/ 1645920 w 3505200"/>
              <a:gd name="connsiteY126" fmla="*/ 6776720 h 8260080"/>
              <a:gd name="connsiteX127" fmla="*/ 1808480 w 3505200"/>
              <a:gd name="connsiteY127" fmla="*/ 6715760 h 8260080"/>
              <a:gd name="connsiteX128" fmla="*/ 1727200 w 3505200"/>
              <a:gd name="connsiteY128" fmla="*/ 6614160 h 8260080"/>
              <a:gd name="connsiteX129" fmla="*/ 1686560 w 3505200"/>
              <a:gd name="connsiteY129" fmla="*/ 6421120 h 8260080"/>
              <a:gd name="connsiteX130" fmla="*/ 1889760 w 3505200"/>
              <a:gd name="connsiteY130" fmla="*/ 6299200 h 8260080"/>
              <a:gd name="connsiteX131" fmla="*/ 1940560 w 3505200"/>
              <a:gd name="connsiteY131" fmla="*/ 6228080 h 8260080"/>
              <a:gd name="connsiteX132" fmla="*/ 2032000 w 3505200"/>
              <a:gd name="connsiteY132" fmla="*/ 6136640 h 8260080"/>
              <a:gd name="connsiteX133" fmla="*/ 2011680 w 3505200"/>
              <a:gd name="connsiteY133" fmla="*/ 6014720 h 8260080"/>
              <a:gd name="connsiteX134" fmla="*/ 2123440 w 3505200"/>
              <a:gd name="connsiteY134" fmla="*/ 6065520 h 8260080"/>
              <a:gd name="connsiteX135" fmla="*/ 2092960 w 3505200"/>
              <a:gd name="connsiteY135" fmla="*/ 6167120 h 8260080"/>
              <a:gd name="connsiteX136" fmla="*/ 2286000 w 3505200"/>
              <a:gd name="connsiteY136" fmla="*/ 5933440 h 8260080"/>
              <a:gd name="connsiteX137" fmla="*/ 2255520 w 3505200"/>
              <a:gd name="connsiteY137" fmla="*/ 5801360 h 8260080"/>
              <a:gd name="connsiteX138" fmla="*/ 2448560 w 3505200"/>
              <a:gd name="connsiteY138" fmla="*/ 5598160 h 8260080"/>
              <a:gd name="connsiteX139" fmla="*/ 2357120 w 3505200"/>
              <a:gd name="connsiteY139" fmla="*/ 5435600 h 8260080"/>
              <a:gd name="connsiteX140" fmla="*/ 2225040 w 3505200"/>
              <a:gd name="connsiteY140" fmla="*/ 5415280 h 8260080"/>
              <a:gd name="connsiteX141" fmla="*/ 2103120 w 3505200"/>
              <a:gd name="connsiteY141" fmla="*/ 5222240 h 8260080"/>
              <a:gd name="connsiteX142" fmla="*/ 2092960 w 3505200"/>
              <a:gd name="connsiteY142" fmla="*/ 5110480 h 8260080"/>
              <a:gd name="connsiteX143" fmla="*/ 2052320 w 3505200"/>
              <a:gd name="connsiteY143" fmla="*/ 5151120 h 8260080"/>
              <a:gd name="connsiteX144" fmla="*/ 2042160 w 3505200"/>
              <a:gd name="connsiteY144" fmla="*/ 5242560 h 8260080"/>
              <a:gd name="connsiteX145" fmla="*/ 1981200 w 3505200"/>
              <a:gd name="connsiteY145" fmla="*/ 5191760 h 8260080"/>
              <a:gd name="connsiteX146" fmla="*/ 2011680 w 3505200"/>
              <a:gd name="connsiteY146" fmla="*/ 5120640 h 8260080"/>
              <a:gd name="connsiteX147" fmla="*/ 1930400 w 3505200"/>
              <a:gd name="connsiteY147" fmla="*/ 5100320 h 8260080"/>
              <a:gd name="connsiteX148" fmla="*/ 1859280 w 3505200"/>
              <a:gd name="connsiteY148" fmla="*/ 4917440 h 8260080"/>
              <a:gd name="connsiteX149" fmla="*/ 1828800 w 3505200"/>
              <a:gd name="connsiteY149" fmla="*/ 4622800 h 8260080"/>
              <a:gd name="connsiteX150" fmla="*/ 1910080 w 3505200"/>
              <a:gd name="connsiteY150" fmla="*/ 4419600 h 8260080"/>
              <a:gd name="connsiteX151" fmla="*/ 1920240 w 3505200"/>
              <a:gd name="connsiteY151" fmla="*/ 4277360 h 8260080"/>
              <a:gd name="connsiteX152" fmla="*/ 1971040 w 3505200"/>
              <a:gd name="connsiteY152" fmla="*/ 4124960 h 8260080"/>
              <a:gd name="connsiteX153" fmla="*/ 1879600 w 3505200"/>
              <a:gd name="connsiteY153" fmla="*/ 4023360 h 8260080"/>
              <a:gd name="connsiteX154" fmla="*/ 2072640 w 3505200"/>
              <a:gd name="connsiteY154" fmla="*/ 4003040 h 8260080"/>
              <a:gd name="connsiteX155" fmla="*/ 2092960 w 3505200"/>
              <a:gd name="connsiteY155" fmla="*/ 3850640 h 8260080"/>
              <a:gd name="connsiteX156" fmla="*/ 2001520 w 3505200"/>
              <a:gd name="connsiteY156" fmla="*/ 3728720 h 8260080"/>
              <a:gd name="connsiteX157" fmla="*/ 2164080 w 3505200"/>
              <a:gd name="connsiteY157" fmla="*/ 3769360 h 8260080"/>
              <a:gd name="connsiteX158" fmla="*/ 2265680 w 3505200"/>
              <a:gd name="connsiteY158" fmla="*/ 3566160 h 8260080"/>
              <a:gd name="connsiteX159" fmla="*/ 2336800 w 3505200"/>
              <a:gd name="connsiteY159" fmla="*/ 3515360 h 8260080"/>
              <a:gd name="connsiteX160" fmla="*/ 2367280 w 3505200"/>
              <a:gd name="connsiteY160" fmla="*/ 3362960 h 8260080"/>
              <a:gd name="connsiteX161" fmla="*/ 2489200 w 3505200"/>
              <a:gd name="connsiteY161" fmla="*/ 3423920 h 8260080"/>
              <a:gd name="connsiteX162" fmla="*/ 2560320 w 3505200"/>
              <a:gd name="connsiteY162" fmla="*/ 3302000 h 8260080"/>
              <a:gd name="connsiteX163" fmla="*/ 2743200 w 3505200"/>
              <a:gd name="connsiteY163" fmla="*/ 3149600 h 8260080"/>
              <a:gd name="connsiteX164" fmla="*/ 2844800 w 3505200"/>
              <a:gd name="connsiteY164" fmla="*/ 3088640 h 8260080"/>
              <a:gd name="connsiteX165" fmla="*/ 2804160 w 3505200"/>
              <a:gd name="connsiteY165" fmla="*/ 2966720 h 8260080"/>
              <a:gd name="connsiteX166" fmla="*/ 2976880 w 3505200"/>
              <a:gd name="connsiteY166" fmla="*/ 2763520 h 8260080"/>
              <a:gd name="connsiteX167" fmla="*/ 2794000 w 3505200"/>
              <a:gd name="connsiteY167" fmla="*/ 2621280 h 8260080"/>
              <a:gd name="connsiteX168" fmla="*/ 2946400 w 3505200"/>
              <a:gd name="connsiteY168" fmla="*/ 2377440 h 8260080"/>
              <a:gd name="connsiteX169" fmla="*/ 2854960 w 3505200"/>
              <a:gd name="connsiteY169" fmla="*/ 2255520 h 8260080"/>
              <a:gd name="connsiteX170" fmla="*/ 3027680 w 3505200"/>
              <a:gd name="connsiteY170" fmla="*/ 2113280 h 8260080"/>
              <a:gd name="connsiteX171" fmla="*/ 3119120 w 3505200"/>
              <a:gd name="connsiteY171" fmla="*/ 2021840 h 8260080"/>
              <a:gd name="connsiteX172" fmla="*/ 3027680 w 3505200"/>
              <a:gd name="connsiteY172" fmla="*/ 1960880 h 8260080"/>
              <a:gd name="connsiteX173" fmla="*/ 3139440 w 3505200"/>
              <a:gd name="connsiteY173" fmla="*/ 1869440 h 8260080"/>
              <a:gd name="connsiteX174" fmla="*/ 3281680 w 3505200"/>
              <a:gd name="connsiteY174" fmla="*/ 1950720 h 8260080"/>
              <a:gd name="connsiteX175" fmla="*/ 3403600 w 3505200"/>
              <a:gd name="connsiteY175" fmla="*/ 1889760 h 8260080"/>
              <a:gd name="connsiteX176" fmla="*/ 3505200 w 3505200"/>
              <a:gd name="connsiteY176" fmla="*/ 1910080 h 8260080"/>
              <a:gd name="connsiteX177" fmla="*/ 3444240 w 3505200"/>
              <a:gd name="connsiteY177" fmla="*/ 1656080 h 8260080"/>
              <a:gd name="connsiteX178" fmla="*/ 3373120 w 3505200"/>
              <a:gd name="connsiteY178" fmla="*/ 1635760 h 8260080"/>
              <a:gd name="connsiteX179" fmla="*/ 3352800 w 3505200"/>
              <a:gd name="connsiteY179" fmla="*/ 1503680 h 8260080"/>
              <a:gd name="connsiteX180" fmla="*/ 3444240 w 3505200"/>
              <a:gd name="connsiteY180" fmla="*/ 1412240 h 8260080"/>
              <a:gd name="connsiteX181" fmla="*/ 3393440 w 3505200"/>
              <a:gd name="connsiteY181" fmla="*/ 1280160 h 8260080"/>
              <a:gd name="connsiteX182" fmla="*/ 3434080 w 3505200"/>
              <a:gd name="connsiteY182" fmla="*/ 1249680 h 8260080"/>
              <a:gd name="connsiteX183" fmla="*/ 3281680 w 3505200"/>
              <a:gd name="connsiteY183" fmla="*/ 1066800 h 8260080"/>
              <a:gd name="connsiteX184" fmla="*/ 3383280 w 3505200"/>
              <a:gd name="connsiteY184" fmla="*/ 975360 h 8260080"/>
              <a:gd name="connsiteX185" fmla="*/ 3302000 w 3505200"/>
              <a:gd name="connsiteY185" fmla="*/ 924560 h 8260080"/>
              <a:gd name="connsiteX186" fmla="*/ 3190240 w 3505200"/>
              <a:gd name="connsiteY186" fmla="*/ 944880 h 8260080"/>
              <a:gd name="connsiteX187" fmla="*/ 3281680 w 3505200"/>
              <a:gd name="connsiteY187" fmla="*/ 792480 h 8260080"/>
              <a:gd name="connsiteX188" fmla="*/ 3210560 w 3505200"/>
              <a:gd name="connsiteY188" fmla="*/ 650240 h 8260080"/>
              <a:gd name="connsiteX189" fmla="*/ 3302000 w 3505200"/>
              <a:gd name="connsiteY189" fmla="*/ 568960 h 8260080"/>
              <a:gd name="connsiteX190" fmla="*/ 3190240 w 3505200"/>
              <a:gd name="connsiteY190" fmla="*/ 487680 h 8260080"/>
              <a:gd name="connsiteX191" fmla="*/ 3108960 w 3505200"/>
              <a:gd name="connsiteY191" fmla="*/ 528320 h 8260080"/>
              <a:gd name="connsiteX192" fmla="*/ 3108960 w 3505200"/>
              <a:gd name="connsiteY192" fmla="*/ 406400 h 8260080"/>
              <a:gd name="connsiteX193" fmla="*/ 2926080 w 3505200"/>
              <a:gd name="connsiteY193" fmla="*/ 314960 h 8260080"/>
              <a:gd name="connsiteX194" fmla="*/ 2834640 w 3505200"/>
              <a:gd name="connsiteY194" fmla="*/ 355600 h 8260080"/>
              <a:gd name="connsiteX195" fmla="*/ 2682240 w 3505200"/>
              <a:gd name="connsiteY195" fmla="*/ 111760 h 8260080"/>
              <a:gd name="connsiteX196" fmla="*/ 2590800 w 3505200"/>
              <a:gd name="connsiteY196" fmla="*/ 121920 h 8260080"/>
              <a:gd name="connsiteX197" fmla="*/ 2611120 w 3505200"/>
              <a:gd name="connsiteY197" fmla="*/ 0 h 8260080"/>
              <a:gd name="connsiteX198" fmla="*/ 2438400 w 3505200"/>
              <a:gd name="connsiteY198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80829 w 3505200"/>
              <a:gd name="connsiteY79" fmla="*/ 7148354 h 8260080"/>
              <a:gd name="connsiteX80" fmla="*/ 242962 w 3505200"/>
              <a:gd name="connsiteY80" fmla="*/ 7226746 h 8260080"/>
              <a:gd name="connsiteX81" fmla="*/ 282892 w 3505200"/>
              <a:gd name="connsiteY81" fmla="*/ 7300436 h 8260080"/>
              <a:gd name="connsiteX82" fmla="*/ 310833 w 3505200"/>
              <a:gd name="connsiteY82" fmla="*/ 7299484 h 8260080"/>
              <a:gd name="connsiteX83" fmla="*/ 354881 w 3505200"/>
              <a:gd name="connsiteY83" fmla="*/ 7257702 h 8260080"/>
              <a:gd name="connsiteX84" fmla="*/ 337026 w 3505200"/>
              <a:gd name="connsiteY84" fmla="*/ 7316154 h 8260080"/>
              <a:gd name="connsiteX85" fmla="*/ 370364 w 3505200"/>
              <a:gd name="connsiteY85" fmla="*/ 7360602 h 8260080"/>
              <a:gd name="connsiteX86" fmla="*/ 447040 w 3505200"/>
              <a:gd name="connsiteY86" fmla="*/ 7366000 h 8260080"/>
              <a:gd name="connsiteX87" fmla="*/ 447040 w 3505200"/>
              <a:gd name="connsiteY87" fmla="*/ 7477760 h 8260080"/>
              <a:gd name="connsiteX88" fmla="*/ 558800 w 3505200"/>
              <a:gd name="connsiteY88" fmla="*/ 7528560 h 8260080"/>
              <a:gd name="connsiteX89" fmla="*/ 508000 w 3505200"/>
              <a:gd name="connsiteY89" fmla="*/ 7630160 h 8260080"/>
              <a:gd name="connsiteX90" fmla="*/ 436880 w 3505200"/>
              <a:gd name="connsiteY90" fmla="*/ 7609840 h 8260080"/>
              <a:gd name="connsiteX91" fmla="*/ 447040 w 3505200"/>
              <a:gd name="connsiteY91" fmla="*/ 7691120 h 8260080"/>
              <a:gd name="connsiteX92" fmla="*/ 518160 w 3505200"/>
              <a:gd name="connsiteY92" fmla="*/ 7741920 h 8260080"/>
              <a:gd name="connsiteX93" fmla="*/ 457200 w 3505200"/>
              <a:gd name="connsiteY93" fmla="*/ 7792720 h 8260080"/>
              <a:gd name="connsiteX94" fmla="*/ 396240 w 3505200"/>
              <a:gd name="connsiteY94" fmla="*/ 7701280 h 8260080"/>
              <a:gd name="connsiteX95" fmla="*/ 396240 w 3505200"/>
              <a:gd name="connsiteY95" fmla="*/ 7701280 h 8260080"/>
              <a:gd name="connsiteX96" fmla="*/ 436880 w 3505200"/>
              <a:gd name="connsiteY96" fmla="*/ 7874000 h 8260080"/>
              <a:gd name="connsiteX97" fmla="*/ 436880 w 3505200"/>
              <a:gd name="connsiteY97" fmla="*/ 7924800 h 8260080"/>
              <a:gd name="connsiteX98" fmla="*/ 548640 w 3505200"/>
              <a:gd name="connsiteY98" fmla="*/ 7965440 h 8260080"/>
              <a:gd name="connsiteX99" fmla="*/ 508000 w 3505200"/>
              <a:gd name="connsiteY99" fmla="*/ 8016240 h 8260080"/>
              <a:gd name="connsiteX100" fmla="*/ 589280 w 3505200"/>
              <a:gd name="connsiteY100" fmla="*/ 8056880 h 8260080"/>
              <a:gd name="connsiteX101" fmla="*/ 497840 w 3505200"/>
              <a:gd name="connsiteY101" fmla="*/ 8117840 h 8260080"/>
              <a:gd name="connsiteX102" fmla="*/ 518160 w 3505200"/>
              <a:gd name="connsiteY102" fmla="*/ 8209280 h 8260080"/>
              <a:gd name="connsiteX103" fmla="*/ 640080 w 3505200"/>
              <a:gd name="connsiteY103" fmla="*/ 8260080 h 8260080"/>
              <a:gd name="connsiteX104" fmla="*/ 731520 w 3505200"/>
              <a:gd name="connsiteY104" fmla="*/ 8219440 h 8260080"/>
              <a:gd name="connsiteX105" fmla="*/ 853440 w 3505200"/>
              <a:gd name="connsiteY105" fmla="*/ 8209280 h 8260080"/>
              <a:gd name="connsiteX106" fmla="*/ 955040 w 3505200"/>
              <a:gd name="connsiteY106" fmla="*/ 8260080 h 8260080"/>
              <a:gd name="connsiteX107" fmla="*/ 965200 w 3505200"/>
              <a:gd name="connsiteY107" fmla="*/ 8107680 h 8260080"/>
              <a:gd name="connsiteX108" fmla="*/ 894080 w 3505200"/>
              <a:gd name="connsiteY108" fmla="*/ 8026400 h 8260080"/>
              <a:gd name="connsiteX109" fmla="*/ 1016000 w 3505200"/>
              <a:gd name="connsiteY109" fmla="*/ 7863840 h 8260080"/>
              <a:gd name="connsiteX110" fmla="*/ 1107440 w 3505200"/>
              <a:gd name="connsiteY110" fmla="*/ 7894320 h 8260080"/>
              <a:gd name="connsiteX111" fmla="*/ 1127760 w 3505200"/>
              <a:gd name="connsiteY111" fmla="*/ 7853680 h 8260080"/>
              <a:gd name="connsiteX112" fmla="*/ 1066800 w 3505200"/>
              <a:gd name="connsiteY112" fmla="*/ 7813040 h 8260080"/>
              <a:gd name="connsiteX113" fmla="*/ 1137920 w 3505200"/>
              <a:gd name="connsiteY113" fmla="*/ 7762240 h 8260080"/>
              <a:gd name="connsiteX114" fmla="*/ 1330960 w 3505200"/>
              <a:gd name="connsiteY114" fmla="*/ 7802880 h 8260080"/>
              <a:gd name="connsiteX115" fmla="*/ 1361440 w 3505200"/>
              <a:gd name="connsiteY115" fmla="*/ 7772400 h 8260080"/>
              <a:gd name="connsiteX116" fmla="*/ 1483360 w 3505200"/>
              <a:gd name="connsiteY116" fmla="*/ 7823200 h 8260080"/>
              <a:gd name="connsiteX117" fmla="*/ 1554480 w 3505200"/>
              <a:gd name="connsiteY117" fmla="*/ 7731760 h 8260080"/>
              <a:gd name="connsiteX118" fmla="*/ 1524000 w 3505200"/>
              <a:gd name="connsiteY118" fmla="*/ 7640320 h 8260080"/>
              <a:gd name="connsiteX119" fmla="*/ 1645920 w 3505200"/>
              <a:gd name="connsiteY119" fmla="*/ 7437120 h 8260080"/>
              <a:gd name="connsiteX120" fmla="*/ 1635760 w 3505200"/>
              <a:gd name="connsiteY120" fmla="*/ 7335520 h 8260080"/>
              <a:gd name="connsiteX121" fmla="*/ 1696720 w 3505200"/>
              <a:gd name="connsiteY121" fmla="*/ 7223760 h 8260080"/>
              <a:gd name="connsiteX122" fmla="*/ 1625600 w 3505200"/>
              <a:gd name="connsiteY122" fmla="*/ 7172960 h 8260080"/>
              <a:gd name="connsiteX123" fmla="*/ 1747520 w 3505200"/>
              <a:gd name="connsiteY123" fmla="*/ 6990080 h 8260080"/>
              <a:gd name="connsiteX124" fmla="*/ 1666240 w 3505200"/>
              <a:gd name="connsiteY124" fmla="*/ 6939280 h 8260080"/>
              <a:gd name="connsiteX125" fmla="*/ 1737360 w 3505200"/>
              <a:gd name="connsiteY125" fmla="*/ 6888480 h 8260080"/>
              <a:gd name="connsiteX126" fmla="*/ 1645920 w 3505200"/>
              <a:gd name="connsiteY126" fmla="*/ 6776720 h 8260080"/>
              <a:gd name="connsiteX127" fmla="*/ 1808480 w 3505200"/>
              <a:gd name="connsiteY127" fmla="*/ 6715760 h 8260080"/>
              <a:gd name="connsiteX128" fmla="*/ 1727200 w 3505200"/>
              <a:gd name="connsiteY128" fmla="*/ 6614160 h 8260080"/>
              <a:gd name="connsiteX129" fmla="*/ 1686560 w 3505200"/>
              <a:gd name="connsiteY129" fmla="*/ 6421120 h 8260080"/>
              <a:gd name="connsiteX130" fmla="*/ 1889760 w 3505200"/>
              <a:gd name="connsiteY130" fmla="*/ 6299200 h 8260080"/>
              <a:gd name="connsiteX131" fmla="*/ 1940560 w 3505200"/>
              <a:gd name="connsiteY131" fmla="*/ 6228080 h 8260080"/>
              <a:gd name="connsiteX132" fmla="*/ 2032000 w 3505200"/>
              <a:gd name="connsiteY132" fmla="*/ 6136640 h 8260080"/>
              <a:gd name="connsiteX133" fmla="*/ 2011680 w 3505200"/>
              <a:gd name="connsiteY133" fmla="*/ 6014720 h 8260080"/>
              <a:gd name="connsiteX134" fmla="*/ 2123440 w 3505200"/>
              <a:gd name="connsiteY134" fmla="*/ 6065520 h 8260080"/>
              <a:gd name="connsiteX135" fmla="*/ 2092960 w 3505200"/>
              <a:gd name="connsiteY135" fmla="*/ 6167120 h 8260080"/>
              <a:gd name="connsiteX136" fmla="*/ 2286000 w 3505200"/>
              <a:gd name="connsiteY136" fmla="*/ 5933440 h 8260080"/>
              <a:gd name="connsiteX137" fmla="*/ 2255520 w 3505200"/>
              <a:gd name="connsiteY137" fmla="*/ 5801360 h 8260080"/>
              <a:gd name="connsiteX138" fmla="*/ 2448560 w 3505200"/>
              <a:gd name="connsiteY138" fmla="*/ 5598160 h 8260080"/>
              <a:gd name="connsiteX139" fmla="*/ 2357120 w 3505200"/>
              <a:gd name="connsiteY139" fmla="*/ 5435600 h 8260080"/>
              <a:gd name="connsiteX140" fmla="*/ 2225040 w 3505200"/>
              <a:gd name="connsiteY140" fmla="*/ 5415280 h 8260080"/>
              <a:gd name="connsiteX141" fmla="*/ 2103120 w 3505200"/>
              <a:gd name="connsiteY141" fmla="*/ 5222240 h 8260080"/>
              <a:gd name="connsiteX142" fmla="*/ 2092960 w 3505200"/>
              <a:gd name="connsiteY142" fmla="*/ 5110480 h 8260080"/>
              <a:gd name="connsiteX143" fmla="*/ 2052320 w 3505200"/>
              <a:gd name="connsiteY143" fmla="*/ 5151120 h 8260080"/>
              <a:gd name="connsiteX144" fmla="*/ 2042160 w 3505200"/>
              <a:gd name="connsiteY144" fmla="*/ 5242560 h 8260080"/>
              <a:gd name="connsiteX145" fmla="*/ 1981200 w 3505200"/>
              <a:gd name="connsiteY145" fmla="*/ 5191760 h 8260080"/>
              <a:gd name="connsiteX146" fmla="*/ 2011680 w 3505200"/>
              <a:gd name="connsiteY146" fmla="*/ 5120640 h 8260080"/>
              <a:gd name="connsiteX147" fmla="*/ 1930400 w 3505200"/>
              <a:gd name="connsiteY147" fmla="*/ 5100320 h 8260080"/>
              <a:gd name="connsiteX148" fmla="*/ 1859280 w 3505200"/>
              <a:gd name="connsiteY148" fmla="*/ 4917440 h 8260080"/>
              <a:gd name="connsiteX149" fmla="*/ 1828800 w 3505200"/>
              <a:gd name="connsiteY149" fmla="*/ 4622800 h 8260080"/>
              <a:gd name="connsiteX150" fmla="*/ 1910080 w 3505200"/>
              <a:gd name="connsiteY150" fmla="*/ 4419600 h 8260080"/>
              <a:gd name="connsiteX151" fmla="*/ 1920240 w 3505200"/>
              <a:gd name="connsiteY151" fmla="*/ 4277360 h 8260080"/>
              <a:gd name="connsiteX152" fmla="*/ 1971040 w 3505200"/>
              <a:gd name="connsiteY152" fmla="*/ 4124960 h 8260080"/>
              <a:gd name="connsiteX153" fmla="*/ 1879600 w 3505200"/>
              <a:gd name="connsiteY153" fmla="*/ 4023360 h 8260080"/>
              <a:gd name="connsiteX154" fmla="*/ 2072640 w 3505200"/>
              <a:gd name="connsiteY154" fmla="*/ 4003040 h 8260080"/>
              <a:gd name="connsiteX155" fmla="*/ 2092960 w 3505200"/>
              <a:gd name="connsiteY155" fmla="*/ 3850640 h 8260080"/>
              <a:gd name="connsiteX156" fmla="*/ 2001520 w 3505200"/>
              <a:gd name="connsiteY156" fmla="*/ 3728720 h 8260080"/>
              <a:gd name="connsiteX157" fmla="*/ 2164080 w 3505200"/>
              <a:gd name="connsiteY157" fmla="*/ 3769360 h 8260080"/>
              <a:gd name="connsiteX158" fmla="*/ 2265680 w 3505200"/>
              <a:gd name="connsiteY158" fmla="*/ 3566160 h 8260080"/>
              <a:gd name="connsiteX159" fmla="*/ 2336800 w 3505200"/>
              <a:gd name="connsiteY159" fmla="*/ 3515360 h 8260080"/>
              <a:gd name="connsiteX160" fmla="*/ 2367280 w 3505200"/>
              <a:gd name="connsiteY160" fmla="*/ 3362960 h 8260080"/>
              <a:gd name="connsiteX161" fmla="*/ 2489200 w 3505200"/>
              <a:gd name="connsiteY161" fmla="*/ 3423920 h 8260080"/>
              <a:gd name="connsiteX162" fmla="*/ 2560320 w 3505200"/>
              <a:gd name="connsiteY162" fmla="*/ 3302000 h 8260080"/>
              <a:gd name="connsiteX163" fmla="*/ 2743200 w 3505200"/>
              <a:gd name="connsiteY163" fmla="*/ 3149600 h 8260080"/>
              <a:gd name="connsiteX164" fmla="*/ 2844800 w 3505200"/>
              <a:gd name="connsiteY164" fmla="*/ 3088640 h 8260080"/>
              <a:gd name="connsiteX165" fmla="*/ 2804160 w 3505200"/>
              <a:gd name="connsiteY165" fmla="*/ 2966720 h 8260080"/>
              <a:gd name="connsiteX166" fmla="*/ 2976880 w 3505200"/>
              <a:gd name="connsiteY166" fmla="*/ 2763520 h 8260080"/>
              <a:gd name="connsiteX167" fmla="*/ 2794000 w 3505200"/>
              <a:gd name="connsiteY167" fmla="*/ 2621280 h 8260080"/>
              <a:gd name="connsiteX168" fmla="*/ 2946400 w 3505200"/>
              <a:gd name="connsiteY168" fmla="*/ 2377440 h 8260080"/>
              <a:gd name="connsiteX169" fmla="*/ 2854960 w 3505200"/>
              <a:gd name="connsiteY169" fmla="*/ 2255520 h 8260080"/>
              <a:gd name="connsiteX170" fmla="*/ 3027680 w 3505200"/>
              <a:gd name="connsiteY170" fmla="*/ 2113280 h 8260080"/>
              <a:gd name="connsiteX171" fmla="*/ 3119120 w 3505200"/>
              <a:gd name="connsiteY171" fmla="*/ 2021840 h 8260080"/>
              <a:gd name="connsiteX172" fmla="*/ 3027680 w 3505200"/>
              <a:gd name="connsiteY172" fmla="*/ 1960880 h 8260080"/>
              <a:gd name="connsiteX173" fmla="*/ 3139440 w 3505200"/>
              <a:gd name="connsiteY173" fmla="*/ 1869440 h 8260080"/>
              <a:gd name="connsiteX174" fmla="*/ 3281680 w 3505200"/>
              <a:gd name="connsiteY174" fmla="*/ 1950720 h 8260080"/>
              <a:gd name="connsiteX175" fmla="*/ 3403600 w 3505200"/>
              <a:gd name="connsiteY175" fmla="*/ 1889760 h 8260080"/>
              <a:gd name="connsiteX176" fmla="*/ 3505200 w 3505200"/>
              <a:gd name="connsiteY176" fmla="*/ 1910080 h 8260080"/>
              <a:gd name="connsiteX177" fmla="*/ 3444240 w 3505200"/>
              <a:gd name="connsiteY177" fmla="*/ 1656080 h 8260080"/>
              <a:gd name="connsiteX178" fmla="*/ 3373120 w 3505200"/>
              <a:gd name="connsiteY178" fmla="*/ 1635760 h 8260080"/>
              <a:gd name="connsiteX179" fmla="*/ 3352800 w 3505200"/>
              <a:gd name="connsiteY179" fmla="*/ 1503680 h 8260080"/>
              <a:gd name="connsiteX180" fmla="*/ 3444240 w 3505200"/>
              <a:gd name="connsiteY180" fmla="*/ 1412240 h 8260080"/>
              <a:gd name="connsiteX181" fmla="*/ 3393440 w 3505200"/>
              <a:gd name="connsiteY181" fmla="*/ 1280160 h 8260080"/>
              <a:gd name="connsiteX182" fmla="*/ 3434080 w 3505200"/>
              <a:gd name="connsiteY182" fmla="*/ 1249680 h 8260080"/>
              <a:gd name="connsiteX183" fmla="*/ 3281680 w 3505200"/>
              <a:gd name="connsiteY183" fmla="*/ 1066800 h 8260080"/>
              <a:gd name="connsiteX184" fmla="*/ 3383280 w 3505200"/>
              <a:gd name="connsiteY184" fmla="*/ 975360 h 8260080"/>
              <a:gd name="connsiteX185" fmla="*/ 3302000 w 3505200"/>
              <a:gd name="connsiteY185" fmla="*/ 924560 h 8260080"/>
              <a:gd name="connsiteX186" fmla="*/ 3190240 w 3505200"/>
              <a:gd name="connsiteY186" fmla="*/ 944880 h 8260080"/>
              <a:gd name="connsiteX187" fmla="*/ 3281680 w 3505200"/>
              <a:gd name="connsiteY187" fmla="*/ 792480 h 8260080"/>
              <a:gd name="connsiteX188" fmla="*/ 3210560 w 3505200"/>
              <a:gd name="connsiteY188" fmla="*/ 650240 h 8260080"/>
              <a:gd name="connsiteX189" fmla="*/ 3302000 w 3505200"/>
              <a:gd name="connsiteY189" fmla="*/ 568960 h 8260080"/>
              <a:gd name="connsiteX190" fmla="*/ 3190240 w 3505200"/>
              <a:gd name="connsiteY190" fmla="*/ 487680 h 8260080"/>
              <a:gd name="connsiteX191" fmla="*/ 3108960 w 3505200"/>
              <a:gd name="connsiteY191" fmla="*/ 528320 h 8260080"/>
              <a:gd name="connsiteX192" fmla="*/ 3108960 w 3505200"/>
              <a:gd name="connsiteY192" fmla="*/ 406400 h 8260080"/>
              <a:gd name="connsiteX193" fmla="*/ 2926080 w 3505200"/>
              <a:gd name="connsiteY193" fmla="*/ 314960 h 8260080"/>
              <a:gd name="connsiteX194" fmla="*/ 2834640 w 3505200"/>
              <a:gd name="connsiteY194" fmla="*/ 355600 h 8260080"/>
              <a:gd name="connsiteX195" fmla="*/ 2682240 w 3505200"/>
              <a:gd name="connsiteY195" fmla="*/ 111760 h 8260080"/>
              <a:gd name="connsiteX196" fmla="*/ 2590800 w 3505200"/>
              <a:gd name="connsiteY196" fmla="*/ 121920 h 8260080"/>
              <a:gd name="connsiteX197" fmla="*/ 2611120 w 3505200"/>
              <a:gd name="connsiteY197" fmla="*/ 0 h 8260080"/>
              <a:gd name="connsiteX198" fmla="*/ 2438400 w 3505200"/>
              <a:gd name="connsiteY198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80829 w 3505200"/>
              <a:gd name="connsiteY79" fmla="*/ 7148354 h 8260080"/>
              <a:gd name="connsiteX80" fmla="*/ 242962 w 3505200"/>
              <a:gd name="connsiteY80" fmla="*/ 7226746 h 8260080"/>
              <a:gd name="connsiteX81" fmla="*/ 282892 w 3505200"/>
              <a:gd name="connsiteY81" fmla="*/ 7300436 h 8260080"/>
              <a:gd name="connsiteX82" fmla="*/ 310833 w 3505200"/>
              <a:gd name="connsiteY82" fmla="*/ 7299484 h 8260080"/>
              <a:gd name="connsiteX83" fmla="*/ 319162 w 3505200"/>
              <a:gd name="connsiteY83" fmla="*/ 7310089 h 8260080"/>
              <a:gd name="connsiteX84" fmla="*/ 337026 w 3505200"/>
              <a:gd name="connsiteY84" fmla="*/ 7316154 h 8260080"/>
              <a:gd name="connsiteX85" fmla="*/ 370364 w 3505200"/>
              <a:gd name="connsiteY85" fmla="*/ 7360602 h 8260080"/>
              <a:gd name="connsiteX86" fmla="*/ 447040 w 3505200"/>
              <a:gd name="connsiteY86" fmla="*/ 7366000 h 8260080"/>
              <a:gd name="connsiteX87" fmla="*/ 447040 w 3505200"/>
              <a:gd name="connsiteY87" fmla="*/ 7477760 h 8260080"/>
              <a:gd name="connsiteX88" fmla="*/ 558800 w 3505200"/>
              <a:gd name="connsiteY88" fmla="*/ 7528560 h 8260080"/>
              <a:gd name="connsiteX89" fmla="*/ 508000 w 3505200"/>
              <a:gd name="connsiteY89" fmla="*/ 7630160 h 8260080"/>
              <a:gd name="connsiteX90" fmla="*/ 436880 w 3505200"/>
              <a:gd name="connsiteY90" fmla="*/ 7609840 h 8260080"/>
              <a:gd name="connsiteX91" fmla="*/ 447040 w 3505200"/>
              <a:gd name="connsiteY91" fmla="*/ 7691120 h 8260080"/>
              <a:gd name="connsiteX92" fmla="*/ 518160 w 3505200"/>
              <a:gd name="connsiteY92" fmla="*/ 7741920 h 8260080"/>
              <a:gd name="connsiteX93" fmla="*/ 457200 w 3505200"/>
              <a:gd name="connsiteY93" fmla="*/ 7792720 h 8260080"/>
              <a:gd name="connsiteX94" fmla="*/ 396240 w 3505200"/>
              <a:gd name="connsiteY94" fmla="*/ 7701280 h 8260080"/>
              <a:gd name="connsiteX95" fmla="*/ 396240 w 3505200"/>
              <a:gd name="connsiteY95" fmla="*/ 7701280 h 8260080"/>
              <a:gd name="connsiteX96" fmla="*/ 436880 w 3505200"/>
              <a:gd name="connsiteY96" fmla="*/ 7874000 h 8260080"/>
              <a:gd name="connsiteX97" fmla="*/ 436880 w 3505200"/>
              <a:gd name="connsiteY97" fmla="*/ 7924800 h 8260080"/>
              <a:gd name="connsiteX98" fmla="*/ 548640 w 3505200"/>
              <a:gd name="connsiteY98" fmla="*/ 7965440 h 8260080"/>
              <a:gd name="connsiteX99" fmla="*/ 508000 w 3505200"/>
              <a:gd name="connsiteY99" fmla="*/ 8016240 h 8260080"/>
              <a:gd name="connsiteX100" fmla="*/ 589280 w 3505200"/>
              <a:gd name="connsiteY100" fmla="*/ 8056880 h 8260080"/>
              <a:gd name="connsiteX101" fmla="*/ 497840 w 3505200"/>
              <a:gd name="connsiteY101" fmla="*/ 8117840 h 8260080"/>
              <a:gd name="connsiteX102" fmla="*/ 518160 w 3505200"/>
              <a:gd name="connsiteY102" fmla="*/ 8209280 h 8260080"/>
              <a:gd name="connsiteX103" fmla="*/ 640080 w 3505200"/>
              <a:gd name="connsiteY103" fmla="*/ 8260080 h 8260080"/>
              <a:gd name="connsiteX104" fmla="*/ 731520 w 3505200"/>
              <a:gd name="connsiteY104" fmla="*/ 8219440 h 8260080"/>
              <a:gd name="connsiteX105" fmla="*/ 853440 w 3505200"/>
              <a:gd name="connsiteY105" fmla="*/ 8209280 h 8260080"/>
              <a:gd name="connsiteX106" fmla="*/ 955040 w 3505200"/>
              <a:gd name="connsiteY106" fmla="*/ 8260080 h 8260080"/>
              <a:gd name="connsiteX107" fmla="*/ 965200 w 3505200"/>
              <a:gd name="connsiteY107" fmla="*/ 8107680 h 8260080"/>
              <a:gd name="connsiteX108" fmla="*/ 894080 w 3505200"/>
              <a:gd name="connsiteY108" fmla="*/ 8026400 h 8260080"/>
              <a:gd name="connsiteX109" fmla="*/ 1016000 w 3505200"/>
              <a:gd name="connsiteY109" fmla="*/ 7863840 h 8260080"/>
              <a:gd name="connsiteX110" fmla="*/ 1107440 w 3505200"/>
              <a:gd name="connsiteY110" fmla="*/ 7894320 h 8260080"/>
              <a:gd name="connsiteX111" fmla="*/ 1127760 w 3505200"/>
              <a:gd name="connsiteY111" fmla="*/ 7853680 h 8260080"/>
              <a:gd name="connsiteX112" fmla="*/ 1066800 w 3505200"/>
              <a:gd name="connsiteY112" fmla="*/ 7813040 h 8260080"/>
              <a:gd name="connsiteX113" fmla="*/ 1137920 w 3505200"/>
              <a:gd name="connsiteY113" fmla="*/ 7762240 h 8260080"/>
              <a:gd name="connsiteX114" fmla="*/ 1330960 w 3505200"/>
              <a:gd name="connsiteY114" fmla="*/ 7802880 h 8260080"/>
              <a:gd name="connsiteX115" fmla="*/ 1361440 w 3505200"/>
              <a:gd name="connsiteY115" fmla="*/ 7772400 h 8260080"/>
              <a:gd name="connsiteX116" fmla="*/ 1483360 w 3505200"/>
              <a:gd name="connsiteY116" fmla="*/ 7823200 h 8260080"/>
              <a:gd name="connsiteX117" fmla="*/ 1554480 w 3505200"/>
              <a:gd name="connsiteY117" fmla="*/ 7731760 h 8260080"/>
              <a:gd name="connsiteX118" fmla="*/ 1524000 w 3505200"/>
              <a:gd name="connsiteY118" fmla="*/ 7640320 h 8260080"/>
              <a:gd name="connsiteX119" fmla="*/ 1645920 w 3505200"/>
              <a:gd name="connsiteY119" fmla="*/ 7437120 h 8260080"/>
              <a:gd name="connsiteX120" fmla="*/ 1635760 w 3505200"/>
              <a:gd name="connsiteY120" fmla="*/ 7335520 h 8260080"/>
              <a:gd name="connsiteX121" fmla="*/ 1696720 w 3505200"/>
              <a:gd name="connsiteY121" fmla="*/ 7223760 h 8260080"/>
              <a:gd name="connsiteX122" fmla="*/ 1625600 w 3505200"/>
              <a:gd name="connsiteY122" fmla="*/ 7172960 h 8260080"/>
              <a:gd name="connsiteX123" fmla="*/ 1747520 w 3505200"/>
              <a:gd name="connsiteY123" fmla="*/ 6990080 h 8260080"/>
              <a:gd name="connsiteX124" fmla="*/ 1666240 w 3505200"/>
              <a:gd name="connsiteY124" fmla="*/ 6939280 h 8260080"/>
              <a:gd name="connsiteX125" fmla="*/ 1737360 w 3505200"/>
              <a:gd name="connsiteY125" fmla="*/ 6888480 h 8260080"/>
              <a:gd name="connsiteX126" fmla="*/ 1645920 w 3505200"/>
              <a:gd name="connsiteY126" fmla="*/ 6776720 h 8260080"/>
              <a:gd name="connsiteX127" fmla="*/ 1808480 w 3505200"/>
              <a:gd name="connsiteY127" fmla="*/ 6715760 h 8260080"/>
              <a:gd name="connsiteX128" fmla="*/ 1727200 w 3505200"/>
              <a:gd name="connsiteY128" fmla="*/ 6614160 h 8260080"/>
              <a:gd name="connsiteX129" fmla="*/ 1686560 w 3505200"/>
              <a:gd name="connsiteY129" fmla="*/ 6421120 h 8260080"/>
              <a:gd name="connsiteX130" fmla="*/ 1889760 w 3505200"/>
              <a:gd name="connsiteY130" fmla="*/ 6299200 h 8260080"/>
              <a:gd name="connsiteX131" fmla="*/ 1940560 w 3505200"/>
              <a:gd name="connsiteY131" fmla="*/ 6228080 h 8260080"/>
              <a:gd name="connsiteX132" fmla="*/ 2032000 w 3505200"/>
              <a:gd name="connsiteY132" fmla="*/ 6136640 h 8260080"/>
              <a:gd name="connsiteX133" fmla="*/ 2011680 w 3505200"/>
              <a:gd name="connsiteY133" fmla="*/ 6014720 h 8260080"/>
              <a:gd name="connsiteX134" fmla="*/ 2123440 w 3505200"/>
              <a:gd name="connsiteY134" fmla="*/ 6065520 h 8260080"/>
              <a:gd name="connsiteX135" fmla="*/ 2092960 w 3505200"/>
              <a:gd name="connsiteY135" fmla="*/ 6167120 h 8260080"/>
              <a:gd name="connsiteX136" fmla="*/ 2286000 w 3505200"/>
              <a:gd name="connsiteY136" fmla="*/ 5933440 h 8260080"/>
              <a:gd name="connsiteX137" fmla="*/ 2255520 w 3505200"/>
              <a:gd name="connsiteY137" fmla="*/ 5801360 h 8260080"/>
              <a:gd name="connsiteX138" fmla="*/ 2448560 w 3505200"/>
              <a:gd name="connsiteY138" fmla="*/ 5598160 h 8260080"/>
              <a:gd name="connsiteX139" fmla="*/ 2357120 w 3505200"/>
              <a:gd name="connsiteY139" fmla="*/ 5435600 h 8260080"/>
              <a:gd name="connsiteX140" fmla="*/ 2225040 w 3505200"/>
              <a:gd name="connsiteY140" fmla="*/ 5415280 h 8260080"/>
              <a:gd name="connsiteX141" fmla="*/ 2103120 w 3505200"/>
              <a:gd name="connsiteY141" fmla="*/ 5222240 h 8260080"/>
              <a:gd name="connsiteX142" fmla="*/ 2092960 w 3505200"/>
              <a:gd name="connsiteY142" fmla="*/ 5110480 h 8260080"/>
              <a:gd name="connsiteX143" fmla="*/ 2052320 w 3505200"/>
              <a:gd name="connsiteY143" fmla="*/ 5151120 h 8260080"/>
              <a:gd name="connsiteX144" fmla="*/ 2042160 w 3505200"/>
              <a:gd name="connsiteY144" fmla="*/ 5242560 h 8260080"/>
              <a:gd name="connsiteX145" fmla="*/ 1981200 w 3505200"/>
              <a:gd name="connsiteY145" fmla="*/ 5191760 h 8260080"/>
              <a:gd name="connsiteX146" fmla="*/ 2011680 w 3505200"/>
              <a:gd name="connsiteY146" fmla="*/ 5120640 h 8260080"/>
              <a:gd name="connsiteX147" fmla="*/ 1930400 w 3505200"/>
              <a:gd name="connsiteY147" fmla="*/ 5100320 h 8260080"/>
              <a:gd name="connsiteX148" fmla="*/ 1859280 w 3505200"/>
              <a:gd name="connsiteY148" fmla="*/ 4917440 h 8260080"/>
              <a:gd name="connsiteX149" fmla="*/ 1828800 w 3505200"/>
              <a:gd name="connsiteY149" fmla="*/ 4622800 h 8260080"/>
              <a:gd name="connsiteX150" fmla="*/ 1910080 w 3505200"/>
              <a:gd name="connsiteY150" fmla="*/ 4419600 h 8260080"/>
              <a:gd name="connsiteX151" fmla="*/ 1920240 w 3505200"/>
              <a:gd name="connsiteY151" fmla="*/ 4277360 h 8260080"/>
              <a:gd name="connsiteX152" fmla="*/ 1971040 w 3505200"/>
              <a:gd name="connsiteY152" fmla="*/ 4124960 h 8260080"/>
              <a:gd name="connsiteX153" fmla="*/ 1879600 w 3505200"/>
              <a:gd name="connsiteY153" fmla="*/ 4023360 h 8260080"/>
              <a:gd name="connsiteX154" fmla="*/ 2072640 w 3505200"/>
              <a:gd name="connsiteY154" fmla="*/ 4003040 h 8260080"/>
              <a:gd name="connsiteX155" fmla="*/ 2092960 w 3505200"/>
              <a:gd name="connsiteY155" fmla="*/ 3850640 h 8260080"/>
              <a:gd name="connsiteX156" fmla="*/ 2001520 w 3505200"/>
              <a:gd name="connsiteY156" fmla="*/ 3728720 h 8260080"/>
              <a:gd name="connsiteX157" fmla="*/ 2164080 w 3505200"/>
              <a:gd name="connsiteY157" fmla="*/ 3769360 h 8260080"/>
              <a:gd name="connsiteX158" fmla="*/ 2265680 w 3505200"/>
              <a:gd name="connsiteY158" fmla="*/ 3566160 h 8260080"/>
              <a:gd name="connsiteX159" fmla="*/ 2336800 w 3505200"/>
              <a:gd name="connsiteY159" fmla="*/ 3515360 h 8260080"/>
              <a:gd name="connsiteX160" fmla="*/ 2367280 w 3505200"/>
              <a:gd name="connsiteY160" fmla="*/ 3362960 h 8260080"/>
              <a:gd name="connsiteX161" fmla="*/ 2489200 w 3505200"/>
              <a:gd name="connsiteY161" fmla="*/ 3423920 h 8260080"/>
              <a:gd name="connsiteX162" fmla="*/ 2560320 w 3505200"/>
              <a:gd name="connsiteY162" fmla="*/ 3302000 h 8260080"/>
              <a:gd name="connsiteX163" fmla="*/ 2743200 w 3505200"/>
              <a:gd name="connsiteY163" fmla="*/ 3149600 h 8260080"/>
              <a:gd name="connsiteX164" fmla="*/ 2844800 w 3505200"/>
              <a:gd name="connsiteY164" fmla="*/ 3088640 h 8260080"/>
              <a:gd name="connsiteX165" fmla="*/ 2804160 w 3505200"/>
              <a:gd name="connsiteY165" fmla="*/ 2966720 h 8260080"/>
              <a:gd name="connsiteX166" fmla="*/ 2976880 w 3505200"/>
              <a:gd name="connsiteY166" fmla="*/ 2763520 h 8260080"/>
              <a:gd name="connsiteX167" fmla="*/ 2794000 w 3505200"/>
              <a:gd name="connsiteY167" fmla="*/ 2621280 h 8260080"/>
              <a:gd name="connsiteX168" fmla="*/ 2946400 w 3505200"/>
              <a:gd name="connsiteY168" fmla="*/ 2377440 h 8260080"/>
              <a:gd name="connsiteX169" fmla="*/ 2854960 w 3505200"/>
              <a:gd name="connsiteY169" fmla="*/ 2255520 h 8260080"/>
              <a:gd name="connsiteX170" fmla="*/ 3027680 w 3505200"/>
              <a:gd name="connsiteY170" fmla="*/ 2113280 h 8260080"/>
              <a:gd name="connsiteX171" fmla="*/ 3119120 w 3505200"/>
              <a:gd name="connsiteY171" fmla="*/ 2021840 h 8260080"/>
              <a:gd name="connsiteX172" fmla="*/ 3027680 w 3505200"/>
              <a:gd name="connsiteY172" fmla="*/ 1960880 h 8260080"/>
              <a:gd name="connsiteX173" fmla="*/ 3139440 w 3505200"/>
              <a:gd name="connsiteY173" fmla="*/ 1869440 h 8260080"/>
              <a:gd name="connsiteX174" fmla="*/ 3281680 w 3505200"/>
              <a:gd name="connsiteY174" fmla="*/ 1950720 h 8260080"/>
              <a:gd name="connsiteX175" fmla="*/ 3403600 w 3505200"/>
              <a:gd name="connsiteY175" fmla="*/ 1889760 h 8260080"/>
              <a:gd name="connsiteX176" fmla="*/ 3505200 w 3505200"/>
              <a:gd name="connsiteY176" fmla="*/ 1910080 h 8260080"/>
              <a:gd name="connsiteX177" fmla="*/ 3444240 w 3505200"/>
              <a:gd name="connsiteY177" fmla="*/ 1656080 h 8260080"/>
              <a:gd name="connsiteX178" fmla="*/ 3373120 w 3505200"/>
              <a:gd name="connsiteY178" fmla="*/ 1635760 h 8260080"/>
              <a:gd name="connsiteX179" fmla="*/ 3352800 w 3505200"/>
              <a:gd name="connsiteY179" fmla="*/ 1503680 h 8260080"/>
              <a:gd name="connsiteX180" fmla="*/ 3444240 w 3505200"/>
              <a:gd name="connsiteY180" fmla="*/ 1412240 h 8260080"/>
              <a:gd name="connsiteX181" fmla="*/ 3393440 w 3505200"/>
              <a:gd name="connsiteY181" fmla="*/ 1280160 h 8260080"/>
              <a:gd name="connsiteX182" fmla="*/ 3434080 w 3505200"/>
              <a:gd name="connsiteY182" fmla="*/ 1249680 h 8260080"/>
              <a:gd name="connsiteX183" fmla="*/ 3281680 w 3505200"/>
              <a:gd name="connsiteY183" fmla="*/ 1066800 h 8260080"/>
              <a:gd name="connsiteX184" fmla="*/ 3383280 w 3505200"/>
              <a:gd name="connsiteY184" fmla="*/ 975360 h 8260080"/>
              <a:gd name="connsiteX185" fmla="*/ 3302000 w 3505200"/>
              <a:gd name="connsiteY185" fmla="*/ 924560 h 8260080"/>
              <a:gd name="connsiteX186" fmla="*/ 3190240 w 3505200"/>
              <a:gd name="connsiteY186" fmla="*/ 944880 h 8260080"/>
              <a:gd name="connsiteX187" fmla="*/ 3281680 w 3505200"/>
              <a:gd name="connsiteY187" fmla="*/ 792480 h 8260080"/>
              <a:gd name="connsiteX188" fmla="*/ 3210560 w 3505200"/>
              <a:gd name="connsiteY188" fmla="*/ 650240 h 8260080"/>
              <a:gd name="connsiteX189" fmla="*/ 3302000 w 3505200"/>
              <a:gd name="connsiteY189" fmla="*/ 568960 h 8260080"/>
              <a:gd name="connsiteX190" fmla="*/ 3190240 w 3505200"/>
              <a:gd name="connsiteY190" fmla="*/ 487680 h 8260080"/>
              <a:gd name="connsiteX191" fmla="*/ 3108960 w 3505200"/>
              <a:gd name="connsiteY191" fmla="*/ 528320 h 8260080"/>
              <a:gd name="connsiteX192" fmla="*/ 3108960 w 3505200"/>
              <a:gd name="connsiteY192" fmla="*/ 406400 h 8260080"/>
              <a:gd name="connsiteX193" fmla="*/ 2926080 w 3505200"/>
              <a:gd name="connsiteY193" fmla="*/ 314960 h 8260080"/>
              <a:gd name="connsiteX194" fmla="*/ 2834640 w 3505200"/>
              <a:gd name="connsiteY194" fmla="*/ 355600 h 8260080"/>
              <a:gd name="connsiteX195" fmla="*/ 2682240 w 3505200"/>
              <a:gd name="connsiteY195" fmla="*/ 111760 h 8260080"/>
              <a:gd name="connsiteX196" fmla="*/ 2590800 w 3505200"/>
              <a:gd name="connsiteY196" fmla="*/ 121920 h 8260080"/>
              <a:gd name="connsiteX197" fmla="*/ 2611120 w 3505200"/>
              <a:gd name="connsiteY197" fmla="*/ 0 h 8260080"/>
              <a:gd name="connsiteX198" fmla="*/ 2438400 w 3505200"/>
              <a:gd name="connsiteY198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50106 w 3505200"/>
              <a:gd name="connsiteY79" fmla="*/ 7088634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50106 w 3505200"/>
              <a:gd name="connsiteY79" fmla="*/ 7088634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50106 w 3505200"/>
              <a:gd name="connsiteY79" fmla="*/ 7088634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47725 w 3505200"/>
              <a:gd name="connsiteY79" fmla="*/ 7088634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7242 w 3505200"/>
              <a:gd name="connsiteY78" fmla="*/ 7055296 h 8260080"/>
              <a:gd name="connsiteX79" fmla="*/ 247725 w 3505200"/>
              <a:gd name="connsiteY79" fmla="*/ 7088634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7242 w 3505200"/>
              <a:gd name="connsiteY78" fmla="*/ 7055296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7242 w 3505200"/>
              <a:gd name="connsiteY78" fmla="*/ 7055296 h 8260080"/>
              <a:gd name="connsiteX79" fmla="*/ 240581 w 3505200"/>
              <a:gd name="connsiteY79" fmla="*/ 6983859 h 8260080"/>
              <a:gd name="connsiteX80" fmla="*/ 240582 w 3505200"/>
              <a:gd name="connsiteY80" fmla="*/ 7079109 h 8260080"/>
              <a:gd name="connsiteX81" fmla="*/ 280829 w 3505200"/>
              <a:gd name="connsiteY81" fmla="*/ 7148354 h 8260080"/>
              <a:gd name="connsiteX82" fmla="*/ 242962 w 3505200"/>
              <a:gd name="connsiteY82" fmla="*/ 7226746 h 8260080"/>
              <a:gd name="connsiteX83" fmla="*/ 282892 w 3505200"/>
              <a:gd name="connsiteY83" fmla="*/ 7300436 h 8260080"/>
              <a:gd name="connsiteX84" fmla="*/ 310833 w 3505200"/>
              <a:gd name="connsiteY84" fmla="*/ 7299484 h 8260080"/>
              <a:gd name="connsiteX85" fmla="*/ 319162 w 3505200"/>
              <a:gd name="connsiteY85" fmla="*/ 7310089 h 8260080"/>
              <a:gd name="connsiteX86" fmla="*/ 337026 w 3505200"/>
              <a:gd name="connsiteY86" fmla="*/ 7316154 h 8260080"/>
              <a:gd name="connsiteX87" fmla="*/ 370364 w 3505200"/>
              <a:gd name="connsiteY87" fmla="*/ 7360602 h 8260080"/>
              <a:gd name="connsiteX88" fmla="*/ 447040 w 3505200"/>
              <a:gd name="connsiteY88" fmla="*/ 7366000 h 8260080"/>
              <a:gd name="connsiteX89" fmla="*/ 447040 w 3505200"/>
              <a:gd name="connsiteY89" fmla="*/ 7477760 h 8260080"/>
              <a:gd name="connsiteX90" fmla="*/ 558800 w 3505200"/>
              <a:gd name="connsiteY90" fmla="*/ 7528560 h 8260080"/>
              <a:gd name="connsiteX91" fmla="*/ 508000 w 3505200"/>
              <a:gd name="connsiteY91" fmla="*/ 7630160 h 8260080"/>
              <a:gd name="connsiteX92" fmla="*/ 436880 w 3505200"/>
              <a:gd name="connsiteY92" fmla="*/ 7609840 h 8260080"/>
              <a:gd name="connsiteX93" fmla="*/ 447040 w 3505200"/>
              <a:gd name="connsiteY93" fmla="*/ 7691120 h 8260080"/>
              <a:gd name="connsiteX94" fmla="*/ 518160 w 3505200"/>
              <a:gd name="connsiteY94" fmla="*/ 7741920 h 8260080"/>
              <a:gd name="connsiteX95" fmla="*/ 457200 w 3505200"/>
              <a:gd name="connsiteY95" fmla="*/ 7792720 h 8260080"/>
              <a:gd name="connsiteX96" fmla="*/ 396240 w 3505200"/>
              <a:gd name="connsiteY96" fmla="*/ 7701280 h 8260080"/>
              <a:gd name="connsiteX97" fmla="*/ 396240 w 3505200"/>
              <a:gd name="connsiteY97" fmla="*/ 7701280 h 8260080"/>
              <a:gd name="connsiteX98" fmla="*/ 436880 w 3505200"/>
              <a:gd name="connsiteY98" fmla="*/ 7874000 h 8260080"/>
              <a:gd name="connsiteX99" fmla="*/ 436880 w 3505200"/>
              <a:gd name="connsiteY99" fmla="*/ 7924800 h 8260080"/>
              <a:gd name="connsiteX100" fmla="*/ 548640 w 3505200"/>
              <a:gd name="connsiteY100" fmla="*/ 7965440 h 8260080"/>
              <a:gd name="connsiteX101" fmla="*/ 508000 w 3505200"/>
              <a:gd name="connsiteY101" fmla="*/ 8016240 h 8260080"/>
              <a:gd name="connsiteX102" fmla="*/ 589280 w 3505200"/>
              <a:gd name="connsiteY102" fmla="*/ 8056880 h 8260080"/>
              <a:gd name="connsiteX103" fmla="*/ 497840 w 3505200"/>
              <a:gd name="connsiteY103" fmla="*/ 8117840 h 8260080"/>
              <a:gd name="connsiteX104" fmla="*/ 518160 w 3505200"/>
              <a:gd name="connsiteY104" fmla="*/ 8209280 h 8260080"/>
              <a:gd name="connsiteX105" fmla="*/ 640080 w 3505200"/>
              <a:gd name="connsiteY105" fmla="*/ 8260080 h 8260080"/>
              <a:gd name="connsiteX106" fmla="*/ 731520 w 3505200"/>
              <a:gd name="connsiteY106" fmla="*/ 8219440 h 8260080"/>
              <a:gd name="connsiteX107" fmla="*/ 853440 w 3505200"/>
              <a:gd name="connsiteY107" fmla="*/ 8209280 h 8260080"/>
              <a:gd name="connsiteX108" fmla="*/ 955040 w 3505200"/>
              <a:gd name="connsiteY108" fmla="*/ 8260080 h 8260080"/>
              <a:gd name="connsiteX109" fmla="*/ 965200 w 3505200"/>
              <a:gd name="connsiteY109" fmla="*/ 8107680 h 8260080"/>
              <a:gd name="connsiteX110" fmla="*/ 894080 w 3505200"/>
              <a:gd name="connsiteY110" fmla="*/ 8026400 h 8260080"/>
              <a:gd name="connsiteX111" fmla="*/ 1016000 w 3505200"/>
              <a:gd name="connsiteY111" fmla="*/ 7863840 h 8260080"/>
              <a:gd name="connsiteX112" fmla="*/ 1107440 w 3505200"/>
              <a:gd name="connsiteY112" fmla="*/ 7894320 h 8260080"/>
              <a:gd name="connsiteX113" fmla="*/ 1127760 w 3505200"/>
              <a:gd name="connsiteY113" fmla="*/ 7853680 h 8260080"/>
              <a:gd name="connsiteX114" fmla="*/ 1066800 w 3505200"/>
              <a:gd name="connsiteY114" fmla="*/ 7813040 h 8260080"/>
              <a:gd name="connsiteX115" fmla="*/ 1137920 w 3505200"/>
              <a:gd name="connsiteY115" fmla="*/ 7762240 h 8260080"/>
              <a:gd name="connsiteX116" fmla="*/ 1330960 w 3505200"/>
              <a:gd name="connsiteY116" fmla="*/ 7802880 h 8260080"/>
              <a:gd name="connsiteX117" fmla="*/ 1361440 w 3505200"/>
              <a:gd name="connsiteY117" fmla="*/ 7772400 h 8260080"/>
              <a:gd name="connsiteX118" fmla="*/ 1483360 w 3505200"/>
              <a:gd name="connsiteY118" fmla="*/ 7823200 h 8260080"/>
              <a:gd name="connsiteX119" fmla="*/ 1554480 w 3505200"/>
              <a:gd name="connsiteY119" fmla="*/ 7731760 h 8260080"/>
              <a:gd name="connsiteX120" fmla="*/ 1524000 w 3505200"/>
              <a:gd name="connsiteY120" fmla="*/ 7640320 h 8260080"/>
              <a:gd name="connsiteX121" fmla="*/ 1645920 w 3505200"/>
              <a:gd name="connsiteY121" fmla="*/ 7437120 h 8260080"/>
              <a:gd name="connsiteX122" fmla="*/ 1635760 w 3505200"/>
              <a:gd name="connsiteY122" fmla="*/ 7335520 h 8260080"/>
              <a:gd name="connsiteX123" fmla="*/ 1696720 w 3505200"/>
              <a:gd name="connsiteY123" fmla="*/ 7223760 h 8260080"/>
              <a:gd name="connsiteX124" fmla="*/ 1625600 w 3505200"/>
              <a:gd name="connsiteY124" fmla="*/ 7172960 h 8260080"/>
              <a:gd name="connsiteX125" fmla="*/ 1747520 w 3505200"/>
              <a:gd name="connsiteY125" fmla="*/ 6990080 h 8260080"/>
              <a:gd name="connsiteX126" fmla="*/ 1666240 w 3505200"/>
              <a:gd name="connsiteY126" fmla="*/ 6939280 h 8260080"/>
              <a:gd name="connsiteX127" fmla="*/ 1737360 w 3505200"/>
              <a:gd name="connsiteY127" fmla="*/ 6888480 h 8260080"/>
              <a:gd name="connsiteX128" fmla="*/ 1645920 w 3505200"/>
              <a:gd name="connsiteY128" fmla="*/ 6776720 h 8260080"/>
              <a:gd name="connsiteX129" fmla="*/ 1808480 w 3505200"/>
              <a:gd name="connsiteY129" fmla="*/ 6715760 h 8260080"/>
              <a:gd name="connsiteX130" fmla="*/ 1727200 w 3505200"/>
              <a:gd name="connsiteY130" fmla="*/ 6614160 h 8260080"/>
              <a:gd name="connsiteX131" fmla="*/ 1686560 w 3505200"/>
              <a:gd name="connsiteY131" fmla="*/ 6421120 h 8260080"/>
              <a:gd name="connsiteX132" fmla="*/ 1889760 w 3505200"/>
              <a:gd name="connsiteY132" fmla="*/ 6299200 h 8260080"/>
              <a:gd name="connsiteX133" fmla="*/ 1940560 w 3505200"/>
              <a:gd name="connsiteY133" fmla="*/ 6228080 h 8260080"/>
              <a:gd name="connsiteX134" fmla="*/ 2032000 w 3505200"/>
              <a:gd name="connsiteY134" fmla="*/ 6136640 h 8260080"/>
              <a:gd name="connsiteX135" fmla="*/ 2011680 w 3505200"/>
              <a:gd name="connsiteY135" fmla="*/ 6014720 h 8260080"/>
              <a:gd name="connsiteX136" fmla="*/ 2123440 w 3505200"/>
              <a:gd name="connsiteY136" fmla="*/ 6065520 h 8260080"/>
              <a:gd name="connsiteX137" fmla="*/ 2092960 w 3505200"/>
              <a:gd name="connsiteY137" fmla="*/ 6167120 h 8260080"/>
              <a:gd name="connsiteX138" fmla="*/ 2286000 w 3505200"/>
              <a:gd name="connsiteY138" fmla="*/ 5933440 h 8260080"/>
              <a:gd name="connsiteX139" fmla="*/ 2255520 w 3505200"/>
              <a:gd name="connsiteY139" fmla="*/ 5801360 h 8260080"/>
              <a:gd name="connsiteX140" fmla="*/ 2448560 w 3505200"/>
              <a:gd name="connsiteY140" fmla="*/ 5598160 h 8260080"/>
              <a:gd name="connsiteX141" fmla="*/ 2357120 w 3505200"/>
              <a:gd name="connsiteY141" fmla="*/ 5435600 h 8260080"/>
              <a:gd name="connsiteX142" fmla="*/ 2225040 w 3505200"/>
              <a:gd name="connsiteY142" fmla="*/ 5415280 h 8260080"/>
              <a:gd name="connsiteX143" fmla="*/ 2103120 w 3505200"/>
              <a:gd name="connsiteY143" fmla="*/ 5222240 h 8260080"/>
              <a:gd name="connsiteX144" fmla="*/ 2092960 w 3505200"/>
              <a:gd name="connsiteY144" fmla="*/ 5110480 h 8260080"/>
              <a:gd name="connsiteX145" fmla="*/ 2052320 w 3505200"/>
              <a:gd name="connsiteY145" fmla="*/ 5151120 h 8260080"/>
              <a:gd name="connsiteX146" fmla="*/ 2042160 w 3505200"/>
              <a:gd name="connsiteY146" fmla="*/ 5242560 h 8260080"/>
              <a:gd name="connsiteX147" fmla="*/ 1981200 w 3505200"/>
              <a:gd name="connsiteY147" fmla="*/ 5191760 h 8260080"/>
              <a:gd name="connsiteX148" fmla="*/ 2011680 w 3505200"/>
              <a:gd name="connsiteY148" fmla="*/ 5120640 h 8260080"/>
              <a:gd name="connsiteX149" fmla="*/ 1930400 w 3505200"/>
              <a:gd name="connsiteY149" fmla="*/ 5100320 h 8260080"/>
              <a:gd name="connsiteX150" fmla="*/ 1859280 w 3505200"/>
              <a:gd name="connsiteY150" fmla="*/ 4917440 h 8260080"/>
              <a:gd name="connsiteX151" fmla="*/ 1828800 w 3505200"/>
              <a:gd name="connsiteY151" fmla="*/ 4622800 h 8260080"/>
              <a:gd name="connsiteX152" fmla="*/ 1910080 w 3505200"/>
              <a:gd name="connsiteY152" fmla="*/ 4419600 h 8260080"/>
              <a:gd name="connsiteX153" fmla="*/ 1920240 w 3505200"/>
              <a:gd name="connsiteY153" fmla="*/ 4277360 h 8260080"/>
              <a:gd name="connsiteX154" fmla="*/ 1971040 w 3505200"/>
              <a:gd name="connsiteY154" fmla="*/ 4124960 h 8260080"/>
              <a:gd name="connsiteX155" fmla="*/ 1879600 w 3505200"/>
              <a:gd name="connsiteY155" fmla="*/ 4023360 h 8260080"/>
              <a:gd name="connsiteX156" fmla="*/ 2072640 w 3505200"/>
              <a:gd name="connsiteY156" fmla="*/ 4003040 h 8260080"/>
              <a:gd name="connsiteX157" fmla="*/ 2092960 w 3505200"/>
              <a:gd name="connsiteY157" fmla="*/ 3850640 h 8260080"/>
              <a:gd name="connsiteX158" fmla="*/ 2001520 w 3505200"/>
              <a:gd name="connsiteY158" fmla="*/ 3728720 h 8260080"/>
              <a:gd name="connsiteX159" fmla="*/ 2164080 w 3505200"/>
              <a:gd name="connsiteY159" fmla="*/ 3769360 h 8260080"/>
              <a:gd name="connsiteX160" fmla="*/ 2265680 w 3505200"/>
              <a:gd name="connsiteY160" fmla="*/ 3566160 h 8260080"/>
              <a:gd name="connsiteX161" fmla="*/ 2336800 w 3505200"/>
              <a:gd name="connsiteY161" fmla="*/ 3515360 h 8260080"/>
              <a:gd name="connsiteX162" fmla="*/ 2367280 w 3505200"/>
              <a:gd name="connsiteY162" fmla="*/ 3362960 h 8260080"/>
              <a:gd name="connsiteX163" fmla="*/ 2489200 w 3505200"/>
              <a:gd name="connsiteY163" fmla="*/ 3423920 h 8260080"/>
              <a:gd name="connsiteX164" fmla="*/ 2560320 w 3505200"/>
              <a:gd name="connsiteY164" fmla="*/ 3302000 h 8260080"/>
              <a:gd name="connsiteX165" fmla="*/ 2743200 w 3505200"/>
              <a:gd name="connsiteY165" fmla="*/ 3149600 h 8260080"/>
              <a:gd name="connsiteX166" fmla="*/ 2844800 w 3505200"/>
              <a:gd name="connsiteY166" fmla="*/ 3088640 h 8260080"/>
              <a:gd name="connsiteX167" fmla="*/ 2804160 w 3505200"/>
              <a:gd name="connsiteY167" fmla="*/ 2966720 h 8260080"/>
              <a:gd name="connsiteX168" fmla="*/ 2976880 w 3505200"/>
              <a:gd name="connsiteY168" fmla="*/ 2763520 h 8260080"/>
              <a:gd name="connsiteX169" fmla="*/ 2794000 w 3505200"/>
              <a:gd name="connsiteY169" fmla="*/ 2621280 h 8260080"/>
              <a:gd name="connsiteX170" fmla="*/ 2946400 w 3505200"/>
              <a:gd name="connsiteY170" fmla="*/ 2377440 h 8260080"/>
              <a:gd name="connsiteX171" fmla="*/ 2854960 w 3505200"/>
              <a:gd name="connsiteY171" fmla="*/ 2255520 h 8260080"/>
              <a:gd name="connsiteX172" fmla="*/ 3027680 w 3505200"/>
              <a:gd name="connsiteY172" fmla="*/ 2113280 h 8260080"/>
              <a:gd name="connsiteX173" fmla="*/ 3119120 w 3505200"/>
              <a:gd name="connsiteY173" fmla="*/ 2021840 h 8260080"/>
              <a:gd name="connsiteX174" fmla="*/ 3027680 w 3505200"/>
              <a:gd name="connsiteY174" fmla="*/ 1960880 h 8260080"/>
              <a:gd name="connsiteX175" fmla="*/ 3139440 w 3505200"/>
              <a:gd name="connsiteY175" fmla="*/ 1869440 h 8260080"/>
              <a:gd name="connsiteX176" fmla="*/ 3281680 w 3505200"/>
              <a:gd name="connsiteY176" fmla="*/ 1950720 h 8260080"/>
              <a:gd name="connsiteX177" fmla="*/ 3403600 w 3505200"/>
              <a:gd name="connsiteY177" fmla="*/ 1889760 h 8260080"/>
              <a:gd name="connsiteX178" fmla="*/ 3505200 w 3505200"/>
              <a:gd name="connsiteY178" fmla="*/ 1910080 h 8260080"/>
              <a:gd name="connsiteX179" fmla="*/ 3444240 w 3505200"/>
              <a:gd name="connsiteY179" fmla="*/ 1656080 h 8260080"/>
              <a:gd name="connsiteX180" fmla="*/ 3373120 w 3505200"/>
              <a:gd name="connsiteY180" fmla="*/ 1635760 h 8260080"/>
              <a:gd name="connsiteX181" fmla="*/ 3352800 w 3505200"/>
              <a:gd name="connsiteY181" fmla="*/ 1503680 h 8260080"/>
              <a:gd name="connsiteX182" fmla="*/ 3444240 w 3505200"/>
              <a:gd name="connsiteY182" fmla="*/ 1412240 h 8260080"/>
              <a:gd name="connsiteX183" fmla="*/ 3393440 w 3505200"/>
              <a:gd name="connsiteY183" fmla="*/ 1280160 h 8260080"/>
              <a:gd name="connsiteX184" fmla="*/ 3434080 w 3505200"/>
              <a:gd name="connsiteY184" fmla="*/ 1249680 h 8260080"/>
              <a:gd name="connsiteX185" fmla="*/ 3281680 w 3505200"/>
              <a:gd name="connsiteY185" fmla="*/ 1066800 h 8260080"/>
              <a:gd name="connsiteX186" fmla="*/ 3383280 w 3505200"/>
              <a:gd name="connsiteY186" fmla="*/ 975360 h 8260080"/>
              <a:gd name="connsiteX187" fmla="*/ 3302000 w 3505200"/>
              <a:gd name="connsiteY187" fmla="*/ 924560 h 8260080"/>
              <a:gd name="connsiteX188" fmla="*/ 3190240 w 3505200"/>
              <a:gd name="connsiteY188" fmla="*/ 944880 h 8260080"/>
              <a:gd name="connsiteX189" fmla="*/ 3281680 w 3505200"/>
              <a:gd name="connsiteY189" fmla="*/ 792480 h 8260080"/>
              <a:gd name="connsiteX190" fmla="*/ 3210560 w 3505200"/>
              <a:gd name="connsiteY190" fmla="*/ 650240 h 8260080"/>
              <a:gd name="connsiteX191" fmla="*/ 3302000 w 3505200"/>
              <a:gd name="connsiteY191" fmla="*/ 568960 h 8260080"/>
              <a:gd name="connsiteX192" fmla="*/ 3190240 w 3505200"/>
              <a:gd name="connsiteY192" fmla="*/ 487680 h 8260080"/>
              <a:gd name="connsiteX193" fmla="*/ 3108960 w 3505200"/>
              <a:gd name="connsiteY193" fmla="*/ 528320 h 8260080"/>
              <a:gd name="connsiteX194" fmla="*/ 3108960 w 3505200"/>
              <a:gd name="connsiteY194" fmla="*/ 406400 h 8260080"/>
              <a:gd name="connsiteX195" fmla="*/ 2926080 w 3505200"/>
              <a:gd name="connsiteY195" fmla="*/ 314960 h 8260080"/>
              <a:gd name="connsiteX196" fmla="*/ 2834640 w 3505200"/>
              <a:gd name="connsiteY196" fmla="*/ 355600 h 8260080"/>
              <a:gd name="connsiteX197" fmla="*/ 2682240 w 3505200"/>
              <a:gd name="connsiteY197" fmla="*/ 111760 h 8260080"/>
              <a:gd name="connsiteX198" fmla="*/ 2590800 w 3505200"/>
              <a:gd name="connsiteY198" fmla="*/ 121920 h 8260080"/>
              <a:gd name="connsiteX199" fmla="*/ 2611120 w 3505200"/>
              <a:gd name="connsiteY199" fmla="*/ 0 h 8260080"/>
              <a:gd name="connsiteX200" fmla="*/ 2438400 w 3505200"/>
              <a:gd name="connsiteY20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7242 w 3505200"/>
              <a:gd name="connsiteY78" fmla="*/ 7055296 h 8260080"/>
              <a:gd name="connsiteX79" fmla="*/ 240581 w 3505200"/>
              <a:gd name="connsiteY79" fmla="*/ 6983859 h 8260080"/>
              <a:gd name="connsiteX80" fmla="*/ 247724 w 3505200"/>
              <a:gd name="connsiteY80" fmla="*/ 7031484 h 8260080"/>
              <a:gd name="connsiteX81" fmla="*/ 240582 w 3505200"/>
              <a:gd name="connsiteY81" fmla="*/ 7079109 h 8260080"/>
              <a:gd name="connsiteX82" fmla="*/ 280829 w 3505200"/>
              <a:gd name="connsiteY82" fmla="*/ 7148354 h 8260080"/>
              <a:gd name="connsiteX83" fmla="*/ 242962 w 3505200"/>
              <a:gd name="connsiteY83" fmla="*/ 7226746 h 8260080"/>
              <a:gd name="connsiteX84" fmla="*/ 282892 w 3505200"/>
              <a:gd name="connsiteY84" fmla="*/ 7300436 h 8260080"/>
              <a:gd name="connsiteX85" fmla="*/ 310833 w 3505200"/>
              <a:gd name="connsiteY85" fmla="*/ 7299484 h 8260080"/>
              <a:gd name="connsiteX86" fmla="*/ 319162 w 3505200"/>
              <a:gd name="connsiteY86" fmla="*/ 7310089 h 8260080"/>
              <a:gd name="connsiteX87" fmla="*/ 337026 w 3505200"/>
              <a:gd name="connsiteY87" fmla="*/ 7316154 h 8260080"/>
              <a:gd name="connsiteX88" fmla="*/ 370364 w 3505200"/>
              <a:gd name="connsiteY88" fmla="*/ 7360602 h 8260080"/>
              <a:gd name="connsiteX89" fmla="*/ 447040 w 3505200"/>
              <a:gd name="connsiteY89" fmla="*/ 7366000 h 8260080"/>
              <a:gd name="connsiteX90" fmla="*/ 447040 w 3505200"/>
              <a:gd name="connsiteY90" fmla="*/ 7477760 h 8260080"/>
              <a:gd name="connsiteX91" fmla="*/ 558800 w 3505200"/>
              <a:gd name="connsiteY91" fmla="*/ 7528560 h 8260080"/>
              <a:gd name="connsiteX92" fmla="*/ 508000 w 3505200"/>
              <a:gd name="connsiteY92" fmla="*/ 7630160 h 8260080"/>
              <a:gd name="connsiteX93" fmla="*/ 436880 w 3505200"/>
              <a:gd name="connsiteY93" fmla="*/ 7609840 h 8260080"/>
              <a:gd name="connsiteX94" fmla="*/ 447040 w 3505200"/>
              <a:gd name="connsiteY94" fmla="*/ 7691120 h 8260080"/>
              <a:gd name="connsiteX95" fmla="*/ 518160 w 3505200"/>
              <a:gd name="connsiteY95" fmla="*/ 7741920 h 8260080"/>
              <a:gd name="connsiteX96" fmla="*/ 457200 w 3505200"/>
              <a:gd name="connsiteY96" fmla="*/ 7792720 h 8260080"/>
              <a:gd name="connsiteX97" fmla="*/ 396240 w 3505200"/>
              <a:gd name="connsiteY97" fmla="*/ 7701280 h 8260080"/>
              <a:gd name="connsiteX98" fmla="*/ 396240 w 3505200"/>
              <a:gd name="connsiteY98" fmla="*/ 7701280 h 8260080"/>
              <a:gd name="connsiteX99" fmla="*/ 436880 w 3505200"/>
              <a:gd name="connsiteY99" fmla="*/ 7874000 h 8260080"/>
              <a:gd name="connsiteX100" fmla="*/ 436880 w 3505200"/>
              <a:gd name="connsiteY100" fmla="*/ 7924800 h 8260080"/>
              <a:gd name="connsiteX101" fmla="*/ 548640 w 3505200"/>
              <a:gd name="connsiteY101" fmla="*/ 7965440 h 8260080"/>
              <a:gd name="connsiteX102" fmla="*/ 508000 w 3505200"/>
              <a:gd name="connsiteY102" fmla="*/ 8016240 h 8260080"/>
              <a:gd name="connsiteX103" fmla="*/ 589280 w 3505200"/>
              <a:gd name="connsiteY103" fmla="*/ 8056880 h 8260080"/>
              <a:gd name="connsiteX104" fmla="*/ 497840 w 3505200"/>
              <a:gd name="connsiteY104" fmla="*/ 8117840 h 8260080"/>
              <a:gd name="connsiteX105" fmla="*/ 518160 w 3505200"/>
              <a:gd name="connsiteY105" fmla="*/ 8209280 h 8260080"/>
              <a:gd name="connsiteX106" fmla="*/ 640080 w 3505200"/>
              <a:gd name="connsiteY106" fmla="*/ 8260080 h 8260080"/>
              <a:gd name="connsiteX107" fmla="*/ 731520 w 3505200"/>
              <a:gd name="connsiteY107" fmla="*/ 8219440 h 8260080"/>
              <a:gd name="connsiteX108" fmla="*/ 853440 w 3505200"/>
              <a:gd name="connsiteY108" fmla="*/ 8209280 h 8260080"/>
              <a:gd name="connsiteX109" fmla="*/ 955040 w 3505200"/>
              <a:gd name="connsiteY109" fmla="*/ 8260080 h 8260080"/>
              <a:gd name="connsiteX110" fmla="*/ 965200 w 3505200"/>
              <a:gd name="connsiteY110" fmla="*/ 8107680 h 8260080"/>
              <a:gd name="connsiteX111" fmla="*/ 894080 w 3505200"/>
              <a:gd name="connsiteY111" fmla="*/ 8026400 h 8260080"/>
              <a:gd name="connsiteX112" fmla="*/ 1016000 w 3505200"/>
              <a:gd name="connsiteY112" fmla="*/ 7863840 h 8260080"/>
              <a:gd name="connsiteX113" fmla="*/ 1107440 w 3505200"/>
              <a:gd name="connsiteY113" fmla="*/ 7894320 h 8260080"/>
              <a:gd name="connsiteX114" fmla="*/ 1127760 w 3505200"/>
              <a:gd name="connsiteY114" fmla="*/ 7853680 h 8260080"/>
              <a:gd name="connsiteX115" fmla="*/ 1066800 w 3505200"/>
              <a:gd name="connsiteY115" fmla="*/ 7813040 h 8260080"/>
              <a:gd name="connsiteX116" fmla="*/ 1137920 w 3505200"/>
              <a:gd name="connsiteY116" fmla="*/ 7762240 h 8260080"/>
              <a:gd name="connsiteX117" fmla="*/ 1330960 w 3505200"/>
              <a:gd name="connsiteY117" fmla="*/ 7802880 h 8260080"/>
              <a:gd name="connsiteX118" fmla="*/ 1361440 w 3505200"/>
              <a:gd name="connsiteY118" fmla="*/ 7772400 h 8260080"/>
              <a:gd name="connsiteX119" fmla="*/ 1483360 w 3505200"/>
              <a:gd name="connsiteY119" fmla="*/ 7823200 h 8260080"/>
              <a:gd name="connsiteX120" fmla="*/ 1554480 w 3505200"/>
              <a:gd name="connsiteY120" fmla="*/ 7731760 h 8260080"/>
              <a:gd name="connsiteX121" fmla="*/ 1524000 w 3505200"/>
              <a:gd name="connsiteY121" fmla="*/ 7640320 h 8260080"/>
              <a:gd name="connsiteX122" fmla="*/ 1645920 w 3505200"/>
              <a:gd name="connsiteY122" fmla="*/ 7437120 h 8260080"/>
              <a:gd name="connsiteX123" fmla="*/ 1635760 w 3505200"/>
              <a:gd name="connsiteY123" fmla="*/ 7335520 h 8260080"/>
              <a:gd name="connsiteX124" fmla="*/ 1696720 w 3505200"/>
              <a:gd name="connsiteY124" fmla="*/ 7223760 h 8260080"/>
              <a:gd name="connsiteX125" fmla="*/ 1625600 w 3505200"/>
              <a:gd name="connsiteY125" fmla="*/ 7172960 h 8260080"/>
              <a:gd name="connsiteX126" fmla="*/ 1747520 w 3505200"/>
              <a:gd name="connsiteY126" fmla="*/ 6990080 h 8260080"/>
              <a:gd name="connsiteX127" fmla="*/ 1666240 w 3505200"/>
              <a:gd name="connsiteY127" fmla="*/ 6939280 h 8260080"/>
              <a:gd name="connsiteX128" fmla="*/ 1737360 w 3505200"/>
              <a:gd name="connsiteY128" fmla="*/ 6888480 h 8260080"/>
              <a:gd name="connsiteX129" fmla="*/ 1645920 w 3505200"/>
              <a:gd name="connsiteY129" fmla="*/ 6776720 h 8260080"/>
              <a:gd name="connsiteX130" fmla="*/ 1808480 w 3505200"/>
              <a:gd name="connsiteY130" fmla="*/ 6715760 h 8260080"/>
              <a:gd name="connsiteX131" fmla="*/ 1727200 w 3505200"/>
              <a:gd name="connsiteY131" fmla="*/ 6614160 h 8260080"/>
              <a:gd name="connsiteX132" fmla="*/ 1686560 w 3505200"/>
              <a:gd name="connsiteY132" fmla="*/ 6421120 h 8260080"/>
              <a:gd name="connsiteX133" fmla="*/ 1889760 w 3505200"/>
              <a:gd name="connsiteY133" fmla="*/ 6299200 h 8260080"/>
              <a:gd name="connsiteX134" fmla="*/ 1940560 w 3505200"/>
              <a:gd name="connsiteY134" fmla="*/ 6228080 h 8260080"/>
              <a:gd name="connsiteX135" fmla="*/ 2032000 w 3505200"/>
              <a:gd name="connsiteY135" fmla="*/ 6136640 h 8260080"/>
              <a:gd name="connsiteX136" fmla="*/ 2011680 w 3505200"/>
              <a:gd name="connsiteY136" fmla="*/ 6014720 h 8260080"/>
              <a:gd name="connsiteX137" fmla="*/ 2123440 w 3505200"/>
              <a:gd name="connsiteY137" fmla="*/ 6065520 h 8260080"/>
              <a:gd name="connsiteX138" fmla="*/ 2092960 w 3505200"/>
              <a:gd name="connsiteY138" fmla="*/ 6167120 h 8260080"/>
              <a:gd name="connsiteX139" fmla="*/ 2286000 w 3505200"/>
              <a:gd name="connsiteY139" fmla="*/ 5933440 h 8260080"/>
              <a:gd name="connsiteX140" fmla="*/ 2255520 w 3505200"/>
              <a:gd name="connsiteY140" fmla="*/ 5801360 h 8260080"/>
              <a:gd name="connsiteX141" fmla="*/ 2448560 w 3505200"/>
              <a:gd name="connsiteY141" fmla="*/ 5598160 h 8260080"/>
              <a:gd name="connsiteX142" fmla="*/ 2357120 w 3505200"/>
              <a:gd name="connsiteY142" fmla="*/ 5435600 h 8260080"/>
              <a:gd name="connsiteX143" fmla="*/ 2225040 w 3505200"/>
              <a:gd name="connsiteY143" fmla="*/ 5415280 h 8260080"/>
              <a:gd name="connsiteX144" fmla="*/ 2103120 w 3505200"/>
              <a:gd name="connsiteY144" fmla="*/ 5222240 h 8260080"/>
              <a:gd name="connsiteX145" fmla="*/ 2092960 w 3505200"/>
              <a:gd name="connsiteY145" fmla="*/ 5110480 h 8260080"/>
              <a:gd name="connsiteX146" fmla="*/ 2052320 w 3505200"/>
              <a:gd name="connsiteY146" fmla="*/ 5151120 h 8260080"/>
              <a:gd name="connsiteX147" fmla="*/ 2042160 w 3505200"/>
              <a:gd name="connsiteY147" fmla="*/ 5242560 h 8260080"/>
              <a:gd name="connsiteX148" fmla="*/ 1981200 w 3505200"/>
              <a:gd name="connsiteY148" fmla="*/ 5191760 h 8260080"/>
              <a:gd name="connsiteX149" fmla="*/ 2011680 w 3505200"/>
              <a:gd name="connsiteY149" fmla="*/ 5120640 h 8260080"/>
              <a:gd name="connsiteX150" fmla="*/ 1930400 w 3505200"/>
              <a:gd name="connsiteY150" fmla="*/ 5100320 h 8260080"/>
              <a:gd name="connsiteX151" fmla="*/ 1859280 w 3505200"/>
              <a:gd name="connsiteY151" fmla="*/ 4917440 h 8260080"/>
              <a:gd name="connsiteX152" fmla="*/ 1828800 w 3505200"/>
              <a:gd name="connsiteY152" fmla="*/ 4622800 h 8260080"/>
              <a:gd name="connsiteX153" fmla="*/ 1910080 w 3505200"/>
              <a:gd name="connsiteY153" fmla="*/ 4419600 h 8260080"/>
              <a:gd name="connsiteX154" fmla="*/ 1920240 w 3505200"/>
              <a:gd name="connsiteY154" fmla="*/ 4277360 h 8260080"/>
              <a:gd name="connsiteX155" fmla="*/ 1971040 w 3505200"/>
              <a:gd name="connsiteY155" fmla="*/ 4124960 h 8260080"/>
              <a:gd name="connsiteX156" fmla="*/ 1879600 w 3505200"/>
              <a:gd name="connsiteY156" fmla="*/ 4023360 h 8260080"/>
              <a:gd name="connsiteX157" fmla="*/ 2072640 w 3505200"/>
              <a:gd name="connsiteY157" fmla="*/ 4003040 h 8260080"/>
              <a:gd name="connsiteX158" fmla="*/ 2092960 w 3505200"/>
              <a:gd name="connsiteY158" fmla="*/ 3850640 h 8260080"/>
              <a:gd name="connsiteX159" fmla="*/ 2001520 w 3505200"/>
              <a:gd name="connsiteY159" fmla="*/ 3728720 h 8260080"/>
              <a:gd name="connsiteX160" fmla="*/ 2164080 w 3505200"/>
              <a:gd name="connsiteY160" fmla="*/ 3769360 h 8260080"/>
              <a:gd name="connsiteX161" fmla="*/ 2265680 w 3505200"/>
              <a:gd name="connsiteY161" fmla="*/ 3566160 h 8260080"/>
              <a:gd name="connsiteX162" fmla="*/ 2336800 w 3505200"/>
              <a:gd name="connsiteY162" fmla="*/ 3515360 h 8260080"/>
              <a:gd name="connsiteX163" fmla="*/ 2367280 w 3505200"/>
              <a:gd name="connsiteY163" fmla="*/ 3362960 h 8260080"/>
              <a:gd name="connsiteX164" fmla="*/ 2489200 w 3505200"/>
              <a:gd name="connsiteY164" fmla="*/ 3423920 h 8260080"/>
              <a:gd name="connsiteX165" fmla="*/ 2560320 w 3505200"/>
              <a:gd name="connsiteY165" fmla="*/ 3302000 h 8260080"/>
              <a:gd name="connsiteX166" fmla="*/ 2743200 w 3505200"/>
              <a:gd name="connsiteY166" fmla="*/ 3149600 h 8260080"/>
              <a:gd name="connsiteX167" fmla="*/ 2844800 w 3505200"/>
              <a:gd name="connsiteY167" fmla="*/ 3088640 h 8260080"/>
              <a:gd name="connsiteX168" fmla="*/ 2804160 w 3505200"/>
              <a:gd name="connsiteY168" fmla="*/ 2966720 h 8260080"/>
              <a:gd name="connsiteX169" fmla="*/ 2976880 w 3505200"/>
              <a:gd name="connsiteY169" fmla="*/ 2763520 h 8260080"/>
              <a:gd name="connsiteX170" fmla="*/ 2794000 w 3505200"/>
              <a:gd name="connsiteY170" fmla="*/ 2621280 h 8260080"/>
              <a:gd name="connsiteX171" fmla="*/ 2946400 w 3505200"/>
              <a:gd name="connsiteY171" fmla="*/ 2377440 h 8260080"/>
              <a:gd name="connsiteX172" fmla="*/ 2854960 w 3505200"/>
              <a:gd name="connsiteY172" fmla="*/ 2255520 h 8260080"/>
              <a:gd name="connsiteX173" fmla="*/ 3027680 w 3505200"/>
              <a:gd name="connsiteY173" fmla="*/ 2113280 h 8260080"/>
              <a:gd name="connsiteX174" fmla="*/ 3119120 w 3505200"/>
              <a:gd name="connsiteY174" fmla="*/ 2021840 h 8260080"/>
              <a:gd name="connsiteX175" fmla="*/ 3027680 w 3505200"/>
              <a:gd name="connsiteY175" fmla="*/ 1960880 h 8260080"/>
              <a:gd name="connsiteX176" fmla="*/ 3139440 w 3505200"/>
              <a:gd name="connsiteY176" fmla="*/ 1869440 h 8260080"/>
              <a:gd name="connsiteX177" fmla="*/ 3281680 w 3505200"/>
              <a:gd name="connsiteY177" fmla="*/ 1950720 h 8260080"/>
              <a:gd name="connsiteX178" fmla="*/ 3403600 w 3505200"/>
              <a:gd name="connsiteY178" fmla="*/ 1889760 h 8260080"/>
              <a:gd name="connsiteX179" fmla="*/ 3505200 w 3505200"/>
              <a:gd name="connsiteY179" fmla="*/ 1910080 h 8260080"/>
              <a:gd name="connsiteX180" fmla="*/ 3444240 w 3505200"/>
              <a:gd name="connsiteY180" fmla="*/ 1656080 h 8260080"/>
              <a:gd name="connsiteX181" fmla="*/ 3373120 w 3505200"/>
              <a:gd name="connsiteY181" fmla="*/ 1635760 h 8260080"/>
              <a:gd name="connsiteX182" fmla="*/ 3352800 w 3505200"/>
              <a:gd name="connsiteY182" fmla="*/ 1503680 h 8260080"/>
              <a:gd name="connsiteX183" fmla="*/ 3444240 w 3505200"/>
              <a:gd name="connsiteY183" fmla="*/ 1412240 h 8260080"/>
              <a:gd name="connsiteX184" fmla="*/ 3393440 w 3505200"/>
              <a:gd name="connsiteY184" fmla="*/ 1280160 h 8260080"/>
              <a:gd name="connsiteX185" fmla="*/ 3434080 w 3505200"/>
              <a:gd name="connsiteY185" fmla="*/ 1249680 h 8260080"/>
              <a:gd name="connsiteX186" fmla="*/ 3281680 w 3505200"/>
              <a:gd name="connsiteY186" fmla="*/ 1066800 h 8260080"/>
              <a:gd name="connsiteX187" fmla="*/ 3383280 w 3505200"/>
              <a:gd name="connsiteY187" fmla="*/ 975360 h 8260080"/>
              <a:gd name="connsiteX188" fmla="*/ 3302000 w 3505200"/>
              <a:gd name="connsiteY188" fmla="*/ 924560 h 8260080"/>
              <a:gd name="connsiteX189" fmla="*/ 3190240 w 3505200"/>
              <a:gd name="connsiteY189" fmla="*/ 944880 h 8260080"/>
              <a:gd name="connsiteX190" fmla="*/ 3281680 w 3505200"/>
              <a:gd name="connsiteY190" fmla="*/ 792480 h 8260080"/>
              <a:gd name="connsiteX191" fmla="*/ 3210560 w 3505200"/>
              <a:gd name="connsiteY191" fmla="*/ 650240 h 8260080"/>
              <a:gd name="connsiteX192" fmla="*/ 3302000 w 3505200"/>
              <a:gd name="connsiteY192" fmla="*/ 568960 h 8260080"/>
              <a:gd name="connsiteX193" fmla="*/ 3190240 w 3505200"/>
              <a:gd name="connsiteY193" fmla="*/ 487680 h 8260080"/>
              <a:gd name="connsiteX194" fmla="*/ 3108960 w 3505200"/>
              <a:gd name="connsiteY194" fmla="*/ 528320 h 8260080"/>
              <a:gd name="connsiteX195" fmla="*/ 3108960 w 3505200"/>
              <a:gd name="connsiteY195" fmla="*/ 406400 h 8260080"/>
              <a:gd name="connsiteX196" fmla="*/ 2926080 w 3505200"/>
              <a:gd name="connsiteY196" fmla="*/ 314960 h 8260080"/>
              <a:gd name="connsiteX197" fmla="*/ 2834640 w 3505200"/>
              <a:gd name="connsiteY197" fmla="*/ 355600 h 8260080"/>
              <a:gd name="connsiteX198" fmla="*/ 2682240 w 3505200"/>
              <a:gd name="connsiteY198" fmla="*/ 111760 h 8260080"/>
              <a:gd name="connsiteX199" fmla="*/ 2590800 w 3505200"/>
              <a:gd name="connsiteY199" fmla="*/ 121920 h 8260080"/>
              <a:gd name="connsiteX200" fmla="*/ 2611120 w 3505200"/>
              <a:gd name="connsiteY200" fmla="*/ 0 h 8260080"/>
              <a:gd name="connsiteX201" fmla="*/ 2438400 w 3505200"/>
              <a:gd name="connsiteY20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7242 w 3505200"/>
              <a:gd name="connsiteY78" fmla="*/ 7055296 h 8260080"/>
              <a:gd name="connsiteX79" fmla="*/ 21438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196129 w 3505200"/>
              <a:gd name="connsiteY78" fmla="*/ 7052121 h 8260080"/>
              <a:gd name="connsiteX79" fmla="*/ 21438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196129 w 3505200"/>
              <a:gd name="connsiteY78" fmla="*/ 7052121 h 8260080"/>
              <a:gd name="connsiteX79" fmla="*/ 20803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196129 w 3505200"/>
              <a:gd name="connsiteY78" fmla="*/ 7052121 h 8260080"/>
              <a:gd name="connsiteX79" fmla="*/ 20803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891 w 3505200"/>
              <a:gd name="connsiteY78" fmla="*/ 7066409 h 8260080"/>
              <a:gd name="connsiteX79" fmla="*/ 20803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891 w 3505200"/>
              <a:gd name="connsiteY78" fmla="*/ 7066409 h 8260080"/>
              <a:gd name="connsiteX79" fmla="*/ 20803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891 w 3505200"/>
              <a:gd name="connsiteY78" fmla="*/ 7066409 h 8260080"/>
              <a:gd name="connsiteX79" fmla="*/ 20803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891 w 3505200"/>
              <a:gd name="connsiteY78" fmla="*/ 7066409 h 8260080"/>
              <a:gd name="connsiteX79" fmla="*/ 208037 w 3505200"/>
              <a:gd name="connsiteY79" fmla="*/ 7014815 h 8260080"/>
              <a:gd name="connsiteX80" fmla="*/ 240581 w 3505200"/>
              <a:gd name="connsiteY80" fmla="*/ 6983859 h 8260080"/>
              <a:gd name="connsiteX81" fmla="*/ 262012 w 3505200"/>
              <a:gd name="connsiteY81" fmla="*/ 7020371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891 w 3505200"/>
              <a:gd name="connsiteY78" fmla="*/ 7066409 h 8260080"/>
              <a:gd name="connsiteX79" fmla="*/ 208037 w 3505200"/>
              <a:gd name="connsiteY79" fmla="*/ 7014815 h 8260080"/>
              <a:gd name="connsiteX80" fmla="*/ 240581 w 3505200"/>
              <a:gd name="connsiteY80" fmla="*/ 6950522 h 8260080"/>
              <a:gd name="connsiteX81" fmla="*/ 262012 w 3505200"/>
              <a:gd name="connsiteY81" fmla="*/ 7020371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194541 w 3505200"/>
              <a:gd name="connsiteY78" fmla="*/ 7034659 h 8260080"/>
              <a:gd name="connsiteX79" fmla="*/ 208037 w 3505200"/>
              <a:gd name="connsiteY79" fmla="*/ 7014815 h 8260080"/>
              <a:gd name="connsiteX80" fmla="*/ 240581 w 3505200"/>
              <a:gd name="connsiteY80" fmla="*/ 6950522 h 8260080"/>
              <a:gd name="connsiteX81" fmla="*/ 262012 w 3505200"/>
              <a:gd name="connsiteY81" fmla="*/ 7020371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188119 w 3505200"/>
              <a:gd name="connsiteY77" fmla="*/ 6996747 h 8260080"/>
              <a:gd name="connsiteX78" fmla="*/ 194541 w 3505200"/>
              <a:gd name="connsiteY78" fmla="*/ 7034659 h 8260080"/>
              <a:gd name="connsiteX79" fmla="*/ 208037 w 3505200"/>
              <a:gd name="connsiteY79" fmla="*/ 7014815 h 8260080"/>
              <a:gd name="connsiteX80" fmla="*/ 240581 w 3505200"/>
              <a:gd name="connsiteY80" fmla="*/ 6950522 h 8260080"/>
              <a:gd name="connsiteX81" fmla="*/ 262012 w 3505200"/>
              <a:gd name="connsiteY81" fmla="*/ 7020371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188119 w 3505200"/>
              <a:gd name="connsiteY77" fmla="*/ 7009447 h 8260080"/>
              <a:gd name="connsiteX78" fmla="*/ 194541 w 3505200"/>
              <a:gd name="connsiteY78" fmla="*/ 7034659 h 8260080"/>
              <a:gd name="connsiteX79" fmla="*/ 208037 w 3505200"/>
              <a:gd name="connsiteY79" fmla="*/ 7014815 h 8260080"/>
              <a:gd name="connsiteX80" fmla="*/ 240581 w 3505200"/>
              <a:gd name="connsiteY80" fmla="*/ 6950522 h 8260080"/>
              <a:gd name="connsiteX81" fmla="*/ 262012 w 3505200"/>
              <a:gd name="connsiteY81" fmla="*/ 7020371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188119 w 3505200"/>
              <a:gd name="connsiteY77" fmla="*/ 7009447 h 8260080"/>
              <a:gd name="connsiteX78" fmla="*/ 194541 w 3505200"/>
              <a:gd name="connsiteY78" fmla="*/ 7034659 h 8260080"/>
              <a:gd name="connsiteX79" fmla="*/ 219149 w 3505200"/>
              <a:gd name="connsiteY79" fmla="*/ 7000528 h 8260080"/>
              <a:gd name="connsiteX80" fmla="*/ 240581 w 3505200"/>
              <a:gd name="connsiteY80" fmla="*/ 6950522 h 8260080"/>
              <a:gd name="connsiteX81" fmla="*/ 262012 w 3505200"/>
              <a:gd name="connsiteY81" fmla="*/ 7020371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188119 w 3505200"/>
              <a:gd name="connsiteY77" fmla="*/ 7009447 h 8260080"/>
              <a:gd name="connsiteX78" fmla="*/ 194541 w 3505200"/>
              <a:gd name="connsiteY78" fmla="*/ 7034659 h 8260080"/>
              <a:gd name="connsiteX79" fmla="*/ 240581 w 3505200"/>
              <a:gd name="connsiteY79" fmla="*/ 6950522 h 8260080"/>
              <a:gd name="connsiteX80" fmla="*/ 262012 w 3505200"/>
              <a:gd name="connsiteY80" fmla="*/ 7020371 h 8260080"/>
              <a:gd name="connsiteX81" fmla="*/ 240582 w 3505200"/>
              <a:gd name="connsiteY81" fmla="*/ 7079109 h 8260080"/>
              <a:gd name="connsiteX82" fmla="*/ 280829 w 3505200"/>
              <a:gd name="connsiteY82" fmla="*/ 7148354 h 8260080"/>
              <a:gd name="connsiteX83" fmla="*/ 242962 w 3505200"/>
              <a:gd name="connsiteY83" fmla="*/ 7226746 h 8260080"/>
              <a:gd name="connsiteX84" fmla="*/ 282892 w 3505200"/>
              <a:gd name="connsiteY84" fmla="*/ 7300436 h 8260080"/>
              <a:gd name="connsiteX85" fmla="*/ 310833 w 3505200"/>
              <a:gd name="connsiteY85" fmla="*/ 7299484 h 8260080"/>
              <a:gd name="connsiteX86" fmla="*/ 319162 w 3505200"/>
              <a:gd name="connsiteY86" fmla="*/ 7310089 h 8260080"/>
              <a:gd name="connsiteX87" fmla="*/ 337026 w 3505200"/>
              <a:gd name="connsiteY87" fmla="*/ 7316154 h 8260080"/>
              <a:gd name="connsiteX88" fmla="*/ 370364 w 3505200"/>
              <a:gd name="connsiteY88" fmla="*/ 7360602 h 8260080"/>
              <a:gd name="connsiteX89" fmla="*/ 447040 w 3505200"/>
              <a:gd name="connsiteY89" fmla="*/ 7366000 h 8260080"/>
              <a:gd name="connsiteX90" fmla="*/ 447040 w 3505200"/>
              <a:gd name="connsiteY90" fmla="*/ 7477760 h 8260080"/>
              <a:gd name="connsiteX91" fmla="*/ 558800 w 3505200"/>
              <a:gd name="connsiteY91" fmla="*/ 7528560 h 8260080"/>
              <a:gd name="connsiteX92" fmla="*/ 508000 w 3505200"/>
              <a:gd name="connsiteY92" fmla="*/ 7630160 h 8260080"/>
              <a:gd name="connsiteX93" fmla="*/ 436880 w 3505200"/>
              <a:gd name="connsiteY93" fmla="*/ 7609840 h 8260080"/>
              <a:gd name="connsiteX94" fmla="*/ 447040 w 3505200"/>
              <a:gd name="connsiteY94" fmla="*/ 7691120 h 8260080"/>
              <a:gd name="connsiteX95" fmla="*/ 518160 w 3505200"/>
              <a:gd name="connsiteY95" fmla="*/ 7741920 h 8260080"/>
              <a:gd name="connsiteX96" fmla="*/ 457200 w 3505200"/>
              <a:gd name="connsiteY96" fmla="*/ 7792720 h 8260080"/>
              <a:gd name="connsiteX97" fmla="*/ 396240 w 3505200"/>
              <a:gd name="connsiteY97" fmla="*/ 7701280 h 8260080"/>
              <a:gd name="connsiteX98" fmla="*/ 396240 w 3505200"/>
              <a:gd name="connsiteY98" fmla="*/ 7701280 h 8260080"/>
              <a:gd name="connsiteX99" fmla="*/ 436880 w 3505200"/>
              <a:gd name="connsiteY99" fmla="*/ 7874000 h 8260080"/>
              <a:gd name="connsiteX100" fmla="*/ 436880 w 3505200"/>
              <a:gd name="connsiteY100" fmla="*/ 7924800 h 8260080"/>
              <a:gd name="connsiteX101" fmla="*/ 548640 w 3505200"/>
              <a:gd name="connsiteY101" fmla="*/ 7965440 h 8260080"/>
              <a:gd name="connsiteX102" fmla="*/ 508000 w 3505200"/>
              <a:gd name="connsiteY102" fmla="*/ 8016240 h 8260080"/>
              <a:gd name="connsiteX103" fmla="*/ 589280 w 3505200"/>
              <a:gd name="connsiteY103" fmla="*/ 8056880 h 8260080"/>
              <a:gd name="connsiteX104" fmla="*/ 497840 w 3505200"/>
              <a:gd name="connsiteY104" fmla="*/ 8117840 h 8260080"/>
              <a:gd name="connsiteX105" fmla="*/ 518160 w 3505200"/>
              <a:gd name="connsiteY105" fmla="*/ 8209280 h 8260080"/>
              <a:gd name="connsiteX106" fmla="*/ 640080 w 3505200"/>
              <a:gd name="connsiteY106" fmla="*/ 8260080 h 8260080"/>
              <a:gd name="connsiteX107" fmla="*/ 731520 w 3505200"/>
              <a:gd name="connsiteY107" fmla="*/ 8219440 h 8260080"/>
              <a:gd name="connsiteX108" fmla="*/ 853440 w 3505200"/>
              <a:gd name="connsiteY108" fmla="*/ 8209280 h 8260080"/>
              <a:gd name="connsiteX109" fmla="*/ 955040 w 3505200"/>
              <a:gd name="connsiteY109" fmla="*/ 8260080 h 8260080"/>
              <a:gd name="connsiteX110" fmla="*/ 965200 w 3505200"/>
              <a:gd name="connsiteY110" fmla="*/ 8107680 h 8260080"/>
              <a:gd name="connsiteX111" fmla="*/ 894080 w 3505200"/>
              <a:gd name="connsiteY111" fmla="*/ 8026400 h 8260080"/>
              <a:gd name="connsiteX112" fmla="*/ 1016000 w 3505200"/>
              <a:gd name="connsiteY112" fmla="*/ 7863840 h 8260080"/>
              <a:gd name="connsiteX113" fmla="*/ 1107440 w 3505200"/>
              <a:gd name="connsiteY113" fmla="*/ 7894320 h 8260080"/>
              <a:gd name="connsiteX114" fmla="*/ 1127760 w 3505200"/>
              <a:gd name="connsiteY114" fmla="*/ 7853680 h 8260080"/>
              <a:gd name="connsiteX115" fmla="*/ 1066800 w 3505200"/>
              <a:gd name="connsiteY115" fmla="*/ 7813040 h 8260080"/>
              <a:gd name="connsiteX116" fmla="*/ 1137920 w 3505200"/>
              <a:gd name="connsiteY116" fmla="*/ 7762240 h 8260080"/>
              <a:gd name="connsiteX117" fmla="*/ 1330960 w 3505200"/>
              <a:gd name="connsiteY117" fmla="*/ 7802880 h 8260080"/>
              <a:gd name="connsiteX118" fmla="*/ 1361440 w 3505200"/>
              <a:gd name="connsiteY118" fmla="*/ 7772400 h 8260080"/>
              <a:gd name="connsiteX119" fmla="*/ 1483360 w 3505200"/>
              <a:gd name="connsiteY119" fmla="*/ 7823200 h 8260080"/>
              <a:gd name="connsiteX120" fmla="*/ 1554480 w 3505200"/>
              <a:gd name="connsiteY120" fmla="*/ 7731760 h 8260080"/>
              <a:gd name="connsiteX121" fmla="*/ 1524000 w 3505200"/>
              <a:gd name="connsiteY121" fmla="*/ 7640320 h 8260080"/>
              <a:gd name="connsiteX122" fmla="*/ 1645920 w 3505200"/>
              <a:gd name="connsiteY122" fmla="*/ 7437120 h 8260080"/>
              <a:gd name="connsiteX123" fmla="*/ 1635760 w 3505200"/>
              <a:gd name="connsiteY123" fmla="*/ 7335520 h 8260080"/>
              <a:gd name="connsiteX124" fmla="*/ 1696720 w 3505200"/>
              <a:gd name="connsiteY124" fmla="*/ 7223760 h 8260080"/>
              <a:gd name="connsiteX125" fmla="*/ 1625600 w 3505200"/>
              <a:gd name="connsiteY125" fmla="*/ 7172960 h 8260080"/>
              <a:gd name="connsiteX126" fmla="*/ 1747520 w 3505200"/>
              <a:gd name="connsiteY126" fmla="*/ 6990080 h 8260080"/>
              <a:gd name="connsiteX127" fmla="*/ 1666240 w 3505200"/>
              <a:gd name="connsiteY127" fmla="*/ 6939280 h 8260080"/>
              <a:gd name="connsiteX128" fmla="*/ 1737360 w 3505200"/>
              <a:gd name="connsiteY128" fmla="*/ 6888480 h 8260080"/>
              <a:gd name="connsiteX129" fmla="*/ 1645920 w 3505200"/>
              <a:gd name="connsiteY129" fmla="*/ 6776720 h 8260080"/>
              <a:gd name="connsiteX130" fmla="*/ 1808480 w 3505200"/>
              <a:gd name="connsiteY130" fmla="*/ 6715760 h 8260080"/>
              <a:gd name="connsiteX131" fmla="*/ 1727200 w 3505200"/>
              <a:gd name="connsiteY131" fmla="*/ 6614160 h 8260080"/>
              <a:gd name="connsiteX132" fmla="*/ 1686560 w 3505200"/>
              <a:gd name="connsiteY132" fmla="*/ 6421120 h 8260080"/>
              <a:gd name="connsiteX133" fmla="*/ 1889760 w 3505200"/>
              <a:gd name="connsiteY133" fmla="*/ 6299200 h 8260080"/>
              <a:gd name="connsiteX134" fmla="*/ 1940560 w 3505200"/>
              <a:gd name="connsiteY134" fmla="*/ 6228080 h 8260080"/>
              <a:gd name="connsiteX135" fmla="*/ 2032000 w 3505200"/>
              <a:gd name="connsiteY135" fmla="*/ 6136640 h 8260080"/>
              <a:gd name="connsiteX136" fmla="*/ 2011680 w 3505200"/>
              <a:gd name="connsiteY136" fmla="*/ 6014720 h 8260080"/>
              <a:gd name="connsiteX137" fmla="*/ 2123440 w 3505200"/>
              <a:gd name="connsiteY137" fmla="*/ 6065520 h 8260080"/>
              <a:gd name="connsiteX138" fmla="*/ 2092960 w 3505200"/>
              <a:gd name="connsiteY138" fmla="*/ 6167120 h 8260080"/>
              <a:gd name="connsiteX139" fmla="*/ 2286000 w 3505200"/>
              <a:gd name="connsiteY139" fmla="*/ 5933440 h 8260080"/>
              <a:gd name="connsiteX140" fmla="*/ 2255520 w 3505200"/>
              <a:gd name="connsiteY140" fmla="*/ 5801360 h 8260080"/>
              <a:gd name="connsiteX141" fmla="*/ 2448560 w 3505200"/>
              <a:gd name="connsiteY141" fmla="*/ 5598160 h 8260080"/>
              <a:gd name="connsiteX142" fmla="*/ 2357120 w 3505200"/>
              <a:gd name="connsiteY142" fmla="*/ 5435600 h 8260080"/>
              <a:gd name="connsiteX143" fmla="*/ 2225040 w 3505200"/>
              <a:gd name="connsiteY143" fmla="*/ 5415280 h 8260080"/>
              <a:gd name="connsiteX144" fmla="*/ 2103120 w 3505200"/>
              <a:gd name="connsiteY144" fmla="*/ 5222240 h 8260080"/>
              <a:gd name="connsiteX145" fmla="*/ 2092960 w 3505200"/>
              <a:gd name="connsiteY145" fmla="*/ 5110480 h 8260080"/>
              <a:gd name="connsiteX146" fmla="*/ 2052320 w 3505200"/>
              <a:gd name="connsiteY146" fmla="*/ 5151120 h 8260080"/>
              <a:gd name="connsiteX147" fmla="*/ 2042160 w 3505200"/>
              <a:gd name="connsiteY147" fmla="*/ 5242560 h 8260080"/>
              <a:gd name="connsiteX148" fmla="*/ 1981200 w 3505200"/>
              <a:gd name="connsiteY148" fmla="*/ 5191760 h 8260080"/>
              <a:gd name="connsiteX149" fmla="*/ 2011680 w 3505200"/>
              <a:gd name="connsiteY149" fmla="*/ 5120640 h 8260080"/>
              <a:gd name="connsiteX150" fmla="*/ 1930400 w 3505200"/>
              <a:gd name="connsiteY150" fmla="*/ 5100320 h 8260080"/>
              <a:gd name="connsiteX151" fmla="*/ 1859280 w 3505200"/>
              <a:gd name="connsiteY151" fmla="*/ 4917440 h 8260080"/>
              <a:gd name="connsiteX152" fmla="*/ 1828800 w 3505200"/>
              <a:gd name="connsiteY152" fmla="*/ 4622800 h 8260080"/>
              <a:gd name="connsiteX153" fmla="*/ 1910080 w 3505200"/>
              <a:gd name="connsiteY153" fmla="*/ 4419600 h 8260080"/>
              <a:gd name="connsiteX154" fmla="*/ 1920240 w 3505200"/>
              <a:gd name="connsiteY154" fmla="*/ 4277360 h 8260080"/>
              <a:gd name="connsiteX155" fmla="*/ 1971040 w 3505200"/>
              <a:gd name="connsiteY155" fmla="*/ 4124960 h 8260080"/>
              <a:gd name="connsiteX156" fmla="*/ 1879600 w 3505200"/>
              <a:gd name="connsiteY156" fmla="*/ 4023360 h 8260080"/>
              <a:gd name="connsiteX157" fmla="*/ 2072640 w 3505200"/>
              <a:gd name="connsiteY157" fmla="*/ 4003040 h 8260080"/>
              <a:gd name="connsiteX158" fmla="*/ 2092960 w 3505200"/>
              <a:gd name="connsiteY158" fmla="*/ 3850640 h 8260080"/>
              <a:gd name="connsiteX159" fmla="*/ 2001520 w 3505200"/>
              <a:gd name="connsiteY159" fmla="*/ 3728720 h 8260080"/>
              <a:gd name="connsiteX160" fmla="*/ 2164080 w 3505200"/>
              <a:gd name="connsiteY160" fmla="*/ 3769360 h 8260080"/>
              <a:gd name="connsiteX161" fmla="*/ 2265680 w 3505200"/>
              <a:gd name="connsiteY161" fmla="*/ 3566160 h 8260080"/>
              <a:gd name="connsiteX162" fmla="*/ 2336800 w 3505200"/>
              <a:gd name="connsiteY162" fmla="*/ 3515360 h 8260080"/>
              <a:gd name="connsiteX163" fmla="*/ 2367280 w 3505200"/>
              <a:gd name="connsiteY163" fmla="*/ 3362960 h 8260080"/>
              <a:gd name="connsiteX164" fmla="*/ 2489200 w 3505200"/>
              <a:gd name="connsiteY164" fmla="*/ 3423920 h 8260080"/>
              <a:gd name="connsiteX165" fmla="*/ 2560320 w 3505200"/>
              <a:gd name="connsiteY165" fmla="*/ 3302000 h 8260080"/>
              <a:gd name="connsiteX166" fmla="*/ 2743200 w 3505200"/>
              <a:gd name="connsiteY166" fmla="*/ 3149600 h 8260080"/>
              <a:gd name="connsiteX167" fmla="*/ 2844800 w 3505200"/>
              <a:gd name="connsiteY167" fmla="*/ 3088640 h 8260080"/>
              <a:gd name="connsiteX168" fmla="*/ 2804160 w 3505200"/>
              <a:gd name="connsiteY168" fmla="*/ 2966720 h 8260080"/>
              <a:gd name="connsiteX169" fmla="*/ 2976880 w 3505200"/>
              <a:gd name="connsiteY169" fmla="*/ 2763520 h 8260080"/>
              <a:gd name="connsiteX170" fmla="*/ 2794000 w 3505200"/>
              <a:gd name="connsiteY170" fmla="*/ 2621280 h 8260080"/>
              <a:gd name="connsiteX171" fmla="*/ 2946400 w 3505200"/>
              <a:gd name="connsiteY171" fmla="*/ 2377440 h 8260080"/>
              <a:gd name="connsiteX172" fmla="*/ 2854960 w 3505200"/>
              <a:gd name="connsiteY172" fmla="*/ 2255520 h 8260080"/>
              <a:gd name="connsiteX173" fmla="*/ 3027680 w 3505200"/>
              <a:gd name="connsiteY173" fmla="*/ 2113280 h 8260080"/>
              <a:gd name="connsiteX174" fmla="*/ 3119120 w 3505200"/>
              <a:gd name="connsiteY174" fmla="*/ 2021840 h 8260080"/>
              <a:gd name="connsiteX175" fmla="*/ 3027680 w 3505200"/>
              <a:gd name="connsiteY175" fmla="*/ 1960880 h 8260080"/>
              <a:gd name="connsiteX176" fmla="*/ 3139440 w 3505200"/>
              <a:gd name="connsiteY176" fmla="*/ 1869440 h 8260080"/>
              <a:gd name="connsiteX177" fmla="*/ 3281680 w 3505200"/>
              <a:gd name="connsiteY177" fmla="*/ 1950720 h 8260080"/>
              <a:gd name="connsiteX178" fmla="*/ 3403600 w 3505200"/>
              <a:gd name="connsiteY178" fmla="*/ 1889760 h 8260080"/>
              <a:gd name="connsiteX179" fmla="*/ 3505200 w 3505200"/>
              <a:gd name="connsiteY179" fmla="*/ 1910080 h 8260080"/>
              <a:gd name="connsiteX180" fmla="*/ 3444240 w 3505200"/>
              <a:gd name="connsiteY180" fmla="*/ 1656080 h 8260080"/>
              <a:gd name="connsiteX181" fmla="*/ 3373120 w 3505200"/>
              <a:gd name="connsiteY181" fmla="*/ 1635760 h 8260080"/>
              <a:gd name="connsiteX182" fmla="*/ 3352800 w 3505200"/>
              <a:gd name="connsiteY182" fmla="*/ 1503680 h 8260080"/>
              <a:gd name="connsiteX183" fmla="*/ 3444240 w 3505200"/>
              <a:gd name="connsiteY183" fmla="*/ 1412240 h 8260080"/>
              <a:gd name="connsiteX184" fmla="*/ 3393440 w 3505200"/>
              <a:gd name="connsiteY184" fmla="*/ 1280160 h 8260080"/>
              <a:gd name="connsiteX185" fmla="*/ 3434080 w 3505200"/>
              <a:gd name="connsiteY185" fmla="*/ 1249680 h 8260080"/>
              <a:gd name="connsiteX186" fmla="*/ 3281680 w 3505200"/>
              <a:gd name="connsiteY186" fmla="*/ 1066800 h 8260080"/>
              <a:gd name="connsiteX187" fmla="*/ 3383280 w 3505200"/>
              <a:gd name="connsiteY187" fmla="*/ 975360 h 8260080"/>
              <a:gd name="connsiteX188" fmla="*/ 3302000 w 3505200"/>
              <a:gd name="connsiteY188" fmla="*/ 924560 h 8260080"/>
              <a:gd name="connsiteX189" fmla="*/ 3190240 w 3505200"/>
              <a:gd name="connsiteY189" fmla="*/ 944880 h 8260080"/>
              <a:gd name="connsiteX190" fmla="*/ 3281680 w 3505200"/>
              <a:gd name="connsiteY190" fmla="*/ 792480 h 8260080"/>
              <a:gd name="connsiteX191" fmla="*/ 3210560 w 3505200"/>
              <a:gd name="connsiteY191" fmla="*/ 650240 h 8260080"/>
              <a:gd name="connsiteX192" fmla="*/ 3302000 w 3505200"/>
              <a:gd name="connsiteY192" fmla="*/ 568960 h 8260080"/>
              <a:gd name="connsiteX193" fmla="*/ 3190240 w 3505200"/>
              <a:gd name="connsiteY193" fmla="*/ 487680 h 8260080"/>
              <a:gd name="connsiteX194" fmla="*/ 3108960 w 3505200"/>
              <a:gd name="connsiteY194" fmla="*/ 528320 h 8260080"/>
              <a:gd name="connsiteX195" fmla="*/ 3108960 w 3505200"/>
              <a:gd name="connsiteY195" fmla="*/ 406400 h 8260080"/>
              <a:gd name="connsiteX196" fmla="*/ 2926080 w 3505200"/>
              <a:gd name="connsiteY196" fmla="*/ 314960 h 8260080"/>
              <a:gd name="connsiteX197" fmla="*/ 2834640 w 3505200"/>
              <a:gd name="connsiteY197" fmla="*/ 355600 h 8260080"/>
              <a:gd name="connsiteX198" fmla="*/ 2682240 w 3505200"/>
              <a:gd name="connsiteY198" fmla="*/ 111760 h 8260080"/>
              <a:gd name="connsiteX199" fmla="*/ 2590800 w 3505200"/>
              <a:gd name="connsiteY199" fmla="*/ 121920 h 8260080"/>
              <a:gd name="connsiteX200" fmla="*/ 2611120 w 3505200"/>
              <a:gd name="connsiteY200" fmla="*/ 0 h 8260080"/>
              <a:gd name="connsiteX201" fmla="*/ 2438400 w 3505200"/>
              <a:gd name="connsiteY20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188119 w 3505200"/>
              <a:gd name="connsiteY77" fmla="*/ 7009447 h 8260080"/>
              <a:gd name="connsiteX78" fmla="*/ 240581 w 3505200"/>
              <a:gd name="connsiteY78" fmla="*/ 6950522 h 8260080"/>
              <a:gd name="connsiteX79" fmla="*/ 262012 w 3505200"/>
              <a:gd name="connsiteY79" fmla="*/ 7020371 h 8260080"/>
              <a:gd name="connsiteX80" fmla="*/ 240582 w 3505200"/>
              <a:gd name="connsiteY80" fmla="*/ 7079109 h 8260080"/>
              <a:gd name="connsiteX81" fmla="*/ 280829 w 3505200"/>
              <a:gd name="connsiteY81" fmla="*/ 7148354 h 8260080"/>
              <a:gd name="connsiteX82" fmla="*/ 242962 w 3505200"/>
              <a:gd name="connsiteY82" fmla="*/ 7226746 h 8260080"/>
              <a:gd name="connsiteX83" fmla="*/ 282892 w 3505200"/>
              <a:gd name="connsiteY83" fmla="*/ 7300436 h 8260080"/>
              <a:gd name="connsiteX84" fmla="*/ 310833 w 3505200"/>
              <a:gd name="connsiteY84" fmla="*/ 7299484 h 8260080"/>
              <a:gd name="connsiteX85" fmla="*/ 319162 w 3505200"/>
              <a:gd name="connsiteY85" fmla="*/ 7310089 h 8260080"/>
              <a:gd name="connsiteX86" fmla="*/ 337026 w 3505200"/>
              <a:gd name="connsiteY86" fmla="*/ 7316154 h 8260080"/>
              <a:gd name="connsiteX87" fmla="*/ 370364 w 3505200"/>
              <a:gd name="connsiteY87" fmla="*/ 7360602 h 8260080"/>
              <a:gd name="connsiteX88" fmla="*/ 447040 w 3505200"/>
              <a:gd name="connsiteY88" fmla="*/ 7366000 h 8260080"/>
              <a:gd name="connsiteX89" fmla="*/ 447040 w 3505200"/>
              <a:gd name="connsiteY89" fmla="*/ 7477760 h 8260080"/>
              <a:gd name="connsiteX90" fmla="*/ 558800 w 3505200"/>
              <a:gd name="connsiteY90" fmla="*/ 7528560 h 8260080"/>
              <a:gd name="connsiteX91" fmla="*/ 508000 w 3505200"/>
              <a:gd name="connsiteY91" fmla="*/ 7630160 h 8260080"/>
              <a:gd name="connsiteX92" fmla="*/ 436880 w 3505200"/>
              <a:gd name="connsiteY92" fmla="*/ 7609840 h 8260080"/>
              <a:gd name="connsiteX93" fmla="*/ 447040 w 3505200"/>
              <a:gd name="connsiteY93" fmla="*/ 7691120 h 8260080"/>
              <a:gd name="connsiteX94" fmla="*/ 518160 w 3505200"/>
              <a:gd name="connsiteY94" fmla="*/ 7741920 h 8260080"/>
              <a:gd name="connsiteX95" fmla="*/ 457200 w 3505200"/>
              <a:gd name="connsiteY95" fmla="*/ 7792720 h 8260080"/>
              <a:gd name="connsiteX96" fmla="*/ 396240 w 3505200"/>
              <a:gd name="connsiteY96" fmla="*/ 7701280 h 8260080"/>
              <a:gd name="connsiteX97" fmla="*/ 396240 w 3505200"/>
              <a:gd name="connsiteY97" fmla="*/ 7701280 h 8260080"/>
              <a:gd name="connsiteX98" fmla="*/ 436880 w 3505200"/>
              <a:gd name="connsiteY98" fmla="*/ 7874000 h 8260080"/>
              <a:gd name="connsiteX99" fmla="*/ 436880 w 3505200"/>
              <a:gd name="connsiteY99" fmla="*/ 7924800 h 8260080"/>
              <a:gd name="connsiteX100" fmla="*/ 548640 w 3505200"/>
              <a:gd name="connsiteY100" fmla="*/ 7965440 h 8260080"/>
              <a:gd name="connsiteX101" fmla="*/ 508000 w 3505200"/>
              <a:gd name="connsiteY101" fmla="*/ 8016240 h 8260080"/>
              <a:gd name="connsiteX102" fmla="*/ 589280 w 3505200"/>
              <a:gd name="connsiteY102" fmla="*/ 8056880 h 8260080"/>
              <a:gd name="connsiteX103" fmla="*/ 497840 w 3505200"/>
              <a:gd name="connsiteY103" fmla="*/ 8117840 h 8260080"/>
              <a:gd name="connsiteX104" fmla="*/ 518160 w 3505200"/>
              <a:gd name="connsiteY104" fmla="*/ 8209280 h 8260080"/>
              <a:gd name="connsiteX105" fmla="*/ 640080 w 3505200"/>
              <a:gd name="connsiteY105" fmla="*/ 8260080 h 8260080"/>
              <a:gd name="connsiteX106" fmla="*/ 731520 w 3505200"/>
              <a:gd name="connsiteY106" fmla="*/ 8219440 h 8260080"/>
              <a:gd name="connsiteX107" fmla="*/ 853440 w 3505200"/>
              <a:gd name="connsiteY107" fmla="*/ 8209280 h 8260080"/>
              <a:gd name="connsiteX108" fmla="*/ 955040 w 3505200"/>
              <a:gd name="connsiteY108" fmla="*/ 8260080 h 8260080"/>
              <a:gd name="connsiteX109" fmla="*/ 965200 w 3505200"/>
              <a:gd name="connsiteY109" fmla="*/ 8107680 h 8260080"/>
              <a:gd name="connsiteX110" fmla="*/ 894080 w 3505200"/>
              <a:gd name="connsiteY110" fmla="*/ 8026400 h 8260080"/>
              <a:gd name="connsiteX111" fmla="*/ 1016000 w 3505200"/>
              <a:gd name="connsiteY111" fmla="*/ 7863840 h 8260080"/>
              <a:gd name="connsiteX112" fmla="*/ 1107440 w 3505200"/>
              <a:gd name="connsiteY112" fmla="*/ 7894320 h 8260080"/>
              <a:gd name="connsiteX113" fmla="*/ 1127760 w 3505200"/>
              <a:gd name="connsiteY113" fmla="*/ 7853680 h 8260080"/>
              <a:gd name="connsiteX114" fmla="*/ 1066800 w 3505200"/>
              <a:gd name="connsiteY114" fmla="*/ 7813040 h 8260080"/>
              <a:gd name="connsiteX115" fmla="*/ 1137920 w 3505200"/>
              <a:gd name="connsiteY115" fmla="*/ 7762240 h 8260080"/>
              <a:gd name="connsiteX116" fmla="*/ 1330960 w 3505200"/>
              <a:gd name="connsiteY116" fmla="*/ 7802880 h 8260080"/>
              <a:gd name="connsiteX117" fmla="*/ 1361440 w 3505200"/>
              <a:gd name="connsiteY117" fmla="*/ 7772400 h 8260080"/>
              <a:gd name="connsiteX118" fmla="*/ 1483360 w 3505200"/>
              <a:gd name="connsiteY118" fmla="*/ 7823200 h 8260080"/>
              <a:gd name="connsiteX119" fmla="*/ 1554480 w 3505200"/>
              <a:gd name="connsiteY119" fmla="*/ 7731760 h 8260080"/>
              <a:gd name="connsiteX120" fmla="*/ 1524000 w 3505200"/>
              <a:gd name="connsiteY120" fmla="*/ 7640320 h 8260080"/>
              <a:gd name="connsiteX121" fmla="*/ 1645920 w 3505200"/>
              <a:gd name="connsiteY121" fmla="*/ 7437120 h 8260080"/>
              <a:gd name="connsiteX122" fmla="*/ 1635760 w 3505200"/>
              <a:gd name="connsiteY122" fmla="*/ 7335520 h 8260080"/>
              <a:gd name="connsiteX123" fmla="*/ 1696720 w 3505200"/>
              <a:gd name="connsiteY123" fmla="*/ 7223760 h 8260080"/>
              <a:gd name="connsiteX124" fmla="*/ 1625600 w 3505200"/>
              <a:gd name="connsiteY124" fmla="*/ 7172960 h 8260080"/>
              <a:gd name="connsiteX125" fmla="*/ 1747520 w 3505200"/>
              <a:gd name="connsiteY125" fmla="*/ 6990080 h 8260080"/>
              <a:gd name="connsiteX126" fmla="*/ 1666240 w 3505200"/>
              <a:gd name="connsiteY126" fmla="*/ 6939280 h 8260080"/>
              <a:gd name="connsiteX127" fmla="*/ 1737360 w 3505200"/>
              <a:gd name="connsiteY127" fmla="*/ 6888480 h 8260080"/>
              <a:gd name="connsiteX128" fmla="*/ 1645920 w 3505200"/>
              <a:gd name="connsiteY128" fmla="*/ 6776720 h 8260080"/>
              <a:gd name="connsiteX129" fmla="*/ 1808480 w 3505200"/>
              <a:gd name="connsiteY129" fmla="*/ 6715760 h 8260080"/>
              <a:gd name="connsiteX130" fmla="*/ 1727200 w 3505200"/>
              <a:gd name="connsiteY130" fmla="*/ 6614160 h 8260080"/>
              <a:gd name="connsiteX131" fmla="*/ 1686560 w 3505200"/>
              <a:gd name="connsiteY131" fmla="*/ 6421120 h 8260080"/>
              <a:gd name="connsiteX132" fmla="*/ 1889760 w 3505200"/>
              <a:gd name="connsiteY132" fmla="*/ 6299200 h 8260080"/>
              <a:gd name="connsiteX133" fmla="*/ 1940560 w 3505200"/>
              <a:gd name="connsiteY133" fmla="*/ 6228080 h 8260080"/>
              <a:gd name="connsiteX134" fmla="*/ 2032000 w 3505200"/>
              <a:gd name="connsiteY134" fmla="*/ 6136640 h 8260080"/>
              <a:gd name="connsiteX135" fmla="*/ 2011680 w 3505200"/>
              <a:gd name="connsiteY135" fmla="*/ 6014720 h 8260080"/>
              <a:gd name="connsiteX136" fmla="*/ 2123440 w 3505200"/>
              <a:gd name="connsiteY136" fmla="*/ 6065520 h 8260080"/>
              <a:gd name="connsiteX137" fmla="*/ 2092960 w 3505200"/>
              <a:gd name="connsiteY137" fmla="*/ 6167120 h 8260080"/>
              <a:gd name="connsiteX138" fmla="*/ 2286000 w 3505200"/>
              <a:gd name="connsiteY138" fmla="*/ 5933440 h 8260080"/>
              <a:gd name="connsiteX139" fmla="*/ 2255520 w 3505200"/>
              <a:gd name="connsiteY139" fmla="*/ 5801360 h 8260080"/>
              <a:gd name="connsiteX140" fmla="*/ 2448560 w 3505200"/>
              <a:gd name="connsiteY140" fmla="*/ 5598160 h 8260080"/>
              <a:gd name="connsiteX141" fmla="*/ 2357120 w 3505200"/>
              <a:gd name="connsiteY141" fmla="*/ 5435600 h 8260080"/>
              <a:gd name="connsiteX142" fmla="*/ 2225040 w 3505200"/>
              <a:gd name="connsiteY142" fmla="*/ 5415280 h 8260080"/>
              <a:gd name="connsiteX143" fmla="*/ 2103120 w 3505200"/>
              <a:gd name="connsiteY143" fmla="*/ 5222240 h 8260080"/>
              <a:gd name="connsiteX144" fmla="*/ 2092960 w 3505200"/>
              <a:gd name="connsiteY144" fmla="*/ 5110480 h 8260080"/>
              <a:gd name="connsiteX145" fmla="*/ 2052320 w 3505200"/>
              <a:gd name="connsiteY145" fmla="*/ 5151120 h 8260080"/>
              <a:gd name="connsiteX146" fmla="*/ 2042160 w 3505200"/>
              <a:gd name="connsiteY146" fmla="*/ 5242560 h 8260080"/>
              <a:gd name="connsiteX147" fmla="*/ 1981200 w 3505200"/>
              <a:gd name="connsiteY147" fmla="*/ 5191760 h 8260080"/>
              <a:gd name="connsiteX148" fmla="*/ 2011680 w 3505200"/>
              <a:gd name="connsiteY148" fmla="*/ 5120640 h 8260080"/>
              <a:gd name="connsiteX149" fmla="*/ 1930400 w 3505200"/>
              <a:gd name="connsiteY149" fmla="*/ 5100320 h 8260080"/>
              <a:gd name="connsiteX150" fmla="*/ 1859280 w 3505200"/>
              <a:gd name="connsiteY150" fmla="*/ 4917440 h 8260080"/>
              <a:gd name="connsiteX151" fmla="*/ 1828800 w 3505200"/>
              <a:gd name="connsiteY151" fmla="*/ 4622800 h 8260080"/>
              <a:gd name="connsiteX152" fmla="*/ 1910080 w 3505200"/>
              <a:gd name="connsiteY152" fmla="*/ 4419600 h 8260080"/>
              <a:gd name="connsiteX153" fmla="*/ 1920240 w 3505200"/>
              <a:gd name="connsiteY153" fmla="*/ 4277360 h 8260080"/>
              <a:gd name="connsiteX154" fmla="*/ 1971040 w 3505200"/>
              <a:gd name="connsiteY154" fmla="*/ 4124960 h 8260080"/>
              <a:gd name="connsiteX155" fmla="*/ 1879600 w 3505200"/>
              <a:gd name="connsiteY155" fmla="*/ 4023360 h 8260080"/>
              <a:gd name="connsiteX156" fmla="*/ 2072640 w 3505200"/>
              <a:gd name="connsiteY156" fmla="*/ 4003040 h 8260080"/>
              <a:gd name="connsiteX157" fmla="*/ 2092960 w 3505200"/>
              <a:gd name="connsiteY157" fmla="*/ 3850640 h 8260080"/>
              <a:gd name="connsiteX158" fmla="*/ 2001520 w 3505200"/>
              <a:gd name="connsiteY158" fmla="*/ 3728720 h 8260080"/>
              <a:gd name="connsiteX159" fmla="*/ 2164080 w 3505200"/>
              <a:gd name="connsiteY159" fmla="*/ 3769360 h 8260080"/>
              <a:gd name="connsiteX160" fmla="*/ 2265680 w 3505200"/>
              <a:gd name="connsiteY160" fmla="*/ 3566160 h 8260080"/>
              <a:gd name="connsiteX161" fmla="*/ 2336800 w 3505200"/>
              <a:gd name="connsiteY161" fmla="*/ 3515360 h 8260080"/>
              <a:gd name="connsiteX162" fmla="*/ 2367280 w 3505200"/>
              <a:gd name="connsiteY162" fmla="*/ 3362960 h 8260080"/>
              <a:gd name="connsiteX163" fmla="*/ 2489200 w 3505200"/>
              <a:gd name="connsiteY163" fmla="*/ 3423920 h 8260080"/>
              <a:gd name="connsiteX164" fmla="*/ 2560320 w 3505200"/>
              <a:gd name="connsiteY164" fmla="*/ 3302000 h 8260080"/>
              <a:gd name="connsiteX165" fmla="*/ 2743200 w 3505200"/>
              <a:gd name="connsiteY165" fmla="*/ 3149600 h 8260080"/>
              <a:gd name="connsiteX166" fmla="*/ 2844800 w 3505200"/>
              <a:gd name="connsiteY166" fmla="*/ 3088640 h 8260080"/>
              <a:gd name="connsiteX167" fmla="*/ 2804160 w 3505200"/>
              <a:gd name="connsiteY167" fmla="*/ 2966720 h 8260080"/>
              <a:gd name="connsiteX168" fmla="*/ 2976880 w 3505200"/>
              <a:gd name="connsiteY168" fmla="*/ 2763520 h 8260080"/>
              <a:gd name="connsiteX169" fmla="*/ 2794000 w 3505200"/>
              <a:gd name="connsiteY169" fmla="*/ 2621280 h 8260080"/>
              <a:gd name="connsiteX170" fmla="*/ 2946400 w 3505200"/>
              <a:gd name="connsiteY170" fmla="*/ 2377440 h 8260080"/>
              <a:gd name="connsiteX171" fmla="*/ 2854960 w 3505200"/>
              <a:gd name="connsiteY171" fmla="*/ 2255520 h 8260080"/>
              <a:gd name="connsiteX172" fmla="*/ 3027680 w 3505200"/>
              <a:gd name="connsiteY172" fmla="*/ 2113280 h 8260080"/>
              <a:gd name="connsiteX173" fmla="*/ 3119120 w 3505200"/>
              <a:gd name="connsiteY173" fmla="*/ 2021840 h 8260080"/>
              <a:gd name="connsiteX174" fmla="*/ 3027680 w 3505200"/>
              <a:gd name="connsiteY174" fmla="*/ 1960880 h 8260080"/>
              <a:gd name="connsiteX175" fmla="*/ 3139440 w 3505200"/>
              <a:gd name="connsiteY175" fmla="*/ 1869440 h 8260080"/>
              <a:gd name="connsiteX176" fmla="*/ 3281680 w 3505200"/>
              <a:gd name="connsiteY176" fmla="*/ 1950720 h 8260080"/>
              <a:gd name="connsiteX177" fmla="*/ 3403600 w 3505200"/>
              <a:gd name="connsiteY177" fmla="*/ 1889760 h 8260080"/>
              <a:gd name="connsiteX178" fmla="*/ 3505200 w 3505200"/>
              <a:gd name="connsiteY178" fmla="*/ 1910080 h 8260080"/>
              <a:gd name="connsiteX179" fmla="*/ 3444240 w 3505200"/>
              <a:gd name="connsiteY179" fmla="*/ 1656080 h 8260080"/>
              <a:gd name="connsiteX180" fmla="*/ 3373120 w 3505200"/>
              <a:gd name="connsiteY180" fmla="*/ 1635760 h 8260080"/>
              <a:gd name="connsiteX181" fmla="*/ 3352800 w 3505200"/>
              <a:gd name="connsiteY181" fmla="*/ 1503680 h 8260080"/>
              <a:gd name="connsiteX182" fmla="*/ 3444240 w 3505200"/>
              <a:gd name="connsiteY182" fmla="*/ 1412240 h 8260080"/>
              <a:gd name="connsiteX183" fmla="*/ 3393440 w 3505200"/>
              <a:gd name="connsiteY183" fmla="*/ 1280160 h 8260080"/>
              <a:gd name="connsiteX184" fmla="*/ 3434080 w 3505200"/>
              <a:gd name="connsiteY184" fmla="*/ 1249680 h 8260080"/>
              <a:gd name="connsiteX185" fmla="*/ 3281680 w 3505200"/>
              <a:gd name="connsiteY185" fmla="*/ 1066800 h 8260080"/>
              <a:gd name="connsiteX186" fmla="*/ 3383280 w 3505200"/>
              <a:gd name="connsiteY186" fmla="*/ 975360 h 8260080"/>
              <a:gd name="connsiteX187" fmla="*/ 3302000 w 3505200"/>
              <a:gd name="connsiteY187" fmla="*/ 924560 h 8260080"/>
              <a:gd name="connsiteX188" fmla="*/ 3190240 w 3505200"/>
              <a:gd name="connsiteY188" fmla="*/ 944880 h 8260080"/>
              <a:gd name="connsiteX189" fmla="*/ 3281680 w 3505200"/>
              <a:gd name="connsiteY189" fmla="*/ 792480 h 8260080"/>
              <a:gd name="connsiteX190" fmla="*/ 3210560 w 3505200"/>
              <a:gd name="connsiteY190" fmla="*/ 650240 h 8260080"/>
              <a:gd name="connsiteX191" fmla="*/ 3302000 w 3505200"/>
              <a:gd name="connsiteY191" fmla="*/ 568960 h 8260080"/>
              <a:gd name="connsiteX192" fmla="*/ 3190240 w 3505200"/>
              <a:gd name="connsiteY192" fmla="*/ 487680 h 8260080"/>
              <a:gd name="connsiteX193" fmla="*/ 3108960 w 3505200"/>
              <a:gd name="connsiteY193" fmla="*/ 528320 h 8260080"/>
              <a:gd name="connsiteX194" fmla="*/ 3108960 w 3505200"/>
              <a:gd name="connsiteY194" fmla="*/ 406400 h 8260080"/>
              <a:gd name="connsiteX195" fmla="*/ 2926080 w 3505200"/>
              <a:gd name="connsiteY195" fmla="*/ 314960 h 8260080"/>
              <a:gd name="connsiteX196" fmla="*/ 2834640 w 3505200"/>
              <a:gd name="connsiteY196" fmla="*/ 355600 h 8260080"/>
              <a:gd name="connsiteX197" fmla="*/ 2682240 w 3505200"/>
              <a:gd name="connsiteY197" fmla="*/ 111760 h 8260080"/>
              <a:gd name="connsiteX198" fmla="*/ 2590800 w 3505200"/>
              <a:gd name="connsiteY198" fmla="*/ 121920 h 8260080"/>
              <a:gd name="connsiteX199" fmla="*/ 2611120 w 3505200"/>
              <a:gd name="connsiteY199" fmla="*/ 0 h 8260080"/>
              <a:gd name="connsiteX200" fmla="*/ 2438400 w 3505200"/>
              <a:gd name="connsiteY20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208037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208037 w 3505200"/>
              <a:gd name="connsiteY71" fmla="*/ 6676677 h 8260080"/>
              <a:gd name="connsiteX72" fmla="*/ 192162 w 3505200"/>
              <a:gd name="connsiteY72" fmla="*/ 6740971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208037 w 3505200"/>
              <a:gd name="connsiteY71" fmla="*/ 6676677 h 8260080"/>
              <a:gd name="connsiteX72" fmla="*/ 192162 w 3505200"/>
              <a:gd name="connsiteY72" fmla="*/ 6740971 h 8260080"/>
              <a:gd name="connsiteX73" fmla="*/ 166687 w 3505200"/>
              <a:gd name="connsiteY73" fmla="*/ 67798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208037 w 3505200"/>
              <a:gd name="connsiteY71" fmla="*/ 6676677 h 8260080"/>
              <a:gd name="connsiteX72" fmla="*/ 192162 w 3505200"/>
              <a:gd name="connsiteY72" fmla="*/ 6740971 h 8260080"/>
              <a:gd name="connsiteX73" fmla="*/ 166687 w 3505200"/>
              <a:gd name="connsiteY73" fmla="*/ 6779894 h 8260080"/>
              <a:gd name="connsiteX74" fmla="*/ 178668 w 3505200"/>
              <a:gd name="connsiteY74" fmla="*/ 6837808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208037 w 3505200"/>
              <a:gd name="connsiteY71" fmla="*/ 6676677 h 8260080"/>
              <a:gd name="connsiteX72" fmla="*/ 192162 w 3505200"/>
              <a:gd name="connsiteY72" fmla="*/ 6740971 h 8260080"/>
              <a:gd name="connsiteX73" fmla="*/ 166687 w 3505200"/>
              <a:gd name="connsiteY73" fmla="*/ 6779894 h 8260080"/>
              <a:gd name="connsiteX74" fmla="*/ 178668 w 3505200"/>
              <a:gd name="connsiteY74" fmla="*/ 6837808 h 8260080"/>
              <a:gd name="connsiteX75" fmla="*/ 217562 w 3505200"/>
              <a:gd name="connsiteY75" fmla="*/ 6893371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208037 w 3505200"/>
              <a:gd name="connsiteY71" fmla="*/ 6676677 h 8260080"/>
              <a:gd name="connsiteX72" fmla="*/ 192162 w 3505200"/>
              <a:gd name="connsiteY72" fmla="*/ 6740971 h 8260080"/>
              <a:gd name="connsiteX73" fmla="*/ 166687 w 3505200"/>
              <a:gd name="connsiteY73" fmla="*/ 6779894 h 8260080"/>
              <a:gd name="connsiteX74" fmla="*/ 178668 w 3505200"/>
              <a:gd name="connsiteY74" fmla="*/ 6837808 h 8260080"/>
              <a:gd name="connsiteX75" fmla="*/ 217562 w 3505200"/>
              <a:gd name="connsiteY75" fmla="*/ 6893371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5345 w 3505200"/>
              <a:gd name="connsiteY79" fmla="*/ 7074347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</a:cxnLst>
            <a:rect l="l" t="t" r="r" b="b"/>
            <a:pathLst>
              <a:path w="3505200" h="8260080">
                <a:moveTo>
                  <a:pt x="2438400" y="0"/>
                </a:moveTo>
                <a:lnTo>
                  <a:pt x="2499360" y="132080"/>
                </a:lnTo>
                <a:lnTo>
                  <a:pt x="2438400" y="325120"/>
                </a:lnTo>
                <a:lnTo>
                  <a:pt x="2499360" y="365760"/>
                </a:lnTo>
                <a:lnTo>
                  <a:pt x="2407920" y="436880"/>
                </a:lnTo>
                <a:lnTo>
                  <a:pt x="2204720" y="335280"/>
                </a:lnTo>
                <a:lnTo>
                  <a:pt x="2143760" y="375920"/>
                </a:lnTo>
                <a:lnTo>
                  <a:pt x="2072640" y="284480"/>
                </a:lnTo>
                <a:lnTo>
                  <a:pt x="1991360" y="335280"/>
                </a:lnTo>
                <a:lnTo>
                  <a:pt x="1991360" y="508000"/>
                </a:lnTo>
                <a:lnTo>
                  <a:pt x="2042160" y="599440"/>
                </a:lnTo>
                <a:lnTo>
                  <a:pt x="1981200" y="701040"/>
                </a:lnTo>
                <a:lnTo>
                  <a:pt x="1838960" y="599440"/>
                </a:lnTo>
                <a:lnTo>
                  <a:pt x="1778000" y="680720"/>
                </a:lnTo>
                <a:lnTo>
                  <a:pt x="1717040" y="721360"/>
                </a:lnTo>
                <a:lnTo>
                  <a:pt x="1676400" y="853440"/>
                </a:lnTo>
                <a:lnTo>
                  <a:pt x="1625600" y="965200"/>
                </a:lnTo>
                <a:lnTo>
                  <a:pt x="1564640" y="1005840"/>
                </a:lnTo>
                <a:lnTo>
                  <a:pt x="1635760" y="1188720"/>
                </a:lnTo>
                <a:lnTo>
                  <a:pt x="1605280" y="1300480"/>
                </a:lnTo>
                <a:lnTo>
                  <a:pt x="1361440" y="1595120"/>
                </a:lnTo>
                <a:lnTo>
                  <a:pt x="1391920" y="1727200"/>
                </a:lnTo>
                <a:lnTo>
                  <a:pt x="1239520" y="1808480"/>
                </a:lnTo>
                <a:lnTo>
                  <a:pt x="1117600" y="1828800"/>
                </a:lnTo>
                <a:lnTo>
                  <a:pt x="1178560" y="1950720"/>
                </a:lnTo>
                <a:lnTo>
                  <a:pt x="1127760" y="2133600"/>
                </a:lnTo>
                <a:lnTo>
                  <a:pt x="1168400" y="2214880"/>
                </a:lnTo>
                <a:lnTo>
                  <a:pt x="1076960" y="2428240"/>
                </a:lnTo>
                <a:lnTo>
                  <a:pt x="894080" y="2743200"/>
                </a:lnTo>
                <a:lnTo>
                  <a:pt x="1026160" y="2814320"/>
                </a:lnTo>
                <a:lnTo>
                  <a:pt x="1016000" y="3007360"/>
                </a:lnTo>
                <a:lnTo>
                  <a:pt x="1005840" y="3098800"/>
                </a:lnTo>
                <a:lnTo>
                  <a:pt x="772160" y="3048000"/>
                </a:lnTo>
                <a:lnTo>
                  <a:pt x="619760" y="3108960"/>
                </a:lnTo>
                <a:lnTo>
                  <a:pt x="467360" y="3342640"/>
                </a:lnTo>
                <a:lnTo>
                  <a:pt x="538480" y="3393440"/>
                </a:lnTo>
                <a:lnTo>
                  <a:pt x="426720" y="3474720"/>
                </a:lnTo>
                <a:lnTo>
                  <a:pt x="508000" y="3667760"/>
                </a:lnTo>
                <a:lnTo>
                  <a:pt x="436880" y="3728720"/>
                </a:lnTo>
                <a:lnTo>
                  <a:pt x="487680" y="3840480"/>
                </a:lnTo>
                <a:lnTo>
                  <a:pt x="416560" y="3942080"/>
                </a:lnTo>
                <a:lnTo>
                  <a:pt x="528320" y="4114800"/>
                </a:lnTo>
                <a:lnTo>
                  <a:pt x="406400" y="4450080"/>
                </a:lnTo>
                <a:lnTo>
                  <a:pt x="518160" y="4551680"/>
                </a:lnTo>
                <a:lnTo>
                  <a:pt x="629920" y="4643120"/>
                </a:lnTo>
                <a:lnTo>
                  <a:pt x="579120" y="4846320"/>
                </a:lnTo>
                <a:lnTo>
                  <a:pt x="447040" y="4886960"/>
                </a:lnTo>
                <a:lnTo>
                  <a:pt x="416560" y="5008880"/>
                </a:lnTo>
                <a:lnTo>
                  <a:pt x="528320" y="5151120"/>
                </a:lnTo>
                <a:lnTo>
                  <a:pt x="528320" y="5262880"/>
                </a:lnTo>
                <a:lnTo>
                  <a:pt x="457200" y="5303520"/>
                </a:lnTo>
                <a:lnTo>
                  <a:pt x="518160" y="5374640"/>
                </a:lnTo>
                <a:lnTo>
                  <a:pt x="365760" y="5547360"/>
                </a:lnTo>
                <a:lnTo>
                  <a:pt x="274320" y="5516880"/>
                </a:lnTo>
                <a:lnTo>
                  <a:pt x="274320" y="5628640"/>
                </a:lnTo>
                <a:lnTo>
                  <a:pt x="203200" y="5720080"/>
                </a:lnTo>
                <a:lnTo>
                  <a:pt x="254000" y="5821680"/>
                </a:lnTo>
                <a:lnTo>
                  <a:pt x="213360" y="5974080"/>
                </a:lnTo>
                <a:lnTo>
                  <a:pt x="193040" y="6106160"/>
                </a:lnTo>
                <a:lnTo>
                  <a:pt x="172720" y="6167120"/>
                </a:lnTo>
                <a:lnTo>
                  <a:pt x="121920" y="6116320"/>
                </a:lnTo>
                <a:lnTo>
                  <a:pt x="121920" y="6024880"/>
                </a:lnTo>
                <a:lnTo>
                  <a:pt x="60960" y="5994400"/>
                </a:lnTo>
                <a:lnTo>
                  <a:pt x="0" y="6085840"/>
                </a:lnTo>
                <a:lnTo>
                  <a:pt x="50800" y="6268720"/>
                </a:lnTo>
                <a:lnTo>
                  <a:pt x="40640" y="6421120"/>
                </a:lnTo>
                <a:lnTo>
                  <a:pt x="101600" y="6451600"/>
                </a:lnTo>
                <a:lnTo>
                  <a:pt x="172720" y="6400800"/>
                </a:lnTo>
                <a:lnTo>
                  <a:pt x="81280" y="6492240"/>
                </a:lnTo>
                <a:cubicBezTo>
                  <a:pt x="135255" y="6507586"/>
                  <a:pt x="198755" y="6522932"/>
                  <a:pt x="252730" y="6538278"/>
                </a:cubicBezTo>
                <a:cubicBezTo>
                  <a:pt x="271343" y="6570605"/>
                  <a:pt x="240237" y="6628206"/>
                  <a:pt x="212799" y="6609208"/>
                </a:cubicBezTo>
                <a:cubicBezTo>
                  <a:pt x="200058" y="6631084"/>
                  <a:pt x="219162" y="6646113"/>
                  <a:pt x="208037" y="6676677"/>
                </a:cubicBezTo>
                <a:cubicBezTo>
                  <a:pt x="198115" y="6699696"/>
                  <a:pt x="199054" y="6723768"/>
                  <a:pt x="192162" y="6740971"/>
                </a:cubicBezTo>
                <a:cubicBezTo>
                  <a:pt x="185270" y="6758174"/>
                  <a:pt x="168936" y="6763755"/>
                  <a:pt x="166687" y="6779894"/>
                </a:cubicBezTo>
                <a:cubicBezTo>
                  <a:pt x="164438" y="6796033"/>
                  <a:pt x="170189" y="6818895"/>
                  <a:pt x="178668" y="6837808"/>
                </a:cubicBezTo>
                <a:cubicBezTo>
                  <a:pt x="187147" y="6856721"/>
                  <a:pt x="207335" y="6874528"/>
                  <a:pt x="217562" y="6893371"/>
                </a:cubicBezTo>
                <a:cubicBezTo>
                  <a:pt x="227789" y="6912214"/>
                  <a:pt x="225754" y="6931257"/>
                  <a:pt x="240029" y="6950868"/>
                </a:cubicBezTo>
                <a:cubicBezTo>
                  <a:pt x="247570" y="6958012"/>
                  <a:pt x="236917" y="6938938"/>
                  <a:pt x="240581" y="6950522"/>
                </a:cubicBezTo>
                <a:cubicBezTo>
                  <a:pt x="244245" y="6962106"/>
                  <a:pt x="261218" y="6999734"/>
                  <a:pt x="262012" y="7020371"/>
                </a:cubicBezTo>
                <a:cubicBezTo>
                  <a:pt x="262806" y="7041008"/>
                  <a:pt x="238637" y="7054869"/>
                  <a:pt x="245345" y="7074347"/>
                </a:cubicBezTo>
                <a:cubicBezTo>
                  <a:pt x="258800" y="7091444"/>
                  <a:pt x="283607" y="7124145"/>
                  <a:pt x="280829" y="7148354"/>
                </a:cubicBezTo>
                <a:cubicBezTo>
                  <a:pt x="283288" y="7178454"/>
                  <a:pt x="240503" y="7196646"/>
                  <a:pt x="242962" y="7226746"/>
                </a:cubicBezTo>
                <a:lnTo>
                  <a:pt x="282892" y="7300436"/>
                </a:lnTo>
                <a:cubicBezTo>
                  <a:pt x="289824" y="7326312"/>
                  <a:pt x="311044" y="7273608"/>
                  <a:pt x="310833" y="7299484"/>
                </a:cubicBezTo>
                <a:cubicBezTo>
                  <a:pt x="319656" y="7293156"/>
                  <a:pt x="314797" y="7307311"/>
                  <a:pt x="319162" y="7310089"/>
                </a:cubicBezTo>
                <a:cubicBezTo>
                  <a:pt x="323527" y="7312867"/>
                  <a:pt x="331271" y="7299798"/>
                  <a:pt x="337026" y="7316154"/>
                </a:cubicBezTo>
                <a:cubicBezTo>
                  <a:pt x="352107" y="7351608"/>
                  <a:pt x="367189" y="7322767"/>
                  <a:pt x="370364" y="7360602"/>
                </a:cubicBezTo>
                <a:lnTo>
                  <a:pt x="447040" y="7366000"/>
                </a:lnTo>
                <a:lnTo>
                  <a:pt x="447040" y="7477760"/>
                </a:lnTo>
                <a:lnTo>
                  <a:pt x="558800" y="7528560"/>
                </a:lnTo>
                <a:lnTo>
                  <a:pt x="508000" y="7630160"/>
                </a:lnTo>
                <a:lnTo>
                  <a:pt x="436880" y="7609840"/>
                </a:lnTo>
                <a:lnTo>
                  <a:pt x="447040" y="7691120"/>
                </a:lnTo>
                <a:lnTo>
                  <a:pt x="518160" y="7741920"/>
                </a:lnTo>
                <a:lnTo>
                  <a:pt x="457200" y="7792720"/>
                </a:lnTo>
                <a:lnTo>
                  <a:pt x="396240" y="7701280"/>
                </a:lnTo>
                <a:lnTo>
                  <a:pt x="396240" y="7701280"/>
                </a:lnTo>
                <a:lnTo>
                  <a:pt x="436880" y="7874000"/>
                </a:lnTo>
                <a:lnTo>
                  <a:pt x="436880" y="7924800"/>
                </a:lnTo>
                <a:lnTo>
                  <a:pt x="548640" y="7965440"/>
                </a:lnTo>
                <a:lnTo>
                  <a:pt x="508000" y="8016240"/>
                </a:lnTo>
                <a:lnTo>
                  <a:pt x="589280" y="8056880"/>
                </a:lnTo>
                <a:lnTo>
                  <a:pt x="497840" y="8117840"/>
                </a:lnTo>
                <a:lnTo>
                  <a:pt x="518160" y="8209280"/>
                </a:lnTo>
                <a:lnTo>
                  <a:pt x="640080" y="8260080"/>
                </a:lnTo>
                <a:lnTo>
                  <a:pt x="731520" y="8219440"/>
                </a:lnTo>
                <a:lnTo>
                  <a:pt x="853440" y="8209280"/>
                </a:lnTo>
                <a:lnTo>
                  <a:pt x="955040" y="8260080"/>
                </a:lnTo>
                <a:lnTo>
                  <a:pt x="965200" y="8107680"/>
                </a:lnTo>
                <a:lnTo>
                  <a:pt x="894080" y="8026400"/>
                </a:lnTo>
                <a:lnTo>
                  <a:pt x="1016000" y="7863840"/>
                </a:lnTo>
                <a:lnTo>
                  <a:pt x="1107440" y="7894320"/>
                </a:lnTo>
                <a:lnTo>
                  <a:pt x="1127760" y="7853680"/>
                </a:lnTo>
                <a:lnTo>
                  <a:pt x="1066800" y="7813040"/>
                </a:lnTo>
                <a:lnTo>
                  <a:pt x="1137920" y="7762240"/>
                </a:lnTo>
                <a:lnTo>
                  <a:pt x="1330960" y="7802880"/>
                </a:lnTo>
                <a:lnTo>
                  <a:pt x="1361440" y="7772400"/>
                </a:lnTo>
                <a:lnTo>
                  <a:pt x="1483360" y="7823200"/>
                </a:lnTo>
                <a:lnTo>
                  <a:pt x="1554480" y="7731760"/>
                </a:lnTo>
                <a:lnTo>
                  <a:pt x="1524000" y="7640320"/>
                </a:lnTo>
                <a:lnTo>
                  <a:pt x="1645920" y="7437120"/>
                </a:lnTo>
                <a:lnTo>
                  <a:pt x="1635760" y="7335520"/>
                </a:lnTo>
                <a:lnTo>
                  <a:pt x="1696720" y="7223760"/>
                </a:lnTo>
                <a:lnTo>
                  <a:pt x="1625600" y="7172960"/>
                </a:lnTo>
                <a:lnTo>
                  <a:pt x="1747520" y="6990080"/>
                </a:lnTo>
                <a:lnTo>
                  <a:pt x="1666240" y="6939280"/>
                </a:lnTo>
                <a:lnTo>
                  <a:pt x="1737360" y="6888480"/>
                </a:lnTo>
                <a:lnTo>
                  <a:pt x="1645920" y="6776720"/>
                </a:lnTo>
                <a:lnTo>
                  <a:pt x="1808480" y="6715760"/>
                </a:lnTo>
                <a:lnTo>
                  <a:pt x="1727200" y="6614160"/>
                </a:lnTo>
                <a:lnTo>
                  <a:pt x="1686560" y="6421120"/>
                </a:lnTo>
                <a:lnTo>
                  <a:pt x="1889760" y="6299200"/>
                </a:lnTo>
                <a:lnTo>
                  <a:pt x="1940560" y="6228080"/>
                </a:lnTo>
                <a:lnTo>
                  <a:pt x="2032000" y="6136640"/>
                </a:lnTo>
                <a:lnTo>
                  <a:pt x="2011680" y="6014720"/>
                </a:lnTo>
                <a:lnTo>
                  <a:pt x="2123440" y="6065520"/>
                </a:lnTo>
                <a:lnTo>
                  <a:pt x="2092960" y="6167120"/>
                </a:lnTo>
                <a:lnTo>
                  <a:pt x="2286000" y="5933440"/>
                </a:lnTo>
                <a:lnTo>
                  <a:pt x="2255520" y="5801360"/>
                </a:lnTo>
                <a:lnTo>
                  <a:pt x="2448560" y="5598160"/>
                </a:lnTo>
                <a:lnTo>
                  <a:pt x="2357120" y="5435600"/>
                </a:lnTo>
                <a:lnTo>
                  <a:pt x="2225040" y="5415280"/>
                </a:lnTo>
                <a:lnTo>
                  <a:pt x="2103120" y="5222240"/>
                </a:lnTo>
                <a:lnTo>
                  <a:pt x="2092960" y="5110480"/>
                </a:lnTo>
                <a:lnTo>
                  <a:pt x="2052320" y="5151120"/>
                </a:lnTo>
                <a:lnTo>
                  <a:pt x="2042160" y="5242560"/>
                </a:lnTo>
                <a:lnTo>
                  <a:pt x="1981200" y="5191760"/>
                </a:lnTo>
                <a:lnTo>
                  <a:pt x="2011680" y="5120640"/>
                </a:lnTo>
                <a:lnTo>
                  <a:pt x="1930400" y="5100320"/>
                </a:lnTo>
                <a:lnTo>
                  <a:pt x="1859280" y="4917440"/>
                </a:lnTo>
                <a:lnTo>
                  <a:pt x="1828800" y="4622800"/>
                </a:lnTo>
                <a:lnTo>
                  <a:pt x="1910080" y="4419600"/>
                </a:lnTo>
                <a:lnTo>
                  <a:pt x="1920240" y="4277360"/>
                </a:lnTo>
                <a:lnTo>
                  <a:pt x="1971040" y="4124960"/>
                </a:lnTo>
                <a:lnTo>
                  <a:pt x="1879600" y="4023360"/>
                </a:lnTo>
                <a:lnTo>
                  <a:pt x="2072640" y="4003040"/>
                </a:lnTo>
                <a:lnTo>
                  <a:pt x="2092960" y="3850640"/>
                </a:lnTo>
                <a:lnTo>
                  <a:pt x="2001520" y="3728720"/>
                </a:lnTo>
                <a:lnTo>
                  <a:pt x="2164080" y="3769360"/>
                </a:lnTo>
                <a:lnTo>
                  <a:pt x="2265680" y="3566160"/>
                </a:lnTo>
                <a:lnTo>
                  <a:pt x="2336800" y="3515360"/>
                </a:lnTo>
                <a:lnTo>
                  <a:pt x="2367280" y="3362960"/>
                </a:lnTo>
                <a:lnTo>
                  <a:pt x="2489200" y="3423920"/>
                </a:lnTo>
                <a:lnTo>
                  <a:pt x="2560320" y="3302000"/>
                </a:lnTo>
                <a:lnTo>
                  <a:pt x="2743200" y="3149600"/>
                </a:lnTo>
                <a:lnTo>
                  <a:pt x="2844800" y="3088640"/>
                </a:lnTo>
                <a:lnTo>
                  <a:pt x="2804160" y="2966720"/>
                </a:lnTo>
                <a:lnTo>
                  <a:pt x="2976880" y="2763520"/>
                </a:lnTo>
                <a:lnTo>
                  <a:pt x="2794000" y="2621280"/>
                </a:lnTo>
                <a:lnTo>
                  <a:pt x="2946400" y="2377440"/>
                </a:lnTo>
                <a:lnTo>
                  <a:pt x="2854960" y="2255520"/>
                </a:lnTo>
                <a:lnTo>
                  <a:pt x="3027680" y="2113280"/>
                </a:lnTo>
                <a:lnTo>
                  <a:pt x="3119120" y="2021840"/>
                </a:lnTo>
                <a:lnTo>
                  <a:pt x="3027680" y="1960880"/>
                </a:lnTo>
                <a:lnTo>
                  <a:pt x="3139440" y="1869440"/>
                </a:lnTo>
                <a:lnTo>
                  <a:pt x="3281680" y="1950720"/>
                </a:lnTo>
                <a:lnTo>
                  <a:pt x="3403600" y="1889760"/>
                </a:lnTo>
                <a:lnTo>
                  <a:pt x="3505200" y="1910080"/>
                </a:lnTo>
                <a:lnTo>
                  <a:pt x="3444240" y="1656080"/>
                </a:lnTo>
                <a:lnTo>
                  <a:pt x="3373120" y="1635760"/>
                </a:lnTo>
                <a:lnTo>
                  <a:pt x="3352800" y="1503680"/>
                </a:lnTo>
                <a:lnTo>
                  <a:pt x="3444240" y="1412240"/>
                </a:lnTo>
                <a:lnTo>
                  <a:pt x="3393440" y="1280160"/>
                </a:lnTo>
                <a:lnTo>
                  <a:pt x="3434080" y="1249680"/>
                </a:lnTo>
                <a:lnTo>
                  <a:pt x="3281680" y="1066800"/>
                </a:lnTo>
                <a:lnTo>
                  <a:pt x="3383280" y="975360"/>
                </a:lnTo>
                <a:lnTo>
                  <a:pt x="3302000" y="924560"/>
                </a:lnTo>
                <a:lnTo>
                  <a:pt x="3190240" y="944880"/>
                </a:lnTo>
                <a:lnTo>
                  <a:pt x="3281680" y="792480"/>
                </a:lnTo>
                <a:lnTo>
                  <a:pt x="3210560" y="650240"/>
                </a:lnTo>
                <a:lnTo>
                  <a:pt x="3302000" y="568960"/>
                </a:lnTo>
                <a:lnTo>
                  <a:pt x="3190240" y="487680"/>
                </a:lnTo>
                <a:lnTo>
                  <a:pt x="3108960" y="528320"/>
                </a:lnTo>
                <a:lnTo>
                  <a:pt x="3108960" y="406400"/>
                </a:lnTo>
                <a:lnTo>
                  <a:pt x="2926080" y="314960"/>
                </a:lnTo>
                <a:lnTo>
                  <a:pt x="2834640" y="355600"/>
                </a:lnTo>
                <a:lnTo>
                  <a:pt x="2682240" y="111760"/>
                </a:lnTo>
                <a:lnTo>
                  <a:pt x="2590800" y="121920"/>
                </a:lnTo>
                <a:lnTo>
                  <a:pt x="2611120" y="0"/>
                </a:lnTo>
                <a:lnTo>
                  <a:pt x="2438400" y="0"/>
                </a:lnTo>
                <a:close/>
              </a:path>
            </a:pathLst>
          </a:custGeom>
          <a:noFill/>
          <a:ln w="2540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0" name="Grupp 29">
            <a:extLst>
              <a:ext uri="{FF2B5EF4-FFF2-40B4-BE49-F238E27FC236}">
                <a16:creationId xmlns:a16="http://schemas.microsoft.com/office/drawing/2014/main" id="{6890C167-828D-4899-BD30-DD810D6838DA}"/>
              </a:ext>
            </a:extLst>
          </p:cNvPr>
          <p:cNvGrpSpPr/>
          <p:nvPr/>
        </p:nvGrpSpPr>
        <p:grpSpPr>
          <a:xfrm>
            <a:off x="9569826" y="2287685"/>
            <a:ext cx="1188339" cy="1850076"/>
            <a:chOff x="4787808" y="3563888"/>
            <a:chExt cx="1737536" cy="2705100"/>
          </a:xfrm>
        </p:grpSpPr>
        <p:sp>
          <p:nvSpPr>
            <p:cNvPr id="31" name="Freeform 57">
              <a:extLst>
                <a:ext uri="{FF2B5EF4-FFF2-40B4-BE49-F238E27FC236}">
                  <a16:creationId xmlns:a16="http://schemas.microsoft.com/office/drawing/2014/main" id="{6026EF9C-EBE1-40F7-A640-AD8A7F0E1C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7808" y="5046612"/>
              <a:ext cx="171449" cy="203200"/>
            </a:xfrm>
            <a:custGeom>
              <a:avLst/>
              <a:gdLst>
                <a:gd name="T0" fmla="*/ 2147483647 w 108"/>
                <a:gd name="T1" fmla="*/ 2147483647 h 128"/>
                <a:gd name="T2" fmla="*/ 2147483647 w 108"/>
                <a:gd name="T3" fmla="*/ 2147483647 h 128"/>
                <a:gd name="T4" fmla="*/ 2147483647 w 108"/>
                <a:gd name="T5" fmla="*/ 2147483647 h 128"/>
                <a:gd name="T6" fmla="*/ 2147483647 w 108"/>
                <a:gd name="T7" fmla="*/ 0 h 128"/>
                <a:gd name="T8" fmla="*/ 2147483647 w 108"/>
                <a:gd name="T9" fmla="*/ 2147483647 h 128"/>
                <a:gd name="T10" fmla="*/ 2147483647 w 108"/>
                <a:gd name="T11" fmla="*/ 2147483647 h 128"/>
                <a:gd name="T12" fmla="*/ 0 w 108"/>
                <a:gd name="T13" fmla="*/ 2147483647 h 128"/>
                <a:gd name="T14" fmla="*/ 2147483647 w 108"/>
                <a:gd name="T15" fmla="*/ 2147483647 h 128"/>
                <a:gd name="T16" fmla="*/ 2147483647 w 108"/>
                <a:gd name="T17" fmla="*/ 2147483647 h 128"/>
                <a:gd name="T18" fmla="*/ 2147483647 w 108"/>
                <a:gd name="T19" fmla="*/ 2147483647 h 128"/>
                <a:gd name="T20" fmla="*/ 2147483647 w 108"/>
                <a:gd name="T21" fmla="*/ 2147483647 h 128"/>
                <a:gd name="T22" fmla="*/ 2147483647 w 108"/>
                <a:gd name="T23" fmla="*/ 2147483647 h 12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8" h="128">
                  <a:moveTo>
                    <a:pt x="76" y="74"/>
                  </a:moveTo>
                  <a:lnTo>
                    <a:pt x="98" y="54"/>
                  </a:lnTo>
                  <a:lnTo>
                    <a:pt x="88" y="10"/>
                  </a:lnTo>
                  <a:lnTo>
                    <a:pt x="54" y="0"/>
                  </a:lnTo>
                  <a:lnTo>
                    <a:pt x="54" y="64"/>
                  </a:lnTo>
                  <a:lnTo>
                    <a:pt x="22" y="64"/>
                  </a:lnTo>
                  <a:lnTo>
                    <a:pt x="0" y="86"/>
                  </a:lnTo>
                  <a:lnTo>
                    <a:pt x="44" y="96"/>
                  </a:lnTo>
                  <a:lnTo>
                    <a:pt x="54" y="128"/>
                  </a:lnTo>
                  <a:lnTo>
                    <a:pt x="108" y="128"/>
                  </a:lnTo>
                  <a:lnTo>
                    <a:pt x="98" y="86"/>
                  </a:lnTo>
                  <a:lnTo>
                    <a:pt x="76" y="74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eform 161">
              <a:extLst>
                <a:ext uri="{FF2B5EF4-FFF2-40B4-BE49-F238E27FC236}">
                  <a16:creationId xmlns:a16="http://schemas.microsoft.com/office/drawing/2014/main" id="{781DFB82-F51E-4D90-A29A-6F12A6AED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5660" y="4144913"/>
              <a:ext cx="361950" cy="371475"/>
            </a:xfrm>
            <a:custGeom>
              <a:avLst/>
              <a:gdLst>
                <a:gd name="T0" fmla="*/ 0 w 228"/>
                <a:gd name="T1" fmla="*/ 2147483647 h 234"/>
                <a:gd name="T2" fmla="*/ 0 w 228"/>
                <a:gd name="T3" fmla="*/ 2147483647 h 234"/>
                <a:gd name="T4" fmla="*/ 2147483647 w 228"/>
                <a:gd name="T5" fmla="*/ 2147483647 h 234"/>
                <a:gd name="T6" fmla="*/ 2147483647 w 228"/>
                <a:gd name="T7" fmla="*/ 2147483647 h 234"/>
                <a:gd name="T8" fmla="*/ 2147483647 w 228"/>
                <a:gd name="T9" fmla="*/ 2147483647 h 234"/>
                <a:gd name="T10" fmla="*/ 2147483647 w 228"/>
                <a:gd name="T11" fmla="*/ 2147483647 h 234"/>
                <a:gd name="T12" fmla="*/ 2147483647 w 228"/>
                <a:gd name="T13" fmla="*/ 0 h 234"/>
                <a:gd name="T14" fmla="*/ 2147483647 w 228"/>
                <a:gd name="T15" fmla="*/ 2147483647 h 234"/>
                <a:gd name="T16" fmla="*/ 2147483647 w 228"/>
                <a:gd name="T17" fmla="*/ 2147483647 h 234"/>
                <a:gd name="T18" fmla="*/ 2147483647 w 228"/>
                <a:gd name="T19" fmla="*/ 2147483647 h 234"/>
                <a:gd name="T20" fmla="*/ 2147483647 w 228"/>
                <a:gd name="T21" fmla="*/ 2147483647 h 234"/>
                <a:gd name="T22" fmla="*/ 2147483647 w 228"/>
                <a:gd name="T23" fmla="*/ 2147483647 h 234"/>
                <a:gd name="T24" fmla="*/ 2147483647 w 228"/>
                <a:gd name="T25" fmla="*/ 2147483647 h 234"/>
                <a:gd name="T26" fmla="*/ 2147483647 w 228"/>
                <a:gd name="T27" fmla="*/ 2147483647 h 234"/>
                <a:gd name="T28" fmla="*/ 2147483647 w 228"/>
                <a:gd name="T29" fmla="*/ 2147483647 h 234"/>
                <a:gd name="T30" fmla="*/ 2147483647 w 228"/>
                <a:gd name="T31" fmla="*/ 2147483647 h 234"/>
                <a:gd name="T32" fmla="*/ 2147483647 w 228"/>
                <a:gd name="T33" fmla="*/ 2147483647 h 234"/>
                <a:gd name="T34" fmla="*/ 2147483647 w 228"/>
                <a:gd name="T35" fmla="*/ 2147483647 h 234"/>
                <a:gd name="T36" fmla="*/ 0 w 228"/>
                <a:gd name="T37" fmla="*/ 2147483647 h 2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234">
                  <a:moveTo>
                    <a:pt x="0" y="70"/>
                  </a:moveTo>
                  <a:lnTo>
                    <a:pt x="0" y="38"/>
                  </a:lnTo>
                  <a:lnTo>
                    <a:pt x="32" y="20"/>
                  </a:lnTo>
                  <a:lnTo>
                    <a:pt x="88" y="32"/>
                  </a:lnTo>
                  <a:lnTo>
                    <a:pt x="126" y="32"/>
                  </a:lnTo>
                  <a:lnTo>
                    <a:pt x="158" y="26"/>
                  </a:lnTo>
                  <a:lnTo>
                    <a:pt x="202" y="0"/>
                  </a:lnTo>
                  <a:lnTo>
                    <a:pt x="222" y="20"/>
                  </a:lnTo>
                  <a:lnTo>
                    <a:pt x="228" y="58"/>
                  </a:lnTo>
                  <a:lnTo>
                    <a:pt x="208" y="120"/>
                  </a:lnTo>
                  <a:lnTo>
                    <a:pt x="184" y="140"/>
                  </a:lnTo>
                  <a:lnTo>
                    <a:pt x="164" y="140"/>
                  </a:lnTo>
                  <a:lnTo>
                    <a:pt x="132" y="184"/>
                  </a:lnTo>
                  <a:lnTo>
                    <a:pt x="88" y="222"/>
                  </a:lnTo>
                  <a:lnTo>
                    <a:pt x="64" y="234"/>
                  </a:lnTo>
                  <a:lnTo>
                    <a:pt x="38" y="214"/>
                  </a:lnTo>
                  <a:lnTo>
                    <a:pt x="18" y="152"/>
                  </a:lnTo>
                  <a:lnTo>
                    <a:pt x="26" y="102"/>
                  </a:lnTo>
                  <a:lnTo>
                    <a:pt x="0" y="7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ihandsfigur 99">
              <a:extLst>
                <a:ext uri="{FF2B5EF4-FFF2-40B4-BE49-F238E27FC236}">
                  <a16:creationId xmlns:a16="http://schemas.microsoft.com/office/drawing/2014/main" id="{F3C89042-75E7-4622-9061-2BF36C4016BA}"/>
                </a:ext>
              </a:extLst>
            </p:cNvPr>
            <p:cNvSpPr/>
            <p:nvPr/>
          </p:nvSpPr>
          <p:spPr>
            <a:xfrm>
              <a:off x="5014044" y="3563888"/>
              <a:ext cx="1511300" cy="2705100"/>
            </a:xfrm>
            <a:custGeom>
              <a:avLst/>
              <a:gdLst>
                <a:gd name="connsiteX0" fmla="*/ 688975 w 1511300"/>
                <a:gd name="connsiteY0" fmla="*/ 0 h 2705100"/>
                <a:gd name="connsiteX1" fmla="*/ 536575 w 1511300"/>
                <a:gd name="connsiteY1" fmla="*/ 238125 h 2705100"/>
                <a:gd name="connsiteX2" fmla="*/ 530225 w 1511300"/>
                <a:gd name="connsiteY2" fmla="*/ 279400 h 2705100"/>
                <a:gd name="connsiteX3" fmla="*/ 463550 w 1511300"/>
                <a:gd name="connsiteY3" fmla="*/ 415925 h 2705100"/>
                <a:gd name="connsiteX4" fmla="*/ 377825 w 1511300"/>
                <a:gd name="connsiteY4" fmla="*/ 393700 h 2705100"/>
                <a:gd name="connsiteX5" fmla="*/ 352425 w 1511300"/>
                <a:gd name="connsiteY5" fmla="*/ 374650 h 2705100"/>
                <a:gd name="connsiteX6" fmla="*/ 307975 w 1511300"/>
                <a:gd name="connsiteY6" fmla="*/ 377825 h 2705100"/>
                <a:gd name="connsiteX7" fmla="*/ 282575 w 1511300"/>
                <a:gd name="connsiteY7" fmla="*/ 355600 h 2705100"/>
                <a:gd name="connsiteX8" fmla="*/ 250825 w 1511300"/>
                <a:gd name="connsiteY8" fmla="*/ 501650 h 2705100"/>
                <a:gd name="connsiteX9" fmla="*/ 225425 w 1511300"/>
                <a:gd name="connsiteY9" fmla="*/ 549275 h 2705100"/>
                <a:gd name="connsiteX10" fmla="*/ 203200 w 1511300"/>
                <a:gd name="connsiteY10" fmla="*/ 781050 h 2705100"/>
                <a:gd name="connsiteX11" fmla="*/ 114300 w 1511300"/>
                <a:gd name="connsiteY11" fmla="*/ 917575 h 2705100"/>
                <a:gd name="connsiteX12" fmla="*/ 107950 w 1511300"/>
                <a:gd name="connsiteY12" fmla="*/ 1019175 h 2705100"/>
                <a:gd name="connsiteX13" fmla="*/ 82550 w 1511300"/>
                <a:gd name="connsiteY13" fmla="*/ 1073150 h 2705100"/>
                <a:gd name="connsiteX14" fmla="*/ 15875 w 1511300"/>
                <a:gd name="connsiteY14" fmla="*/ 1130300 h 2705100"/>
                <a:gd name="connsiteX15" fmla="*/ 0 w 1511300"/>
                <a:gd name="connsiteY15" fmla="*/ 1200150 h 2705100"/>
                <a:gd name="connsiteX16" fmla="*/ 73025 w 1511300"/>
                <a:gd name="connsiteY16" fmla="*/ 1352550 h 2705100"/>
                <a:gd name="connsiteX17" fmla="*/ 177800 w 1511300"/>
                <a:gd name="connsiteY17" fmla="*/ 1368425 h 2705100"/>
                <a:gd name="connsiteX18" fmla="*/ 152400 w 1511300"/>
                <a:gd name="connsiteY18" fmla="*/ 1425575 h 2705100"/>
                <a:gd name="connsiteX19" fmla="*/ 15875 w 1511300"/>
                <a:gd name="connsiteY19" fmla="*/ 1517650 h 2705100"/>
                <a:gd name="connsiteX20" fmla="*/ 22225 w 1511300"/>
                <a:gd name="connsiteY20" fmla="*/ 1574800 h 2705100"/>
                <a:gd name="connsiteX21" fmla="*/ 50800 w 1511300"/>
                <a:gd name="connsiteY21" fmla="*/ 1606550 h 2705100"/>
                <a:gd name="connsiteX22" fmla="*/ 130175 w 1511300"/>
                <a:gd name="connsiteY22" fmla="*/ 1612900 h 2705100"/>
                <a:gd name="connsiteX23" fmla="*/ 234950 w 1511300"/>
                <a:gd name="connsiteY23" fmla="*/ 1635125 h 2705100"/>
                <a:gd name="connsiteX24" fmla="*/ 203200 w 1511300"/>
                <a:gd name="connsiteY24" fmla="*/ 1708150 h 2705100"/>
                <a:gd name="connsiteX25" fmla="*/ 238125 w 1511300"/>
                <a:gd name="connsiteY25" fmla="*/ 1781175 h 2705100"/>
                <a:gd name="connsiteX26" fmla="*/ 304800 w 1511300"/>
                <a:gd name="connsiteY26" fmla="*/ 1866900 h 2705100"/>
                <a:gd name="connsiteX27" fmla="*/ 285750 w 1511300"/>
                <a:gd name="connsiteY27" fmla="*/ 2044700 h 2705100"/>
                <a:gd name="connsiteX28" fmla="*/ 320675 w 1511300"/>
                <a:gd name="connsiteY28" fmla="*/ 2159000 h 2705100"/>
                <a:gd name="connsiteX29" fmla="*/ 260350 w 1511300"/>
                <a:gd name="connsiteY29" fmla="*/ 2298700 h 2705100"/>
                <a:gd name="connsiteX30" fmla="*/ 288925 w 1511300"/>
                <a:gd name="connsiteY30" fmla="*/ 2460625 h 2705100"/>
                <a:gd name="connsiteX31" fmla="*/ 377825 w 1511300"/>
                <a:gd name="connsiteY31" fmla="*/ 2562225 h 2705100"/>
                <a:gd name="connsiteX32" fmla="*/ 466725 w 1511300"/>
                <a:gd name="connsiteY32" fmla="*/ 2286000 h 2705100"/>
                <a:gd name="connsiteX33" fmla="*/ 492125 w 1511300"/>
                <a:gd name="connsiteY33" fmla="*/ 2263775 h 2705100"/>
                <a:gd name="connsiteX34" fmla="*/ 539750 w 1511300"/>
                <a:gd name="connsiteY34" fmla="*/ 2384425 h 2705100"/>
                <a:gd name="connsiteX35" fmla="*/ 539750 w 1511300"/>
                <a:gd name="connsiteY35" fmla="*/ 2463800 h 2705100"/>
                <a:gd name="connsiteX36" fmla="*/ 469900 w 1511300"/>
                <a:gd name="connsiteY36" fmla="*/ 2587625 h 2705100"/>
                <a:gd name="connsiteX37" fmla="*/ 539750 w 1511300"/>
                <a:gd name="connsiteY37" fmla="*/ 2593975 h 2705100"/>
                <a:gd name="connsiteX38" fmla="*/ 593725 w 1511300"/>
                <a:gd name="connsiteY38" fmla="*/ 2670175 h 2705100"/>
                <a:gd name="connsiteX39" fmla="*/ 600075 w 1511300"/>
                <a:gd name="connsiteY39" fmla="*/ 2692400 h 2705100"/>
                <a:gd name="connsiteX40" fmla="*/ 777875 w 1511300"/>
                <a:gd name="connsiteY40" fmla="*/ 2705100 h 2705100"/>
                <a:gd name="connsiteX41" fmla="*/ 942975 w 1511300"/>
                <a:gd name="connsiteY41" fmla="*/ 2584450 h 2705100"/>
                <a:gd name="connsiteX42" fmla="*/ 955675 w 1511300"/>
                <a:gd name="connsiteY42" fmla="*/ 2495550 h 2705100"/>
                <a:gd name="connsiteX43" fmla="*/ 1000125 w 1511300"/>
                <a:gd name="connsiteY43" fmla="*/ 2447925 h 2705100"/>
                <a:gd name="connsiteX44" fmla="*/ 974725 w 1511300"/>
                <a:gd name="connsiteY44" fmla="*/ 2365375 h 2705100"/>
                <a:gd name="connsiteX45" fmla="*/ 885825 w 1511300"/>
                <a:gd name="connsiteY45" fmla="*/ 2235200 h 2705100"/>
                <a:gd name="connsiteX46" fmla="*/ 860425 w 1511300"/>
                <a:gd name="connsiteY46" fmla="*/ 1958975 h 2705100"/>
                <a:gd name="connsiteX47" fmla="*/ 815975 w 1511300"/>
                <a:gd name="connsiteY47" fmla="*/ 1905000 h 2705100"/>
                <a:gd name="connsiteX48" fmla="*/ 927100 w 1511300"/>
                <a:gd name="connsiteY48" fmla="*/ 1816100 h 2705100"/>
                <a:gd name="connsiteX49" fmla="*/ 1079500 w 1511300"/>
                <a:gd name="connsiteY49" fmla="*/ 1930400 h 2705100"/>
                <a:gd name="connsiteX50" fmla="*/ 1225550 w 1511300"/>
                <a:gd name="connsiteY50" fmla="*/ 1873250 h 2705100"/>
                <a:gd name="connsiteX51" fmla="*/ 1133475 w 1511300"/>
                <a:gd name="connsiteY51" fmla="*/ 1590675 h 2705100"/>
                <a:gd name="connsiteX52" fmla="*/ 1057275 w 1511300"/>
                <a:gd name="connsiteY52" fmla="*/ 1558925 h 2705100"/>
                <a:gd name="connsiteX53" fmla="*/ 1130300 w 1511300"/>
                <a:gd name="connsiteY53" fmla="*/ 1454150 h 2705100"/>
                <a:gd name="connsiteX54" fmla="*/ 1216025 w 1511300"/>
                <a:gd name="connsiteY54" fmla="*/ 1473200 h 2705100"/>
                <a:gd name="connsiteX55" fmla="*/ 1397000 w 1511300"/>
                <a:gd name="connsiteY55" fmla="*/ 1241425 h 2705100"/>
                <a:gd name="connsiteX56" fmla="*/ 1409700 w 1511300"/>
                <a:gd name="connsiteY56" fmla="*/ 1092200 h 2705100"/>
                <a:gd name="connsiteX57" fmla="*/ 1333500 w 1511300"/>
                <a:gd name="connsiteY57" fmla="*/ 927100 h 2705100"/>
                <a:gd name="connsiteX58" fmla="*/ 1231900 w 1511300"/>
                <a:gd name="connsiteY58" fmla="*/ 850900 h 2705100"/>
                <a:gd name="connsiteX59" fmla="*/ 1304925 w 1511300"/>
                <a:gd name="connsiteY59" fmla="*/ 752475 h 2705100"/>
                <a:gd name="connsiteX60" fmla="*/ 1384300 w 1511300"/>
                <a:gd name="connsiteY60" fmla="*/ 688975 h 2705100"/>
                <a:gd name="connsiteX61" fmla="*/ 1393825 w 1511300"/>
                <a:gd name="connsiteY61" fmla="*/ 654050 h 2705100"/>
                <a:gd name="connsiteX62" fmla="*/ 1482725 w 1511300"/>
                <a:gd name="connsiteY62" fmla="*/ 631825 h 2705100"/>
                <a:gd name="connsiteX63" fmla="*/ 1511300 w 1511300"/>
                <a:gd name="connsiteY63" fmla="*/ 593725 h 2705100"/>
                <a:gd name="connsiteX64" fmla="*/ 1466850 w 1511300"/>
                <a:gd name="connsiteY64" fmla="*/ 517525 h 2705100"/>
                <a:gd name="connsiteX65" fmla="*/ 1495425 w 1511300"/>
                <a:gd name="connsiteY65" fmla="*/ 434975 h 2705100"/>
                <a:gd name="connsiteX66" fmla="*/ 1492250 w 1511300"/>
                <a:gd name="connsiteY66" fmla="*/ 384175 h 2705100"/>
                <a:gd name="connsiteX67" fmla="*/ 1263650 w 1511300"/>
                <a:gd name="connsiteY67" fmla="*/ 314325 h 2705100"/>
                <a:gd name="connsiteX68" fmla="*/ 1200150 w 1511300"/>
                <a:gd name="connsiteY68" fmla="*/ 466725 h 2705100"/>
                <a:gd name="connsiteX69" fmla="*/ 1101725 w 1511300"/>
                <a:gd name="connsiteY69" fmla="*/ 581025 h 2705100"/>
                <a:gd name="connsiteX70" fmla="*/ 1019175 w 1511300"/>
                <a:gd name="connsiteY70" fmla="*/ 536575 h 2705100"/>
                <a:gd name="connsiteX71" fmla="*/ 1016000 w 1511300"/>
                <a:gd name="connsiteY71" fmla="*/ 485775 h 2705100"/>
                <a:gd name="connsiteX72" fmla="*/ 806450 w 1511300"/>
                <a:gd name="connsiteY72" fmla="*/ 495300 h 2705100"/>
                <a:gd name="connsiteX73" fmla="*/ 758825 w 1511300"/>
                <a:gd name="connsiteY73" fmla="*/ 460375 h 2705100"/>
                <a:gd name="connsiteX74" fmla="*/ 711200 w 1511300"/>
                <a:gd name="connsiteY74" fmla="*/ 273050 h 2705100"/>
                <a:gd name="connsiteX75" fmla="*/ 835025 w 1511300"/>
                <a:gd name="connsiteY75" fmla="*/ 142875 h 2705100"/>
                <a:gd name="connsiteX76" fmla="*/ 704850 w 1511300"/>
                <a:gd name="connsiteY76" fmla="*/ 95250 h 2705100"/>
                <a:gd name="connsiteX77" fmla="*/ 688975 w 1511300"/>
                <a:gd name="connsiteY77" fmla="*/ 0 h 2705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1511300" h="2705100">
                  <a:moveTo>
                    <a:pt x="688975" y="0"/>
                  </a:moveTo>
                  <a:lnTo>
                    <a:pt x="536575" y="238125"/>
                  </a:lnTo>
                  <a:lnTo>
                    <a:pt x="530225" y="279400"/>
                  </a:lnTo>
                  <a:lnTo>
                    <a:pt x="463550" y="415925"/>
                  </a:lnTo>
                  <a:lnTo>
                    <a:pt x="377825" y="393700"/>
                  </a:lnTo>
                  <a:lnTo>
                    <a:pt x="352425" y="374650"/>
                  </a:lnTo>
                  <a:lnTo>
                    <a:pt x="307975" y="377825"/>
                  </a:lnTo>
                  <a:lnTo>
                    <a:pt x="282575" y="355600"/>
                  </a:lnTo>
                  <a:lnTo>
                    <a:pt x="250825" y="501650"/>
                  </a:lnTo>
                  <a:lnTo>
                    <a:pt x="225425" y="549275"/>
                  </a:lnTo>
                  <a:lnTo>
                    <a:pt x="203200" y="781050"/>
                  </a:lnTo>
                  <a:lnTo>
                    <a:pt x="114300" y="917575"/>
                  </a:lnTo>
                  <a:lnTo>
                    <a:pt x="107950" y="1019175"/>
                  </a:lnTo>
                  <a:lnTo>
                    <a:pt x="82550" y="1073150"/>
                  </a:lnTo>
                  <a:lnTo>
                    <a:pt x="15875" y="1130300"/>
                  </a:lnTo>
                  <a:lnTo>
                    <a:pt x="0" y="1200150"/>
                  </a:lnTo>
                  <a:lnTo>
                    <a:pt x="73025" y="1352550"/>
                  </a:lnTo>
                  <a:lnTo>
                    <a:pt x="177800" y="1368425"/>
                  </a:lnTo>
                  <a:lnTo>
                    <a:pt x="152400" y="1425575"/>
                  </a:lnTo>
                  <a:lnTo>
                    <a:pt x="15875" y="1517650"/>
                  </a:lnTo>
                  <a:lnTo>
                    <a:pt x="22225" y="1574800"/>
                  </a:lnTo>
                  <a:lnTo>
                    <a:pt x="50800" y="1606550"/>
                  </a:lnTo>
                  <a:lnTo>
                    <a:pt x="130175" y="1612900"/>
                  </a:lnTo>
                  <a:lnTo>
                    <a:pt x="234950" y="1635125"/>
                  </a:lnTo>
                  <a:lnTo>
                    <a:pt x="203200" y="1708150"/>
                  </a:lnTo>
                  <a:lnTo>
                    <a:pt x="238125" y="1781175"/>
                  </a:lnTo>
                  <a:lnTo>
                    <a:pt x="304800" y="1866900"/>
                  </a:lnTo>
                  <a:lnTo>
                    <a:pt x="285750" y="2044700"/>
                  </a:lnTo>
                  <a:lnTo>
                    <a:pt x="320675" y="2159000"/>
                  </a:lnTo>
                  <a:lnTo>
                    <a:pt x="260350" y="2298700"/>
                  </a:lnTo>
                  <a:lnTo>
                    <a:pt x="288925" y="2460625"/>
                  </a:lnTo>
                  <a:lnTo>
                    <a:pt x="377825" y="2562225"/>
                  </a:lnTo>
                  <a:lnTo>
                    <a:pt x="466725" y="2286000"/>
                  </a:lnTo>
                  <a:lnTo>
                    <a:pt x="492125" y="2263775"/>
                  </a:lnTo>
                  <a:lnTo>
                    <a:pt x="539750" y="2384425"/>
                  </a:lnTo>
                  <a:lnTo>
                    <a:pt x="539750" y="2463800"/>
                  </a:lnTo>
                  <a:lnTo>
                    <a:pt x="469900" y="2587625"/>
                  </a:lnTo>
                  <a:lnTo>
                    <a:pt x="539750" y="2593975"/>
                  </a:lnTo>
                  <a:lnTo>
                    <a:pt x="593725" y="2670175"/>
                  </a:lnTo>
                  <a:lnTo>
                    <a:pt x="600075" y="2692400"/>
                  </a:lnTo>
                  <a:lnTo>
                    <a:pt x="777875" y="2705100"/>
                  </a:lnTo>
                  <a:lnTo>
                    <a:pt x="942975" y="2584450"/>
                  </a:lnTo>
                  <a:lnTo>
                    <a:pt x="955675" y="2495550"/>
                  </a:lnTo>
                  <a:lnTo>
                    <a:pt x="1000125" y="2447925"/>
                  </a:lnTo>
                  <a:lnTo>
                    <a:pt x="974725" y="2365375"/>
                  </a:lnTo>
                  <a:lnTo>
                    <a:pt x="885825" y="2235200"/>
                  </a:lnTo>
                  <a:lnTo>
                    <a:pt x="860425" y="1958975"/>
                  </a:lnTo>
                  <a:lnTo>
                    <a:pt x="815975" y="1905000"/>
                  </a:lnTo>
                  <a:lnTo>
                    <a:pt x="927100" y="1816100"/>
                  </a:lnTo>
                  <a:lnTo>
                    <a:pt x="1079500" y="1930400"/>
                  </a:lnTo>
                  <a:lnTo>
                    <a:pt x="1225550" y="1873250"/>
                  </a:lnTo>
                  <a:lnTo>
                    <a:pt x="1133475" y="1590675"/>
                  </a:lnTo>
                  <a:lnTo>
                    <a:pt x="1057275" y="1558925"/>
                  </a:lnTo>
                  <a:lnTo>
                    <a:pt x="1130300" y="1454150"/>
                  </a:lnTo>
                  <a:lnTo>
                    <a:pt x="1216025" y="1473200"/>
                  </a:lnTo>
                  <a:lnTo>
                    <a:pt x="1397000" y="1241425"/>
                  </a:lnTo>
                  <a:lnTo>
                    <a:pt x="1409700" y="1092200"/>
                  </a:lnTo>
                  <a:lnTo>
                    <a:pt x="1333500" y="927100"/>
                  </a:lnTo>
                  <a:lnTo>
                    <a:pt x="1231900" y="850900"/>
                  </a:lnTo>
                  <a:lnTo>
                    <a:pt x="1304925" y="752475"/>
                  </a:lnTo>
                  <a:lnTo>
                    <a:pt x="1384300" y="688975"/>
                  </a:lnTo>
                  <a:lnTo>
                    <a:pt x="1393825" y="654050"/>
                  </a:lnTo>
                  <a:lnTo>
                    <a:pt x="1482725" y="631825"/>
                  </a:lnTo>
                  <a:lnTo>
                    <a:pt x="1511300" y="593725"/>
                  </a:lnTo>
                  <a:lnTo>
                    <a:pt x="1466850" y="517525"/>
                  </a:lnTo>
                  <a:lnTo>
                    <a:pt x="1495425" y="434975"/>
                  </a:lnTo>
                  <a:lnTo>
                    <a:pt x="1492250" y="384175"/>
                  </a:lnTo>
                  <a:lnTo>
                    <a:pt x="1263650" y="314325"/>
                  </a:lnTo>
                  <a:lnTo>
                    <a:pt x="1200150" y="466725"/>
                  </a:lnTo>
                  <a:lnTo>
                    <a:pt x="1101725" y="581025"/>
                  </a:lnTo>
                  <a:lnTo>
                    <a:pt x="1019175" y="536575"/>
                  </a:lnTo>
                  <a:lnTo>
                    <a:pt x="1016000" y="485775"/>
                  </a:lnTo>
                  <a:lnTo>
                    <a:pt x="806450" y="495300"/>
                  </a:lnTo>
                  <a:lnTo>
                    <a:pt x="758825" y="460375"/>
                  </a:lnTo>
                  <a:lnTo>
                    <a:pt x="711200" y="273050"/>
                  </a:lnTo>
                  <a:lnTo>
                    <a:pt x="835025" y="142875"/>
                  </a:lnTo>
                  <a:lnTo>
                    <a:pt x="704850" y="95250"/>
                  </a:lnTo>
                  <a:lnTo>
                    <a:pt x="688975" y="0"/>
                  </a:lnTo>
                  <a:close/>
                </a:path>
              </a:pathLst>
            </a:custGeom>
            <a:noFill/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20538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pull dir="d"/>
      </p:transition>
    </mc:Choice>
    <mc:Fallback>
      <p:transition spd="slow">
        <p:pull dir="d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4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4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8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4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4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85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4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250"/>
                            </p:stCondLst>
                            <p:childTnLst>
                              <p:par>
                                <p:cTn id="2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4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65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4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300"/>
                            </p:stCondLst>
                            <p:childTnLst>
                              <p:par>
                                <p:cTn id="3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4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12" grpId="0"/>
      <p:bldP spid="13" grpId="0"/>
      <p:bldP spid="14" grpId="0"/>
      <p:bldP spid="2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Bildobjekt 61">
            <a:extLst>
              <a:ext uri="{FF2B5EF4-FFF2-40B4-BE49-F238E27FC236}">
                <a16:creationId xmlns:a16="http://schemas.microsoft.com/office/drawing/2014/main" id="{EA11BF8B-62ED-418F-9B4D-5DD18EBFC0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372" y="4018754"/>
            <a:ext cx="792000" cy="792000"/>
          </a:xfrm>
          <a:prstGeom prst="rect">
            <a:avLst/>
          </a:prstGeom>
        </p:spPr>
      </p:pic>
      <p:pic>
        <p:nvPicPr>
          <p:cNvPr id="74" name="Bildobjekt 73">
            <a:extLst>
              <a:ext uri="{FF2B5EF4-FFF2-40B4-BE49-F238E27FC236}">
                <a16:creationId xmlns:a16="http://schemas.microsoft.com/office/drawing/2014/main" id="{3D5E96EC-9844-49A8-B51C-3232392597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1591" y="3767792"/>
            <a:ext cx="792000" cy="792000"/>
          </a:xfrm>
          <a:prstGeom prst="rect">
            <a:avLst/>
          </a:prstGeom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5" name="Bildzoom 4">
                <a:extLst>
                  <a:ext uri="{FF2B5EF4-FFF2-40B4-BE49-F238E27FC236}">
                    <a16:creationId xmlns:a16="http://schemas.microsoft.com/office/drawing/2014/main" id="{924B8033-25D0-478B-8910-F6E5B25356A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582823525"/>
                  </p:ext>
                </p:extLst>
              </p:nvPr>
            </p:nvGraphicFramePr>
            <p:xfrm>
              <a:off x="6839827" y="2582648"/>
              <a:ext cx="1620000" cy="911250"/>
            </p:xfrm>
            <a:graphic>
              <a:graphicData uri="http://schemas.microsoft.com/office/powerpoint/2016/slidezoom">
                <pslz:sldZm>
                  <pslz:sldZmObj sldId="382" cId="1033054239">
                    <pslz:zmPr id="{4C929821-DBF6-456E-A245-A1F8146F5C7C}" transitionDur="1000">
                      <p166:blipFill xmlns:p166="http://schemas.microsoft.com/office/powerpoint/2016/6/main">
                        <a:blip r:embed="rId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620000" cy="91125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5" name="Bildzoom 4">
                <a:hlinkClick r:id="rId5" action="ppaction://hlinksldjump"/>
                <a:extLst>
                  <a:ext uri="{FF2B5EF4-FFF2-40B4-BE49-F238E27FC236}">
                    <a16:creationId xmlns:a16="http://schemas.microsoft.com/office/drawing/2014/main" id="{924B8033-25D0-478B-8910-F6E5B25356A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839827" y="2582648"/>
                <a:ext cx="1620000" cy="91125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38" name="Bildzoom 37">
                <a:extLst>
                  <a:ext uri="{FF2B5EF4-FFF2-40B4-BE49-F238E27FC236}">
                    <a16:creationId xmlns:a16="http://schemas.microsoft.com/office/drawing/2014/main" id="{24206FFB-B397-4CF3-9FE1-56C572B6255B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905932659"/>
                  </p:ext>
                </p:extLst>
              </p:nvPr>
            </p:nvGraphicFramePr>
            <p:xfrm>
              <a:off x="2410419" y="5512271"/>
              <a:ext cx="1620000" cy="911250"/>
            </p:xfrm>
            <a:graphic>
              <a:graphicData uri="http://schemas.microsoft.com/office/powerpoint/2016/slidezoom">
                <pslz:sldZm>
                  <pslz:sldZmObj sldId="372" cId="2704119598">
                    <pslz:zmPr id="{02C2603E-C621-4587-AB83-7C91C165A3A2}" transitionDur="100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620000" cy="911250"/>
                        </a:xfrm>
                        <a:prstGeom prst="rect">
                          <a:avLst/>
                        </a:prstGeom>
                        <a:ln>
                          <a:noFill/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38" name="Bildzoom 37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24206FFB-B397-4CF3-9FE1-56C572B6255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2410419" y="5512271"/>
                <a:ext cx="1620000" cy="911250"/>
              </a:xfrm>
              <a:prstGeom prst="rect">
                <a:avLst/>
              </a:prstGeom>
              <a:ln>
                <a:noFill/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39" name="Bildzoom 38">
                <a:extLst>
                  <a:ext uri="{FF2B5EF4-FFF2-40B4-BE49-F238E27FC236}">
                    <a16:creationId xmlns:a16="http://schemas.microsoft.com/office/drawing/2014/main" id="{07693D47-06DC-4021-93D6-8B6301C8E71F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541623809"/>
                  </p:ext>
                </p:extLst>
              </p:nvPr>
            </p:nvGraphicFramePr>
            <p:xfrm>
              <a:off x="4084739" y="5512271"/>
              <a:ext cx="1620000" cy="911250"/>
            </p:xfrm>
            <a:graphic>
              <a:graphicData uri="http://schemas.microsoft.com/office/powerpoint/2016/slidezoom">
                <pslz:sldZm>
                  <pslz:sldZmObj sldId="373" cId="4131202613">
                    <pslz:zmPr id="{D1453F96-C0EC-4806-9A48-141AF7551F90}" transitionDur="100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620000" cy="91125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39" name="Bildzoom 38">
                <a:hlinkClick r:id="rId11" action="ppaction://hlinksldjump"/>
                <a:extLst>
                  <a:ext uri="{FF2B5EF4-FFF2-40B4-BE49-F238E27FC236}">
                    <a16:creationId xmlns:a16="http://schemas.microsoft.com/office/drawing/2014/main" id="{07693D47-06DC-4021-93D6-8B6301C8E71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4084739" y="5512271"/>
                <a:ext cx="1620000" cy="911250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40" name="Bildzoom 39">
                <a:extLst>
                  <a:ext uri="{FF2B5EF4-FFF2-40B4-BE49-F238E27FC236}">
                    <a16:creationId xmlns:a16="http://schemas.microsoft.com/office/drawing/2014/main" id="{379DF7C9-03AD-4C1D-B49C-791564C7B9A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44382295"/>
                  </p:ext>
                </p:extLst>
              </p:nvPr>
            </p:nvGraphicFramePr>
            <p:xfrm>
              <a:off x="5764163" y="5512271"/>
              <a:ext cx="1620000" cy="911250"/>
            </p:xfrm>
            <a:graphic>
              <a:graphicData uri="http://schemas.microsoft.com/office/powerpoint/2016/slidezoom">
                <pslz:sldZm>
                  <pslz:sldZmObj sldId="374" cId="3500338488">
                    <pslz:zmPr id="{5F607617-6152-4BD1-B6FF-912D1F6C51BC}" transitionDur="1000">
                      <p166:blipFill xmlns:p166="http://schemas.microsoft.com/office/powerpoint/2016/6/main">
                        <a:blip r:embed="rId1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620000" cy="91125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40" name="Bildzoom 39">
                <a:hlinkClick r:id="rId14" action="ppaction://hlinksldjump"/>
                <a:extLst>
                  <a:ext uri="{FF2B5EF4-FFF2-40B4-BE49-F238E27FC236}">
                    <a16:creationId xmlns:a16="http://schemas.microsoft.com/office/drawing/2014/main" id="{379DF7C9-03AD-4C1D-B49C-791564C7B9A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5764163" y="5512271"/>
                <a:ext cx="1620000" cy="911250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p:sp>
        <p:nvSpPr>
          <p:cNvPr id="4" name="Rubrik 3">
            <a:extLst>
              <a:ext uri="{FF2B5EF4-FFF2-40B4-BE49-F238E27FC236}">
                <a16:creationId xmlns:a16="http://schemas.microsoft.com/office/drawing/2014/main" id="{1BEC73C2-3079-412B-811C-03588D26C6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7560000" cy="730250"/>
          </a:xfrm>
        </p:spPr>
        <p:txBody>
          <a:bodyPr/>
          <a:lstStyle/>
          <a:p>
            <a:r>
              <a:rPr lang="sv-SE" dirty="0"/>
              <a:t>Konjunkturen i Göteborgsregionen</a:t>
            </a:r>
          </a:p>
        </p:txBody>
      </p:sp>
      <p:sp>
        <p:nvSpPr>
          <p:cNvPr id="8" name="Ellips 7">
            <a:extLst>
              <a:ext uri="{FF2B5EF4-FFF2-40B4-BE49-F238E27FC236}">
                <a16:creationId xmlns:a16="http://schemas.microsoft.com/office/drawing/2014/main" id="{248EAFBD-787F-4A8E-87E8-68115355A74C}"/>
              </a:ext>
            </a:extLst>
          </p:cNvPr>
          <p:cNvSpPr/>
          <p:nvPr/>
        </p:nvSpPr>
        <p:spPr>
          <a:xfrm>
            <a:off x="564178" y="1565416"/>
            <a:ext cx="1800000" cy="180000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  <a:p>
            <a:pPr algn="ctr"/>
            <a:endParaRPr lang="sv-SE" dirty="0"/>
          </a:p>
          <a:p>
            <a:pPr algn="ctr"/>
            <a:r>
              <a:rPr lang="sv-SE" sz="1600" dirty="0"/>
              <a:t>Globalt och Sverige</a:t>
            </a: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2" name="Bildzoom 11">
                <a:extLst>
                  <a:ext uri="{FF2B5EF4-FFF2-40B4-BE49-F238E27FC236}">
                    <a16:creationId xmlns:a16="http://schemas.microsoft.com/office/drawing/2014/main" id="{1A7DD06F-2F14-4FA3-9474-29535F2DC47B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146884574"/>
                  </p:ext>
                </p:extLst>
              </p:nvPr>
            </p:nvGraphicFramePr>
            <p:xfrm>
              <a:off x="3017835" y="2863067"/>
              <a:ext cx="1620000" cy="911250"/>
            </p:xfrm>
            <a:graphic>
              <a:graphicData uri="http://schemas.microsoft.com/office/powerpoint/2016/slidezoom">
                <pslz:sldZm>
                  <pslz:sldZmObj sldId="370" cId="1048921025">
                    <pslz:zmPr id="{9960539B-6EE0-4F03-9A6B-DC013BCAEF58}" transitionDur="1000">
                      <p166:blipFill xmlns:p166="http://schemas.microsoft.com/office/powerpoint/2016/6/main">
                        <a:blip r:embed="rId1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620000" cy="911250"/>
                        </a:xfrm>
                        <a:prstGeom prst="rect">
                          <a:avLst/>
                        </a:prstGeom>
                        <a:ln>
                          <a:noFill/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2" name="Bildzoom 11">
                <a:hlinkClick r:id="rId17" action="ppaction://hlinksldjump"/>
                <a:extLst>
                  <a:ext uri="{FF2B5EF4-FFF2-40B4-BE49-F238E27FC236}">
                    <a16:creationId xmlns:a16="http://schemas.microsoft.com/office/drawing/2014/main" id="{1A7DD06F-2F14-4FA3-9474-29535F2DC47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3017835" y="2863067"/>
                <a:ext cx="1620000" cy="911250"/>
              </a:xfrm>
              <a:prstGeom prst="rect">
                <a:avLst/>
              </a:prstGeom>
              <a:ln>
                <a:noFill/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3" name="Bildzoom 12">
                <a:extLst>
                  <a:ext uri="{FF2B5EF4-FFF2-40B4-BE49-F238E27FC236}">
                    <a16:creationId xmlns:a16="http://schemas.microsoft.com/office/drawing/2014/main" id="{977D5D23-95A9-4735-B95D-D707D26A12A3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275935524"/>
                  </p:ext>
                </p:extLst>
              </p:nvPr>
            </p:nvGraphicFramePr>
            <p:xfrm>
              <a:off x="3017835" y="3827504"/>
              <a:ext cx="1620000" cy="911250"/>
            </p:xfrm>
            <a:graphic>
              <a:graphicData uri="http://schemas.microsoft.com/office/powerpoint/2016/slidezoom">
                <pslz:sldZm>
                  <pslz:sldZmObj sldId="371" cId="4202602510">
                    <pslz:zmPr id="{BF377267-F48F-4AFB-9BEA-66FE1DF99247}" transitionDur="1000">
                      <p166:blipFill xmlns:p166="http://schemas.microsoft.com/office/powerpoint/2016/6/main">
                        <a:blip r:embed="rId19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620000" cy="911250"/>
                        </a:xfrm>
                        <a:prstGeom prst="rect">
                          <a:avLst/>
                        </a:prstGeom>
                        <a:ln>
                          <a:noFill/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3" name="Bildzoom 12">
                <a:hlinkClick r:id="rId20" action="ppaction://hlinksldjump"/>
                <a:extLst>
                  <a:ext uri="{FF2B5EF4-FFF2-40B4-BE49-F238E27FC236}">
                    <a16:creationId xmlns:a16="http://schemas.microsoft.com/office/drawing/2014/main" id="{977D5D23-95A9-4735-B95D-D707D26A12A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3017835" y="3827504"/>
                <a:ext cx="1620000" cy="911250"/>
              </a:xfrm>
              <a:prstGeom prst="rect">
                <a:avLst/>
              </a:prstGeom>
              <a:ln>
                <a:noFill/>
              </a:ln>
            </p:spPr>
          </p:pic>
        </mc:Fallback>
      </mc:AlternateContent>
      <p:pic>
        <p:nvPicPr>
          <p:cNvPr id="14" name="Bildobjekt 13">
            <a:extLst>
              <a:ext uri="{FF2B5EF4-FFF2-40B4-BE49-F238E27FC236}">
                <a16:creationId xmlns:a16="http://schemas.microsoft.com/office/drawing/2014/main" id="{8531BDF8-7467-493A-954A-0771D93CE2E6}"/>
              </a:ext>
            </a:extLst>
          </p:cNvPr>
          <p:cNvPicPr>
            <a:picLocks noChangeAspect="1"/>
          </p:cNvPicPr>
          <p:nvPr/>
        </p:nvPicPr>
        <p:blipFill>
          <a:blip r:embed="rId21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367" y="1785085"/>
            <a:ext cx="738801" cy="738801"/>
          </a:xfrm>
          <a:prstGeom prst="rect">
            <a:avLst/>
          </a:prstGeom>
        </p:spPr>
      </p:pic>
      <p:grpSp>
        <p:nvGrpSpPr>
          <p:cNvPr id="19" name="Grupp 18">
            <a:extLst>
              <a:ext uri="{FF2B5EF4-FFF2-40B4-BE49-F238E27FC236}">
                <a16:creationId xmlns:a16="http://schemas.microsoft.com/office/drawing/2014/main" id="{4F5EC9FD-13AF-4220-A6B7-A27C2244EF7B}"/>
              </a:ext>
            </a:extLst>
          </p:cNvPr>
          <p:cNvGrpSpPr/>
          <p:nvPr/>
        </p:nvGrpSpPr>
        <p:grpSpPr>
          <a:xfrm>
            <a:off x="1595622" y="2121795"/>
            <a:ext cx="1331013" cy="2958963"/>
            <a:chOff x="2413807" y="2069779"/>
            <a:chExt cx="1331013" cy="2958963"/>
          </a:xfrm>
        </p:grpSpPr>
        <p:sp>
          <p:nvSpPr>
            <p:cNvPr id="16" name="Båge 15">
              <a:extLst>
                <a:ext uri="{FF2B5EF4-FFF2-40B4-BE49-F238E27FC236}">
                  <a16:creationId xmlns:a16="http://schemas.microsoft.com/office/drawing/2014/main" id="{8A570123-C02E-4BCA-86F3-FCBE83F4B6B6}"/>
                </a:ext>
              </a:extLst>
            </p:cNvPr>
            <p:cNvSpPr/>
            <p:nvPr/>
          </p:nvSpPr>
          <p:spPr>
            <a:xfrm>
              <a:off x="2413807" y="2069779"/>
              <a:ext cx="1330890" cy="1641987"/>
            </a:xfrm>
            <a:prstGeom prst="arc">
              <a:avLst>
                <a:gd name="adj1" fmla="val 13628322"/>
                <a:gd name="adj2" fmla="val 0"/>
              </a:avLst>
            </a:prstGeom>
            <a:ln w="57150"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cxnSp>
          <p:nvCxnSpPr>
            <p:cNvPr id="18" name="Rak koppling 17">
              <a:extLst>
                <a:ext uri="{FF2B5EF4-FFF2-40B4-BE49-F238E27FC236}">
                  <a16:creationId xmlns:a16="http://schemas.microsoft.com/office/drawing/2014/main" id="{7083AE39-7457-488C-B31B-EB98414BCCB5}"/>
                </a:ext>
              </a:extLst>
            </p:cNvPr>
            <p:cNvCxnSpPr/>
            <p:nvPr/>
          </p:nvCxnSpPr>
          <p:spPr>
            <a:xfrm>
              <a:off x="3744820" y="2904742"/>
              <a:ext cx="0" cy="2124000"/>
            </a:xfrm>
            <a:prstGeom prst="line">
              <a:avLst/>
            </a:prstGeom>
            <a:ln w="57150"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Ellips 24">
            <a:extLst>
              <a:ext uri="{FF2B5EF4-FFF2-40B4-BE49-F238E27FC236}">
                <a16:creationId xmlns:a16="http://schemas.microsoft.com/office/drawing/2014/main" id="{1AD1ADB4-D1CA-46BA-80BF-AEC43F4F5355}"/>
              </a:ext>
            </a:extLst>
          </p:cNvPr>
          <p:cNvSpPr/>
          <p:nvPr/>
        </p:nvSpPr>
        <p:spPr>
          <a:xfrm>
            <a:off x="9084007" y="216806"/>
            <a:ext cx="1800000" cy="180000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sv-SE" dirty="0"/>
          </a:p>
          <a:p>
            <a:pPr algn="ctr"/>
            <a:endParaRPr lang="sv-SE" dirty="0"/>
          </a:p>
          <a:p>
            <a:pPr algn="ctr"/>
            <a:r>
              <a:rPr lang="sv-SE" sz="1600" dirty="0"/>
              <a:t>Göteborgs-regionen</a:t>
            </a:r>
            <a:endParaRPr lang="sv-SE" sz="1200" dirty="0"/>
          </a:p>
        </p:txBody>
      </p:sp>
      <p:grpSp>
        <p:nvGrpSpPr>
          <p:cNvPr id="33" name="Grupp 32">
            <a:extLst>
              <a:ext uri="{FF2B5EF4-FFF2-40B4-BE49-F238E27FC236}">
                <a16:creationId xmlns:a16="http://schemas.microsoft.com/office/drawing/2014/main" id="{472F4453-CB58-4246-8015-E3BE26E72EEF}"/>
              </a:ext>
            </a:extLst>
          </p:cNvPr>
          <p:cNvGrpSpPr/>
          <p:nvPr/>
        </p:nvGrpSpPr>
        <p:grpSpPr>
          <a:xfrm>
            <a:off x="628533" y="818170"/>
            <a:ext cx="9265905" cy="4621144"/>
            <a:chOff x="758073" y="910934"/>
            <a:chExt cx="9265905" cy="4621144"/>
          </a:xfrm>
        </p:grpSpPr>
        <p:grpSp>
          <p:nvGrpSpPr>
            <p:cNvPr id="27" name="Grupp 26">
              <a:extLst>
                <a:ext uri="{FF2B5EF4-FFF2-40B4-BE49-F238E27FC236}">
                  <a16:creationId xmlns:a16="http://schemas.microsoft.com/office/drawing/2014/main" id="{B81621F8-B877-40AB-90AC-E2E7527A6512}"/>
                </a:ext>
              </a:extLst>
            </p:cNvPr>
            <p:cNvGrpSpPr/>
            <p:nvPr/>
          </p:nvGrpSpPr>
          <p:grpSpPr>
            <a:xfrm>
              <a:off x="8693088" y="910934"/>
              <a:ext cx="1330890" cy="3785931"/>
              <a:chOff x="8261468" y="932303"/>
              <a:chExt cx="1330890" cy="3785931"/>
            </a:xfrm>
          </p:grpSpPr>
          <p:cxnSp>
            <p:nvCxnSpPr>
              <p:cNvPr id="21" name="Rak koppling 20">
                <a:extLst>
                  <a:ext uri="{FF2B5EF4-FFF2-40B4-BE49-F238E27FC236}">
                    <a16:creationId xmlns:a16="http://schemas.microsoft.com/office/drawing/2014/main" id="{43E7C48F-6B6B-4D36-9527-611E68D33757}"/>
                  </a:ext>
                </a:extLst>
              </p:cNvPr>
              <p:cNvCxnSpPr/>
              <p:nvPr/>
            </p:nvCxnSpPr>
            <p:spPr>
              <a:xfrm>
                <a:off x="8261468" y="1730234"/>
                <a:ext cx="0" cy="2988000"/>
              </a:xfrm>
              <a:prstGeom prst="line">
                <a:avLst/>
              </a:prstGeom>
              <a:ln w="57150" cap="rnd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Båge 25">
                <a:extLst>
                  <a:ext uri="{FF2B5EF4-FFF2-40B4-BE49-F238E27FC236}">
                    <a16:creationId xmlns:a16="http://schemas.microsoft.com/office/drawing/2014/main" id="{C6208AA6-449C-4A32-9602-F104F2E578AF}"/>
                  </a:ext>
                </a:extLst>
              </p:cNvPr>
              <p:cNvSpPr/>
              <p:nvPr/>
            </p:nvSpPr>
            <p:spPr>
              <a:xfrm flipH="1">
                <a:off x="8261468" y="932303"/>
                <a:ext cx="1330890" cy="1641987"/>
              </a:xfrm>
              <a:prstGeom prst="arc">
                <a:avLst>
                  <a:gd name="adj1" fmla="val 13628322"/>
                  <a:gd name="adj2" fmla="val 0"/>
                </a:avLst>
              </a:prstGeom>
              <a:ln w="57150" cap="rnd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sv-SE"/>
              </a:p>
            </p:txBody>
          </p:sp>
        </p:grpSp>
        <p:sp>
          <p:nvSpPr>
            <p:cNvPr id="28" name="Båge 27">
              <a:extLst>
                <a:ext uri="{FF2B5EF4-FFF2-40B4-BE49-F238E27FC236}">
                  <a16:creationId xmlns:a16="http://schemas.microsoft.com/office/drawing/2014/main" id="{F58BFFEC-84EF-4601-9A65-AE63225A0137}"/>
                </a:ext>
              </a:extLst>
            </p:cNvPr>
            <p:cNvSpPr/>
            <p:nvPr/>
          </p:nvSpPr>
          <p:spPr>
            <a:xfrm flipV="1">
              <a:off x="7362198" y="3890091"/>
              <a:ext cx="1330890" cy="1641987"/>
            </a:xfrm>
            <a:prstGeom prst="arc">
              <a:avLst>
                <a:gd name="adj1" fmla="val 16191537"/>
                <a:gd name="adj2" fmla="val 0"/>
              </a:avLst>
            </a:prstGeom>
            <a:ln w="57150"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sv-SE" dirty="0"/>
            </a:p>
          </p:txBody>
        </p:sp>
        <p:cxnSp>
          <p:nvCxnSpPr>
            <p:cNvPr id="32" name="Rak koppling 31">
              <a:extLst>
                <a:ext uri="{FF2B5EF4-FFF2-40B4-BE49-F238E27FC236}">
                  <a16:creationId xmlns:a16="http://schemas.microsoft.com/office/drawing/2014/main" id="{F50AACEA-915C-4CEB-B10C-ECF5C779A8B8}"/>
                </a:ext>
              </a:extLst>
            </p:cNvPr>
            <p:cNvCxnSpPr/>
            <p:nvPr/>
          </p:nvCxnSpPr>
          <p:spPr>
            <a:xfrm>
              <a:off x="758073" y="5532078"/>
              <a:ext cx="7272000" cy="0"/>
            </a:xfrm>
            <a:prstGeom prst="line">
              <a:avLst/>
            </a:prstGeom>
            <a:ln w="57150"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4" name="Rak koppling 23">
            <a:extLst>
              <a:ext uri="{FF2B5EF4-FFF2-40B4-BE49-F238E27FC236}">
                <a16:creationId xmlns:a16="http://schemas.microsoft.com/office/drawing/2014/main" id="{0F158BE1-DFF0-47B1-9FDE-4F9A5C06307D}"/>
              </a:ext>
            </a:extLst>
          </p:cNvPr>
          <p:cNvCxnSpPr/>
          <p:nvPr/>
        </p:nvCxnSpPr>
        <p:spPr>
          <a:xfrm>
            <a:off x="6746553" y="1488796"/>
            <a:ext cx="1800000" cy="0"/>
          </a:xfrm>
          <a:prstGeom prst="line">
            <a:avLst/>
          </a:prstGeom>
          <a:ln w="5715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ak koppling 33">
            <a:extLst>
              <a:ext uri="{FF2B5EF4-FFF2-40B4-BE49-F238E27FC236}">
                <a16:creationId xmlns:a16="http://schemas.microsoft.com/office/drawing/2014/main" id="{5932BC07-4029-41D9-A308-549594DADB26}"/>
              </a:ext>
            </a:extLst>
          </p:cNvPr>
          <p:cNvCxnSpPr/>
          <p:nvPr/>
        </p:nvCxnSpPr>
        <p:spPr>
          <a:xfrm>
            <a:off x="8570168" y="2690244"/>
            <a:ext cx="1872000" cy="0"/>
          </a:xfrm>
          <a:prstGeom prst="line">
            <a:avLst/>
          </a:prstGeom>
          <a:ln w="5715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ruta 34">
            <a:extLst>
              <a:ext uri="{FF2B5EF4-FFF2-40B4-BE49-F238E27FC236}">
                <a16:creationId xmlns:a16="http://schemas.microsoft.com/office/drawing/2014/main" id="{03A9B2C3-9F0B-436B-B7CE-7F733A591B85}"/>
              </a:ext>
            </a:extLst>
          </p:cNvPr>
          <p:cNvSpPr txBox="1"/>
          <p:nvPr/>
        </p:nvSpPr>
        <p:spPr>
          <a:xfrm>
            <a:off x="6678933" y="1181019"/>
            <a:ext cx="1917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>
                <a:solidFill>
                  <a:schemeClr val="tx2"/>
                </a:solidFill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rPr>
              <a:t>Konjunkturindikator</a:t>
            </a: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36" name="Bildzoom 35">
                <a:extLst>
                  <a:ext uri="{FF2B5EF4-FFF2-40B4-BE49-F238E27FC236}">
                    <a16:creationId xmlns:a16="http://schemas.microsoft.com/office/drawing/2014/main" id="{AD3BE12F-F50E-4254-8BC7-9DB35CBB9A61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985025548"/>
                  </p:ext>
                </p:extLst>
              </p:nvPr>
            </p:nvGraphicFramePr>
            <p:xfrm>
              <a:off x="6839827" y="1624272"/>
              <a:ext cx="1620000" cy="911250"/>
            </p:xfrm>
            <a:graphic>
              <a:graphicData uri="http://schemas.microsoft.com/office/powerpoint/2016/slidezoom">
                <pslz:sldZm>
                  <pslz:sldZmObj sldId="368" cId="1222822816">
                    <pslz:zmPr id="{9E6169CC-AC9D-46F6-8473-2958B665774E}" transitionDur="1000">
                      <p166:blipFill xmlns:p166="http://schemas.microsoft.com/office/powerpoint/2016/6/main">
                        <a:blip r:embed="rId2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620000" cy="911250"/>
                        </a:xfrm>
                        <a:prstGeom prst="rect">
                          <a:avLst/>
                        </a:prstGeom>
                        <a:ln w="9525">
                          <a:noFill/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36" name="Bildzoom 35">
                <a:hlinkClick r:id="rId24" action="ppaction://hlinksldjump"/>
                <a:extLst>
                  <a:ext uri="{FF2B5EF4-FFF2-40B4-BE49-F238E27FC236}">
                    <a16:creationId xmlns:a16="http://schemas.microsoft.com/office/drawing/2014/main" id="{AD3BE12F-F50E-4254-8BC7-9DB35CBB9A6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5"/>
              <a:stretch>
                <a:fillRect/>
              </a:stretch>
            </p:blipFill>
            <p:spPr>
              <a:xfrm>
                <a:off x="6839827" y="1624272"/>
                <a:ext cx="1620000" cy="911250"/>
              </a:xfrm>
              <a:prstGeom prst="rect">
                <a:avLst/>
              </a:prstGeom>
              <a:ln w="9525">
                <a:noFill/>
              </a:ln>
            </p:spPr>
          </p:pic>
        </mc:Fallback>
      </mc:AlternateContent>
      <p:sp>
        <p:nvSpPr>
          <p:cNvPr id="41" name="textruta 40">
            <a:extLst>
              <a:ext uri="{FF2B5EF4-FFF2-40B4-BE49-F238E27FC236}">
                <a16:creationId xmlns:a16="http://schemas.microsoft.com/office/drawing/2014/main" id="{8F2E3909-03EE-4B98-93AE-10DF4D5CB148}"/>
              </a:ext>
            </a:extLst>
          </p:cNvPr>
          <p:cNvSpPr txBox="1"/>
          <p:nvPr/>
        </p:nvSpPr>
        <p:spPr>
          <a:xfrm>
            <a:off x="8596254" y="2374753"/>
            <a:ext cx="18299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>
                <a:solidFill>
                  <a:schemeClr val="tx2"/>
                </a:solidFill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rPr>
              <a:t>Övriga indikatorer</a:t>
            </a:r>
          </a:p>
        </p:txBody>
      </p:sp>
      <p:pic>
        <p:nvPicPr>
          <p:cNvPr id="44" name="Bildobjekt 43">
            <a:extLst>
              <a:ext uri="{FF2B5EF4-FFF2-40B4-BE49-F238E27FC236}">
                <a16:creationId xmlns:a16="http://schemas.microsoft.com/office/drawing/2014/main" id="{588C6C06-88F0-4616-BB44-8A95FC2E0A8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3225" y="1644947"/>
            <a:ext cx="792000" cy="792000"/>
          </a:xfrm>
          <a:prstGeom prst="rect">
            <a:avLst/>
          </a:prstGeom>
        </p:spPr>
      </p:pic>
      <p:sp>
        <p:nvSpPr>
          <p:cNvPr id="45" name="textruta 44">
            <a:extLst>
              <a:ext uri="{FF2B5EF4-FFF2-40B4-BE49-F238E27FC236}">
                <a16:creationId xmlns:a16="http://schemas.microsoft.com/office/drawing/2014/main" id="{20F46265-DF1F-4BD6-A959-9FBD92255956}"/>
              </a:ext>
            </a:extLst>
          </p:cNvPr>
          <p:cNvSpPr txBox="1"/>
          <p:nvPr/>
        </p:nvSpPr>
        <p:spPr>
          <a:xfrm>
            <a:off x="628532" y="5121730"/>
            <a:ext cx="16165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>
                <a:solidFill>
                  <a:schemeClr val="tx2"/>
                </a:solidFill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rPr>
              <a:t>Arbetsmarknad</a:t>
            </a:r>
            <a:endParaRPr lang="sv-SE" sz="1600" dirty="0">
              <a:solidFill>
                <a:schemeClr val="tx2"/>
              </a:solidFill>
              <a:latin typeface="Galaxie Polaris Medium" panose="02000000000000000000" pitchFamily="50" charset="0"/>
              <a:ea typeface="Galaxie Polaris Medium" panose="02000000000000000000" pitchFamily="50" charset="0"/>
              <a:cs typeface="Galaxie Polaris Medium" panose="02000000000000000000" pitchFamily="50" charset="0"/>
            </a:endParaRPr>
          </a:p>
        </p:txBody>
      </p:sp>
      <p:pic>
        <p:nvPicPr>
          <p:cNvPr id="46" name="Bildobjekt 45">
            <a:extLst>
              <a:ext uri="{FF2B5EF4-FFF2-40B4-BE49-F238E27FC236}">
                <a16:creationId xmlns:a16="http://schemas.microsoft.com/office/drawing/2014/main" id="{04110BA2-BF76-4A11-86CF-F3F5D4B6F6B7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990" y="5564839"/>
            <a:ext cx="792000" cy="792000"/>
          </a:xfrm>
          <a:prstGeom prst="rect">
            <a:avLst/>
          </a:prstGeom>
        </p:spPr>
      </p:pic>
      <p:pic>
        <p:nvPicPr>
          <p:cNvPr id="47" name="Bildobjekt 46">
            <a:extLst>
              <a:ext uri="{FF2B5EF4-FFF2-40B4-BE49-F238E27FC236}">
                <a16:creationId xmlns:a16="http://schemas.microsoft.com/office/drawing/2014/main" id="{23547982-5FE9-4FB5-94A8-76F1E494423E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9652" y="5559258"/>
            <a:ext cx="792000" cy="792000"/>
          </a:xfrm>
          <a:prstGeom prst="rect">
            <a:avLst/>
          </a:prstGeom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48" name="Bildzoom 47">
                <a:extLst>
                  <a:ext uri="{FF2B5EF4-FFF2-40B4-BE49-F238E27FC236}">
                    <a16:creationId xmlns:a16="http://schemas.microsoft.com/office/drawing/2014/main" id="{ECA5A17E-7D1A-46C4-86E7-8ECC6C9D649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269392443"/>
                  </p:ext>
                </p:extLst>
              </p:nvPr>
            </p:nvGraphicFramePr>
            <p:xfrm>
              <a:off x="5623039" y="4081789"/>
              <a:ext cx="1620000" cy="911250"/>
            </p:xfrm>
            <a:graphic>
              <a:graphicData uri="http://schemas.microsoft.com/office/powerpoint/2016/slidezoom">
                <pslz:sldZm>
                  <pslz:sldZmObj sldId="378" cId="2847494765">
                    <pslz:zmPr id="{0CEF7AC2-6641-47DB-8EE5-DB4AFE92C94F}" transitionDur="1000">
                      <p166:blipFill xmlns:p166="http://schemas.microsoft.com/office/powerpoint/2016/6/main">
                        <a:blip r:embed="rId2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620000" cy="91125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48" name="Bildzoom 47">
                <a:hlinkClick r:id="rId30" action="ppaction://hlinksldjump"/>
                <a:extLst>
                  <a:ext uri="{FF2B5EF4-FFF2-40B4-BE49-F238E27FC236}">
                    <a16:creationId xmlns:a16="http://schemas.microsoft.com/office/drawing/2014/main" id="{ECA5A17E-7D1A-46C4-86E7-8ECC6C9D649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1"/>
              <a:stretch>
                <a:fillRect/>
              </a:stretch>
            </p:blipFill>
            <p:spPr>
              <a:xfrm>
                <a:off x="5623039" y="4081789"/>
                <a:ext cx="1620000" cy="911250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p:pic>
        <p:nvPicPr>
          <p:cNvPr id="49" name="Bildobjekt 48">
            <a:extLst>
              <a:ext uri="{FF2B5EF4-FFF2-40B4-BE49-F238E27FC236}">
                <a16:creationId xmlns:a16="http://schemas.microsoft.com/office/drawing/2014/main" id="{B456DA0C-4F8A-4CD7-AD7A-6D4CBA2A61C2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1554" y="4108840"/>
            <a:ext cx="792000" cy="792000"/>
          </a:xfrm>
          <a:prstGeom prst="rect">
            <a:avLst/>
          </a:prstGeom>
        </p:spPr>
      </p:pic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50" name="Bildzoom 49">
                <a:extLst>
                  <a:ext uri="{FF2B5EF4-FFF2-40B4-BE49-F238E27FC236}">
                    <a16:creationId xmlns:a16="http://schemas.microsoft.com/office/drawing/2014/main" id="{A1DFE9E5-DCFA-4808-8FCE-EAB4065C2688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481716836"/>
                  </p:ext>
                </p:extLst>
              </p:nvPr>
            </p:nvGraphicFramePr>
            <p:xfrm>
              <a:off x="8664480" y="2842084"/>
              <a:ext cx="1620000" cy="911250"/>
            </p:xfrm>
            <a:graphic>
              <a:graphicData uri="http://schemas.microsoft.com/office/powerpoint/2016/slidezoom">
                <pslz:sldZm>
                  <pslz:sldZmObj sldId="377" cId="814902490">
                    <pslz:zmPr id="{2793B691-28F6-4C73-9AF0-DADF18EB91B5}" transitionDur="1000">
                      <p166:blipFill xmlns:p166="http://schemas.microsoft.com/office/powerpoint/2016/6/main">
                        <a:blip r:embed="rId3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620000" cy="91125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50" name="Bildzoom 49">
                <a:hlinkClick r:id="rId34" action="ppaction://hlinksldjump"/>
                <a:extLst>
                  <a:ext uri="{FF2B5EF4-FFF2-40B4-BE49-F238E27FC236}">
                    <a16:creationId xmlns:a16="http://schemas.microsoft.com/office/drawing/2014/main" id="{A1DFE9E5-DCFA-4808-8FCE-EAB4065C268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5"/>
              <a:stretch>
                <a:fillRect/>
              </a:stretch>
            </p:blipFill>
            <p:spPr>
              <a:xfrm>
                <a:off x="8664480" y="2842084"/>
                <a:ext cx="1620000" cy="91125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51" name="Bildzoom 50">
                <a:extLst>
                  <a:ext uri="{FF2B5EF4-FFF2-40B4-BE49-F238E27FC236}">
                    <a16:creationId xmlns:a16="http://schemas.microsoft.com/office/drawing/2014/main" id="{74F46048-41F8-40FC-A9D9-1CA659CFA9E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554412752"/>
                  </p:ext>
                </p:extLst>
              </p:nvPr>
            </p:nvGraphicFramePr>
            <p:xfrm>
              <a:off x="8670418" y="3816846"/>
              <a:ext cx="1620000" cy="911250"/>
            </p:xfrm>
            <a:graphic>
              <a:graphicData uri="http://schemas.microsoft.com/office/powerpoint/2016/slidezoom">
                <pslz:sldZm>
                  <pslz:sldZmObj sldId="375" cId="1521756151">
                    <pslz:zmPr id="{FC7DFED1-3D45-41D1-A36D-5125EEBCCCE8}" transitionDur="1000">
                      <p166:blipFill xmlns:p166="http://schemas.microsoft.com/office/powerpoint/2016/6/main">
                        <a:blip r:embed="rId3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620000" cy="91125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51" name="Bildzoom 50">
                <a:hlinkClick r:id="rId37" action="ppaction://hlinksldjump"/>
                <a:extLst>
                  <a:ext uri="{FF2B5EF4-FFF2-40B4-BE49-F238E27FC236}">
                    <a16:creationId xmlns:a16="http://schemas.microsoft.com/office/drawing/2014/main" id="{74F46048-41F8-40FC-A9D9-1CA659CFA9E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8"/>
              <a:stretch>
                <a:fillRect/>
              </a:stretch>
            </p:blipFill>
            <p:spPr>
              <a:xfrm>
                <a:off x="8670418" y="3816846"/>
                <a:ext cx="1620000" cy="91125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sp>
        <p:nvSpPr>
          <p:cNvPr id="15" name="Frihandsfigur 17">
            <a:extLst>
              <a:ext uri="{FF2B5EF4-FFF2-40B4-BE49-F238E27FC236}">
                <a16:creationId xmlns:a16="http://schemas.microsoft.com/office/drawing/2014/main" id="{2C79EF65-93CA-4B82-8D73-77026E48860E}"/>
              </a:ext>
            </a:extLst>
          </p:cNvPr>
          <p:cNvSpPr/>
          <p:nvPr/>
        </p:nvSpPr>
        <p:spPr>
          <a:xfrm>
            <a:off x="1560635" y="1833795"/>
            <a:ext cx="252000" cy="576000"/>
          </a:xfrm>
          <a:custGeom>
            <a:avLst/>
            <a:gdLst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33680 w 3505200"/>
              <a:gd name="connsiteY69" fmla="*/ 6543040 h 8260080"/>
              <a:gd name="connsiteX70" fmla="*/ 152400 w 3505200"/>
              <a:gd name="connsiteY70" fmla="*/ 6776720 h 8260080"/>
              <a:gd name="connsiteX71" fmla="*/ 233680 w 3505200"/>
              <a:gd name="connsiteY71" fmla="*/ 6959600 h 8260080"/>
              <a:gd name="connsiteX72" fmla="*/ 304800 w 3505200"/>
              <a:gd name="connsiteY72" fmla="*/ 7020560 h 8260080"/>
              <a:gd name="connsiteX73" fmla="*/ 264160 w 3505200"/>
              <a:gd name="connsiteY73" fmla="*/ 7122160 h 8260080"/>
              <a:gd name="connsiteX74" fmla="*/ 335280 w 3505200"/>
              <a:gd name="connsiteY74" fmla="*/ 7193280 h 8260080"/>
              <a:gd name="connsiteX75" fmla="*/ 325120 w 3505200"/>
              <a:gd name="connsiteY75" fmla="*/ 7254240 h 8260080"/>
              <a:gd name="connsiteX76" fmla="*/ 325120 w 3505200"/>
              <a:gd name="connsiteY76" fmla="*/ 7254240 h 8260080"/>
              <a:gd name="connsiteX77" fmla="*/ 325120 w 3505200"/>
              <a:gd name="connsiteY77" fmla="*/ 7355840 h 8260080"/>
              <a:gd name="connsiteX78" fmla="*/ 447040 w 3505200"/>
              <a:gd name="connsiteY78" fmla="*/ 7366000 h 8260080"/>
              <a:gd name="connsiteX79" fmla="*/ 447040 w 3505200"/>
              <a:gd name="connsiteY79" fmla="*/ 7477760 h 8260080"/>
              <a:gd name="connsiteX80" fmla="*/ 558800 w 3505200"/>
              <a:gd name="connsiteY80" fmla="*/ 7528560 h 8260080"/>
              <a:gd name="connsiteX81" fmla="*/ 508000 w 3505200"/>
              <a:gd name="connsiteY81" fmla="*/ 7630160 h 8260080"/>
              <a:gd name="connsiteX82" fmla="*/ 436880 w 3505200"/>
              <a:gd name="connsiteY82" fmla="*/ 7609840 h 8260080"/>
              <a:gd name="connsiteX83" fmla="*/ 447040 w 3505200"/>
              <a:gd name="connsiteY83" fmla="*/ 7691120 h 8260080"/>
              <a:gd name="connsiteX84" fmla="*/ 518160 w 3505200"/>
              <a:gd name="connsiteY84" fmla="*/ 7741920 h 8260080"/>
              <a:gd name="connsiteX85" fmla="*/ 457200 w 3505200"/>
              <a:gd name="connsiteY85" fmla="*/ 7792720 h 8260080"/>
              <a:gd name="connsiteX86" fmla="*/ 396240 w 3505200"/>
              <a:gd name="connsiteY86" fmla="*/ 7701280 h 8260080"/>
              <a:gd name="connsiteX87" fmla="*/ 396240 w 3505200"/>
              <a:gd name="connsiteY87" fmla="*/ 7701280 h 8260080"/>
              <a:gd name="connsiteX88" fmla="*/ 436880 w 3505200"/>
              <a:gd name="connsiteY88" fmla="*/ 7874000 h 8260080"/>
              <a:gd name="connsiteX89" fmla="*/ 436880 w 3505200"/>
              <a:gd name="connsiteY89" fmla="*/ 7924800 h 8260080"/>
              <a:gd name="connsiteX90" fmla="*/ 548640 w 3505200"/>
              <a:gd name="connsiteY90" fmla="*/ 7965440 h 8260080"/>
              <a:gd name="connsiteX91" fmla="*/ 508000 w 3505200"/>
              <a:gd name="connsiteY91" fmla="*/ 8016240 h 8260080"/>
              <a:gd name="connsiteX92" fmla="*/ 589280 w 3505200"/>
              <a:gd name="connsiteY92" fmla="*/ 8056880 h 8260080"/>
              <a:gd name="connsiteX93" fmla="*/ 497840 w 3505200"/>
              <a:gd name="connsiteY93" fmla="*/ 8117840 h 8260080"/>
              <a:gd name="connsiteX94" fmla="*/ 518160 w 3505200"/>
              <a:gd name="connsiteY94" fmla="*/ 8209280 h 8260080"/>
              <a:gd name="connsiteX95" fmla="*/ 640080 w 3505200"/>
              <a:gd name="connsiteY95" fmla="*/ 8260080 h 8260080"/>
              <a:gd name="connsiteX96" fmla="*/ 731520 w 3505200"/>
              <a:gd name="connsiteY96" fmla="*/ 8219440 h 8260080"/>
              <a:gd name="connsiteX97" fmla="*/ 853440 w 3505200"/>
              <a:gd name="connsiteY97" fmla="*/ 8209280 h 8260080"/>
              <a:gd name="connsiteX98" fmla="*/ 955040 w 3505200"/>
              <a:gd name="connsiteY98" fmla="*/ 8260080 h 8260080"/>
              <a:gd name="connsiteX99" fmla="*/ 965200 w 3505200"/>
              <a:gd name="connsiteY99" fmla="*/ 8107680 h 8260080"/>
              <a:gd name="connsiteX100" fmla="*/ 894080 w 3505200"/>
              <a:gd name="connsiteY100" fmla="*/ 8026400 h 8260080"/>
              <a:gd name="connsiteX101" fmla="*/ 1016000 w 3505200"/>
              <a:gd name="connsiteY101" fmla="*/ 7863840 h 8260080"/>
              <a:gd name="connsiteX102" fmla="*/ 1107440 w 3505200"/>
              <a:gd name="connsiteY102" fmla="*/ 7894320 h 8260080"/>
              <a:gd name="connsiteX103" fmla="*/ 1127760 w 3505200"/>
              <a:gd name="connsiteY103" fmla="*/ 7853680 h 8260080"/>
              <a:gd name="connsiteX104" fmla="*/ 1066800 w 3505200"/>
              <a:gd name="connsiteY104" fmla="*/ 7813040 h 8260080"/>
              <a:gd name="connsiteX105" fmla="*/ 1137920 w 3505200"/>
              <a:gd name="connsiteY105" fmla="*/ 7762240 h 8260080"/>
              <a:gd name="connsiteX106" fmla="*/ 1330960 w 3505200"/>
              <a:gd name="connsiteY106" fmla="*/ 7802880 h 8260080"/>
              <a:gd name="connsiteX107" fmla="*/ 1361440 w 3505200"/>
              <a:gd name="connsiteY107" fmla="*/ 7772400 h 8260080"/>
              <a:gd name="connsiteX108" fmla="*/ 1483360 w 3505200"/>
              <a:gd name="connsiteY108" fmla="*/ 7823200 h 8260080"/>
              <a:gd name="connsiteX109" fmla="*/ 1554480 w 3505200"/>
              <a:gd name="connsiteY109" fmla="*/ 7731760 h 8260080"/>
              <a:gd name="connsiteX110" fmla="*/ 1524000 w 3505200"/>
              <a:gd name="connsiteY110" fmla="*/ 7640320 h 8260080"/>
              <a:gd name="connsiteX111" fmla="*/ 1645920 w 3505200"/>
              <a:gd name="connsiteY111" fmla="*/ 7437120 h 8260080"/>
              <a:gd name="connsiteX112" fmla="*/ 1635760 w 3505200"/>
              <a:gd name="connsiteY112" fmla="*/ 7335520 h 8260080"/>
              <a:gd name="connsiteX113" fmla="*/ 1696720 w 3505200"/>
              <a:gd name="connsiteY113" fmla="*/ 7223760 h 8260080"/>
              <a:gd name="connsiteX114" fmla="*/ 1625600 w 3505200"/>
              <a:gd name="connsiteY114" fmla="*/ 7172960 h 8260080"/>
              <a:gd name="connsiteX115" fmla="*/ 1747520 w 3505200"/>
              <a:gd name="connsiteY115" fmla="*/ 6990080 h 8260080"/>
              <a:gd name="connsiteX116" fmla="*/ 1666240 w 3505200"/>
              <a:gd name="connsiteY116" fmla="*/ 6939280 h 8260080"/>
              <a:gd name="connsiteX117" fmla="*/ 1737360 w 3505200"/>
              <a:gd name="connsiteY117" fmla="*/ 6888480 h 8260080"/>
              <a:gd name="connsiteX118" fmla="*/ 1645920 w 3505200"/>
              <a:gd name="connsiteY118" fmla="*/ 6776720 h 8260080"/>
              <a:gd name="connsiteX119" fmla="*/ 1808480 w 3505200"/>
              <a:gd name="connsiteY119" fmla="*/ 6715760 h 8260080"/>
              <a:gd name="connsiteX120" fmla="*/ 1727200 w 3505200"/>
              <a:gd name="connsiteY120" fmla="*/ 6614160 h 8260080"/>
              <a:gd name="connsiteX121" fmla="*/ 1686560 w 3505200"/>
              <a:gd name="connsiteY121" fmla="*/ 6421120 h 8260080"/>
              <a:gd name="connsiteX122" fmla="*/ 1889760 w 3505200"/>
              <a:gd name="connsiteY122" fmla="*/ 6299200 h 8260080"/>
              <a:gd name="connsiteX123" fmla="*/ 1940560 w 3505200"/>
              <a:gd name="connsiteY123" fmla="*/ 6228080 h 8260080"/>
              <a:gd name="connsiteX124" fmla="*/ 2032000 w 3505200"/>
              <a:gd name="connsiteY124" fmla="*/ 6136640 h 8260080"/>
              <a:gd name="connsiteX125" fmla="*/ 2011680 w 3505200"/>
              <a:gd name="connsiteY125" fmla="*/ 6014720 h 8260080"/>
              <a:gd name="connsiteX126" fmla="*/ 2123440 w 3505200"/>
              <a:gd name="connsiteY126" fmla="*/ 6065520 h 8260080"/>
              <a:gd name="connsiteX127" fmla="*/ 2092960 w 3505200"/>
              <a:gd name="connsiteY127" fmla="*/ 6167120 h 8260080"/>
              <a:gd name="connsiteX128" fmla="*/ 2286000 w 3505200"/>
              <a:gd name="connsiteY128" fmla="*/ 5933440 h 8260080"/>
              <a:gd name="connsiteX129" fmla="*/ 2255520 w 3505200"/>
              <a:gd name="connsiteY129" fmla="*/ 5801360 h 8260080"/>
              <a:gd name="connsiteX130" fmla="*/ 2448560 w 3505200"/>
              <a:gd name="connsiteY130" fmla="*/ 5598160 h 8260080"/>
              <a:gd name="connsiteX131" fmla="*/ 2357120 w 3505200"/>
              <a:gd name="connsiteY131" fmla="*/ 5435600 h 8260080"/>
              <a:gd name="connsiteX132" fmla="*/ 2225040 w 3505200"/>
              <a:gd name="connsiteY132" fmla="*/ 5415280 h 8260080"/>
              <a:gd name="connsiteX133" fmla="*/ 2103120 w 3505200"/>
              <a:gd name="connsiteY133" fmla="*/ 5222240 h 8260080"/>
              <a:gd name="connsiteX134" fmla="*/ 2092960 w 3505200"/>
              <a:gd name="connsiteY134" fmla="*/ 5110480 h 8260080"/>
              <a:gd name="connsiteX135" fmla="*/ 2052320 w 3505200"/>
              <a:gd name="connsiteY135" fmla="*/ 5151120 h 8260080"/>
              <a:gd name="connsiteX136" fmla="*/ 2042160 w 3505200"/>
              <a:gd name="connsiteY136" fmla="*/ 5242560 h 8260080"/>
              <a:gd name="connsiteX137" fmla="*/ 1981200 w 3505200"/>
              <a:gd name="connsiteY137" fmla="*/ 5191760 h 8260080"/>
              <a:gd name="connsiteX138" fmla="*/ 2011680 w 3505200"/>
              <a:gd name="connsiteY138" fmla="*/ 5120640 h 8260080"/>
              <a:gd name="connsiteX139" fmla="*/ 1930400 w 3505200"/>
              <a:gd name="connsiteY139" fmla="*/ 5100320 h 8260080"/>
              <a:gd name="connsiteX140" fmla="*/ 1859280 w 3505200"/>
              <a:gd name="connsiteY140" fmla="*/ 4917440 h 8260080"/>
              <a:gd name="connsiteX141" fmla="*/ 1828800 w 3505200"/>
              <a:gd name="connsiteY141" fmla="*/ 4622800 h 8260080"/>
              <a:gd name="connsiteX142" fmla="*/ 1910080 w 3505200"/>
              <a:gd name="connsiteY142" fmla="*/ 4419600 h 8260080"/>
              <a:gd name="connsiteX143" fmla="*/ 1920240 w 3505200"/>
              <a:gd name="connsiteY143" fmla="*/ 4277360 h 8260080"/>
              <a:gd name="connsiteX144" fmla="*/ 1971040 w 3505200"/>
              <a:gd name="connsiteY144" fmla="*/ 4124960 h 8260080"/>
              <a:gd name="connsiteX145" fmla="*/ 1879600 w 3505200"/>
              <a:gd name="connsiteY145" fmla="*/ 4023360 h 8260080"/>
              <a:gd name="connsiteX146" fmla="*/ 2072640 w 3505200"/>
              <a:gd name="connsiteY146" fmla="*/ 4003040 h 8260080"/>
              <a:gd name="connsiteX147" fmla="*/ 2092960 w 3505200"/>
              <a:gd name="connsiteY147" fmla="*/ 3850640 h 8260080"/>
              <a:gd name="connsiteX148" fmla="*/ 2001520 w 3505200"/>
              <a:gd name="connsiteY148" fmla="*/ 3728720 h 8260080"/>
              <a:gd name="connsiteX149" fmla="*/ 2164080 w 3505200"/>
              <a:gd name="connsiteY149" fmla="*/ 3769360 h 8260080"/>
              <a:gd name="connsiteX150" fmla="*/ 2265680 w 3505200"/>
              <a:gd name="connsiteY150" fmla="*/ 3566160 h 8260080"/>
              <a:gd name="connsiteX151" fmla="*/ 2336800 w 3505200"/>
              <a:gd name="connsiteY151" fmla="*/ 3515360 h 8260080"/>
              <a:gd name="connsiteX152" fmla="*/ 2367280 w 3505200"/>
              <a:gd name="connsiteY152" fmla="*/ 3362960 h 8260080"/>
              <a:gd name="connsiteX153" fmla="*/ 2489200 w 3505200"/>
              <a:gd name="connsiteY153" fmla="*/ 3423920 h 8260080"/>
              <a:gd name="connsiteX154" fmla="*/ 2560320 w 3505200"/>
              <a:gd name="connsiteY154" fmla="*/ 3302000 h 8260080"/>
              <a:gd name="connsiteX155" fmla="*/ 2743200 w 3505200"/>
              <a:gd name="connsiteY155" fmla="*/ 3149600 h 8260080"/>
              <a:gd name="connsiteX156" fmla="*/ 2844800 w 3505200"/>
              <a:gd name="connsiteY156" fmla="*/ 3088640 h 8260080"/>
              <a:gd name="connsiteX157" fmla="*/ 2804160 w 3505200"/>
              <a:gd name="connsiteY157" fmla="*/ 2966720 h 8260080"/>
              <a:gd name="connsiteX158" fmla="*/ 2976880 w 3505200"/>
              <a:gd name="connsiteY158" fmla="*/ 2763520 h 8260080"/>
              <a:gd name="connsiteX159" fmla="*/ 2794000 w 3505200"/>
              <a:gd name="connsiteY159" fmla="*/ 2621280 h 8260080"/>
              <a:gd name="connsiteX160" fmla="*/ 2946400 w 3505200"/>
              <a:gd name="connsiteY160" fmla="*/ 2377440 h 8260080"/>
              <a:gd name="connsiteX161" fmla="*/ 2854960 w 3505200"/>
              <a:gd name="connsiteY161" fmla="*/ 2255520 h 8260080"/>
              <a:gd name="connsiteX162" fmla="*/ 3027680 w 3505200"/>
              <a:gd name="connsiteY162" fmla="*/ 2113280 h 8260080"/>
              <a:gd name="connsiteX163" fmla="*/ 3119120 w 3505200"/>
              <a:gd name="connsiteY163" fmla="*/ 2021840 h 8260080"/>
              <a:gd name="connsiteX164" fmla="*/ 3027680 w 3505200"/>
              <a:gd name="connsiteY164" fmla="*/ 1960880 h 8260080"/>
              <a:gd name="connsiteX165" fmla="*/ 3139440 w 3505200"/>
              <a:gd name="connsiteY165" fmla="*/ 1869440 h 8260080"/>
              <a:gd name="connsiteX166" fmla="*/ 3281680 w 3505200"/>
              <a:gd name="connsiteY166" fmla="*/ 1950720 h 8260080"/>
              <a:gd name="connsiteX167" fmla="*/ 3403600 w 3505200"/>
              <a:gd name="connsiteY167" fmla="*/ 1889760 h 8260080"/>
              <a:gd name="connsiteX168" fmla="*/ 3505200 w 3505200"/>
              <a:gd name="connsiteY168" fmla="*/ 1910080 h 8260080"/>
              <a:gd name="connsiteX169" fmla="*/ 3444240 w 3505200"/>
              <a:gd name="connsiteY169" fmla="*/ 1656080 h 8260080"/>
              <a:gd name="connsiteX170" fmla="*/ 3373120 w 3505200"/>
              <a:gd name="connsiteY170" fmla="*/ 1635760 h 8260080"/>
              <a:gd name="connsiteX171" fmla="*/ 3352800 w 3505200"/>
              <a:gd name="connsiteY171" fmla="*/ 1503680 h 8260080"/>
              <a:gd name="connsiteX172" fmla="*/ 3444240 w 3505200"/>
              <a:gd name="connsiteY172" fmla="*/ 1412240 h 8260080"/>
              <a:gd name="connsiteX173" fmla="*/ 3393440 w 3505200"/>
              <a:gd name="connsiteY173" fmla="*/ 1280160 h 8260080"/>
              <a:gd name="connsiteX174" fmla="*/ 3434080 w 3505200"/>
              <a:gd name="connsiteY174" fmla="*/ 1249680 h 8260080"/>
              <a:gd name="connsiteX175" fmla="*/ 3281680 w 3505200"/>
              <a:gd name="connsiteY175" fmla="*/ 1066800 h 8260080"/>
              <a:gd name="connsiteX176" fmla="*/ 3383280 w 3505200"/>
              <a:gd name="connsiteY176" fmla="*/ 975360 h 8260080"/>
              <a:gd name="connsiteX177" fmla="*/ 3302000 w 3505200"/>
              <a:gd name="connsiteY177" fmla="*/ 924560 h 8260080"/>
              <a:gd name="connsiteX178" fmla="*/ 3190240 w 3505200"/>
              <a:gd name="connsiteY178" fmla="*/ 944880 h 8260080"/>
              <a:gd name="connsiteX179" fmla="*/ 3281680 w 3505200"/>
              <a:gd name="connsiteY179" fmla="*/ 792480 h 8260080"/>
              <a:gd name="connsiteX180" fmla="*/ 3210560 w 3505200"/>
              <a:gd name="connsiteY180" fmla="*/ 650240 h 8260080"/>
              <a:gd name="connsiteX181" fmla="*/ 3302000 w 3505200"/>
              <a:gd name="connsiteY181" fmla="*/ 568960 h 8260080"/>
              <a:gd name="connsiteX182" fmla="*/ 3190240 w 3505200"/>
              <a:gd name="connsiteY182" fmla="*/ 487680 h 8260080"/>
              <a:gd name="connsiteX183" fmla="*/ 3108960 w 3505200"/>
              <a:gd name="connsiteY183" fmla="*/ 528320 h 8260080"/>
              <a:gd name="connsiteX184" fmla="*/ 3108960 w 3505200"/>
              <a:gd name="connsiteY184" fmla="*/ 406400 h 8260080"/>
              <a:gd name="connsiteX185" fmla="*/ 2926080 w 3505200"/>
              <a:gd name="connsiteY185" fmla="*/ 314960 h 8260080"/>
              <a:gd name="connsiteX186" fmla="*/ 2834640 w 3505200"/>
              <a:gd name="connsiteY186" fmla="*/ 355600 h 8260080"/>
              <a:gd name="connsiteX187" fmla="*/ 2682240 w 3505200"/>
              <a:gd name="connsiteY187" fmla="*/ 111760 h 8260080"/>
              <a:gd name="connsiteX188" fmla="*/ 2590800 w 3505200"/>
              <a:gd name="connsiteY188" fmla="*/ 121920 h 8260080"/>
              <a:gd name="connsiteX189" fmla="*/ 2611120 w 3505200"/>
              <a:gd name="connsiteY189" fmla="*/ 0 h 8260080"/>
              <a:gd name="connsiteX190" fmla="*/ 2438400 w 3505200"/>
              <a:gd name="connsiteY19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152400 w 3505200"/>
              <a:gd name="connsiteY70" fmla="*/ 6776720 h 8260080"/>
              <a:gd name="connsiteX71" fmla="*/ 233680 w 3505200"/>
              <a:gd name="connsiteY71" fmla="*/ 6959600 h 8260080"/>
              <a:gd name="connsiteX72" fmla="*/ 304800 w 3505200"/>
              <a:gd name="connsiteY72" fmla="*/ 7020560 h 8260080"/>
              <a:gd name="connsiteX73" fmla="*/ 264160 w 3505200"/>
              <a:gd name="connsiteY73" fmla="*/ 7122160 h 8260080"/>
              <a:gd name="connsiteX74" fmla="*/ 335280 w 3505200"/>
              <a:gd name="connsiteY74" fmla="*/ 7193280 h 8260080"/>
              <a:gd name="connsiteX75" fmla="*/ 325120 w 3505200"/>
              <a:gd name="connsiteY75" fmla="*/ 7254240 h 8260080"/>
              <a:gd name="connsiteX76" fmla="*/ 325120 w 3505200"/>
              <a:gd name="connsiteY76" fmla="*/ 7254240 h 8260080"/>
              <a:gd name="connsiteX77" fmla="*/ 325120 w 3505200"/>
              <a:gd name="connsiteY77" fmla="*/ 7355840 h 8260080"/>
              <a:gd name="connsiteX78" fmla="*/ 447040 w 3505200"/>
              <a:gd name="connsiteY78" fmla="*/ 7366000 h 8260080"/>
              <a:gd name="connsiteX79" fmla="*/ 447040 w 3505200"/>
              <a:gd name="connsiteY79" fmla="*/ 7477760 h 8260080"/>
              <a:gd name="connsiteX80" fmla="*/ 558800 w 3505200"/>
              <a:gd name="connsiteY80" fmla="*/ 7528560 h 8260080"/>
              <a:gd name="connsiteX81" fmla="*/ 508000 w 3505200"/>
              <a:gd name="connsiteY81" fmla="*/ 7630160 h 8260080"/>
              <a:gd name="connsiteX82" fmla="*/ 436880 w 3505200"/>
              <a:gd name="connsiteY82" fmla="*/ 7609840 h 8260080"/>
              <a:gd name="connsiteX83" fmla="*/ 447040 w 3505200"/>
              <a:gd name="connsiteY83" fmla="*/ 7691120 h 8260080"/>
              <a:gd name="connsiteX84" fmla="*/ 518160 w 3505200"/>
              <a:gd name="connsiteY84" fmla="*/ 7741920 h 8260080"/>
              <a:gd name="connsiteX85" fmla="*/ 457200 w 3505200"/>
              <a:gd name="connsiteY85" fmla="*/ 7792720 h 8260080"/>
              <a:gd name="connsiteX86" fmla="*/ 396240 w 3505200"/>
              <a:gd name="connsiteY86" fmla="*/ 7701280 h 8260080"/>
              <a:gd name="connsiteX87" fmla="*/ 396240 w 3505200"/>
              <a:gd name="connsiteY87" fmla="*/ 7701280 h 8260080"/>
              <a:gd name="connsiteX88" fmla="*/ 436880 w 3505200"/>
              <a:gd name="connsiteY88" fmla="*/ 7874000 h 8260080"/>
              <a:gd name="connsiteX89" fmla="*/ 436880 w 3505200"/>
              <a:gd name="connsiteY89" fmla="*/ 7924800 h 8260080"/>
              <a:gd name="connsiteX90" fmla="*/ 548640 w 3505200"/>
              <a:gd name="connsiteY90" fmla="*/ 7965440 h 8260080"/>
              <a:gd name="connsiteX91" fmla="*/ 508000 w 3505200"/>
              <a:gd name="connsiteY91" fmla="*/ 8016240 h 8260080"/>
              <a:gd name="connsiteX92" fmla="*/ 589280 w 3505200"/>
              <a:gd name="connsiteY92" fmla="*/ 8056880 h 8260080"/>
              <a:gd name="connsiteX93" fmla="*/ 497840 w 3505200"/>
              <a:gd name="connsiteY93" fmla="*/ 8117840 h 8260080"/>
              <a:gd name="connsiteX94" fmla="*/ 518160 w 3505200"/>
              <a:gd name="connsiteY94" fmla="*/ 8209280 h 8260080"/>
              <a:gd name="connsiteX95" fmla="*/ 640080 w 3505200"/>
              <a:gd name="connsiteY95" fmla="*/ 8260080 h 8260080"/>
              <a:gd name="connsiteX96" fmla="*/ 731520 w 3505200"/>
              <a:gd name="connsiteY96" fmla="*/ 8219440 h 8260080"/>
              <a:gd name="connsiteX97" fmla="*/ 853440 w 3505200"/>
              <a:gd name="connsiteY97" fmla="*/ 8209280 h 8260080"/>
              <a:gd name="connsiteX98" fmla="*/ 955040 w 3505200"/>
              <a:gd name="connsiteY98" fmla="*/ 8260080 h 8260080"/>
              <a:gd name="connsiteX99" fmla="*/ 965200 w 3505200"/>
              <a:gd name="connsiteY99" fmla="*/ 8107680 h 8260080"/>
              <a:gd name="connsiteX100" fmla="*/ 894080 w 3505200"/>
              <a:gd name="connsiteY100" fmla="*/ 8026400 h 8260080"/>
              <a:gd name="connsiteX101" fmla="*/ 1016000 w 3505200"/>
              <a:gd name="connsiteY101" fmla="*/ 7863840 h 8260080"/>
              <a:gd name="connsiteX102" fmla="*/ 1107440 w 3505200"/>
              <a:gd name="connsiteY102" fmla="*/ 7894320 h 8260080"/>
              <a:gd name="connsiteX103" fmla="*/ 1127760 w 3505200"/>
              <a:gd name="connsiteY103" fmla="*/ 7853680 h 8260080"/>
              <a:gd name="connsiteX104" fmla="*/ 1066800 w 3505200"/>
              <a:gd name="connsiteY104" fmla="*/ 7813040 h 8260080"/>
              <a:gd name="connsiteX105" fmla="*/ 1137920 w 3505200"/>
              <a:gd name="connsiteY105" fmla="*/ 7762240 h 8260080"/>
              <a:gd name="connsiteX106" fmla="*/ 1330960 w 3505200"/>
              <a:gd name="connsiteY106" fmla="*/ 7802880 h 8260080"/>
              <a:gd name="connsiteX107" fmla="*/ 1361440 w 3505200"/>
              <a:gd name="connsiteY107" fmla="*/ 7772400 h 8260080"/>
              <a:gd name="connsiteX108" fmla="*/ 1483360 w 3505200"/>
              <a:gd name="connsiteY108" fmla="*/ 7823200 h 8260080"/>
              <a:gd name="connsiteX109" fmla="*/ 1554480 w 3505200"/>
              <a:gd name="connsiteY109" fmla="*/ 7731760 h 8260080"/>
              <a:gd name="connsiteX110" fmla="*/ 1524000 w 3505200"/>
              <a:gd name="connsiteY110" fmla="*/ 7640320 h 8260080"/>
              <a:gd name="connsiteX111" fmla="*/ 1645920 w 3505200"/>
              <a:gd name="connsiteY111" fmla="*/ 7437120 h 8260080"/>
              <a:gd name="connsiteX112" fmla="*/ 1635760 w 3505200"/>
              <a:gd name="connsiteY112" fmla="*/ 7335520 h 8260080"/>
              <a:gd name="connsiteX113" fmla="*/ 1696720 w 3505200"/>
              <a:gd name="connsiteY113" fmla="*/ 7223760 h 8260080"/>
              <a:gd name="connsiteX114" fmla="*/ 1625600 w 3505200"/>
              <a:gd name="connsiteY114" fmla="*/ 7172960 h 8260080"/>
              <a:gd name="connsiteX115" fmla="*/ 1747520 w 3505200"/>
              <a:gd name="connsiteY115" fmla="*/ 6990080 h 8260080"/>
              <a:gd name="connsiteX116" fmla="*/ 1666240 w 3505200"/>
              <a:gd name="connsiteY116" fmla="*/ 6939280 h 8260080"/>
              <a:gd name="connsiteX117" fmla="*/ 1737360 w 3505200"/>
              <a:gd name="connsiteY117" fmla="*/ 6888480 h 8260080"/>
              <a:gd name="connsiteX118" fmla="*/ 1645920 w 3505200"/>
              <a:gd name="connsiteY118" fmla="*/ 6776720 h 8260080"/>
              <a:gd name="connsiteX119" fmla="*/ 1808480 w 3505200"/>
              <a:gd name="connsiteY119" fmla="*/ 6715760 h 8260080"/>
              <a:gd name="connsiteX120" fmla="*/ 1727200 w 3505200"/>
              <a:gd name="connsiteY120" fmla="*/ 6614160 h 8260080"/>
              <a:gd name="connsiteX121" fmla="*/ 1686560 w 3505200"/>
              <a:gd name="connsiteY121" fmla="*/ 6421120 h 8260080"/>
              <a:gd name="connsiteX122" fmla="*/ 1889760 w 3505200"/>
              <a:gd name="connsiteY122" fmla="*/ 6299200 h 8260080"/>
              <a:gd name="connsiteX123" fmla="*/ 1940560 w 3505200"/>
              <a:gd name="connsiteY123" fmla="*/ 6228080 h 8260080"/>
              <a:gd name="connsiteX124" fmla="*/ 2032000 w 3505200"/>
              <a:gd name="connsiteY124" fmla="*/ 6136640 h 8260080"/>
              <a:gd name="connsiteX125" fmla="*/ 2011680 w 3505200"/>
              <a:gd name="connsiteY125" fmla="*/ 6014720 h 8260080"/>
              <a:gd name="connsiteX126" fmla="*/ 2123440 w 3505200"/>
              <a:gd name="connsiteY126" fmla="*/ 6065520 h 8260080"/>
              <a:gd name="connsiteX127" fmla="*/ 2092960 w 3505200"/>
              <a:gd name="connsiteY127" fmla="*/ 6167120 h 8260080"/>
              <a:gd name="connsiteX128" fmla="*/ 2286000 w 3505200"/>
              <a:gd name="connsiteY128" fmla="*/ 5933440 h 8260080"/>
              <a:gd name="connsiteX129" fmla="*/ 2255520 w 3505200"/>
              <a:gd name="connsiteY129" fmla="*/ 5801360 h 8260080"/>
              <a:gd name="connsiteX130" fmla="*/ 2448560 w 3505200"/>
              <a:gd name="connsiteY130" fmla="*/ 5598160 h 8260080"/>
              <a:gd name="connsiteX131" fmla="*/ 2357120 w 3505200"/>
              <a:gd name="connsiteY131" fmla="*/ 5435600 h 8260080"/>
              <a:gd name="connsiteX132" fmla="*/ 2225040 w 3505200"/>
              <a:gd name="connsiteY132" fmla="*/ 5415280 h 8260080"/>
              <a:gd name="connsiteX133" fmla="*/ 2103120 w 3505200"/>
              <a:gd name="connsiteY133" fmla="*/ 5222240 h 8260080"/>
              <a:gd name="connsiteX134" fmla="*/ 2092960 w 3505200"/>
              <a:gd name="connsiteY134" fmla="*/ 5110480 h 8260080"/>
              <a:gd name="connsiteX135" fmla="*/ 2052320 w 3505200"/>
              <a:gd name="connsiteY135" fmla="*/ 5151120 h 8260080"/>
              <a:gd name="connsiteX136" fmla="*/ 2042160 w 3505200"/>
              <a:gd name="connsiteY136" fmla="*/ 5242560 h 8260080"/>
              <a:gd name="connsiteX137" fmla="*/ 1981200 w 3505200"/>
              <a:gd name="connsiteY137" fmla="*/ 5191760 h 8260080"/>
              <a:gd name="connsiteX138" fmla="*/ 2011680 w 3505200"/>
              <a:gd name="connsiteY138" fmla="*/ 5120640 h 8260080"/>
              <a:gd name="connsiteX139" fmla="*/ 1930400 w 3505200"/>
              <a:gd name="connsiteY139" fmla="*/ 5100320 h 8260080"/>
              <a:gd name="connsiteX140" fmla="*/ 1859280 w 3505200"/>
              <a:gd name="connsiteY140" fmla="*/ 4917440 h 8260080"/>
              <a:gd name="connsiteX141" fmla="*/ 1828800 w 3505200"/>
              <a:gd name="connsiteY141" fmla="*/ 4622800 h 8260080"/>
              <a:gd name="connsiteX142" fmla="*/ 1910080 w 3505200"/>
              <a:gd name="connsiteY142" fmla="*/ 4419600 h 8260080"/>
              <a:gd name="connsiteX143" fmla="*/ 1920240 w 3505200"/>
              <a:gd name="connsiteY143" fmla="*/ 4277360 h 8260080"/>
              <a:gd name="connsiteX144" fmla="*/ 1971040 w 3505200"/>
              <a:gd name="connsiteY144" fmla="*/ 4124960 h 8260080"/>
              <a:gd name="connsiteX145" fmla="*/ 1879600 w 3505200"/>
              <a:gd name="connsiteY145" fmla="*/ 4023360 h 8260080"/>
              <a:gd name="connsiteX146" fmla="*/ 2072640 w 3505200"/>
              <a:gd name="connsiteY146" fmla="*/ 4003040 h 8260080"/>
              <a:gd name="connsiteX147" fmla="*/ 2092960 w 3505200"/>
              <a:gd name="connsiteY147" fmla="*/ 3850640 h 8260080"/>
              <a:gd name="connsiteX148" fmla="*/ 2001520 w 3505200"/>
              <a:gd name="connsiteY148" fmla="*/ 3728720 h 8260080"/>
              <a:gd name="connsiteX149" fmla="*/ 2164080 w 3505200"/>
              <a:gd name="connsiteY149" fmla="*/ 3769360 h 8260080"/>
              <a:gd name="connsiteX150" fmla="*/ 2265680 w 3505200"/>
              <a:gd name="connsiteY150" fmla="*/ 3566160 h 8260080"/>
              <a:gd name="connsiteX151" fmla="*/ 2336800 w 3505200"/>
              <a:gd name="connsiteY151" fmla="*/ 3515360 h 8260080"/>
              <a:gd name="connsiteX152" fmla="*/ 2367280 w 3505200"/>
              <a:gd name="connsiteY152" fmla="*/ 3362960 h 8260080"/>
              <a:gd name="connsiteX153" fmla="*/ 2489200 w 3505200"/>
              <a:gd name="connsiteY153" fmla="*/ 3423920 h 8260080"/>
              <a:gd name="connsiteX154" fmla="*/ 2560320 w 3505200"/>
              <a:gd name="connsiteY154" fmla="*/ 3302000 h 8260080"/>
              <a:gd name="connsiteX155" fmla="*/ 2743200 w 3505200"/>
              <a:gd name="connsiteY155" fmla="*/ 3149600 h 8260080"/>
              <a:gd name="connsiteX156" fmla="*/ 2844800 w 3505200"/>
              <a:gd name="connsiteY156" fmla="*/ 3088640 h 8260080"/>
              <a:gd name="connsiteX157" fmla="*/ 2804160 w 3505200"/>
              <a:gd name="connsiteY157" fmla="*/ 2966720 h 8260080"/>
              <a:gd name="connsiteX158" fmla="*/ 2976880 w 3505200"/>
              <a:gd name="connsiteY158" fmla="*/ 2763520 h 8260080"/>
              <a:gd name="connsiteX159" fmla="*/ 2794000 w 3505200"/>
              <a:gd name="connsiteY159" fmla="*/ 2621280 h 8260080"/>
              <a:gd name="connsiteX160" fmla="*/ 2946400 w 3505200"/>
              <a:gd name="connsiteY160" fmla="*/ 2377440 h 8260080"/>
              <a:gd name="connsiteX161" fmla="*/ 2854960 w 3505200"/>
              <a:gd name="connsiteY161" fmla="*/ 2255520 h 8260080"/>
              <a:gd name="connsiteX162" fmla="*/ 3027680 w 3505200"/>
              <a:gd name="connsiteY162" fmla="*/ 2113280 h 8260080"/>
              <a:gd name="connsiteX163" fmla="*/ 3119120 w 3505200"/>
              <a:gd name="connsiteY163" fmla="*/ 2021840 h 8260080"/>
              <a:gd name="connsiteX164" fmla="*/ 3027680 w 3505200"/>
              <a:gd name="connsiteY164" fmla="*/ 1960880 h 8260080"/>
              <a:gd name="connsiteX165" fmla="*/ 3139440 w 3505200"/>
              <a:gd name="connsiteY165" fmla="*/ 1869440 h 8260080"/>
              <a:gd name="connsiteX166" fmla="*/ 3281680 w 3505200"/>
              <a:gd name="connsiteY166" fmla="*/ 1950720 h 8260080"/>
              <a:gd name="connsiteX167" fmla="*/ 3403600 w 3505200"/>
              <a:gd name="connsiteY167" fmla="*/ 1889760 h 8260080"/>
              <a:gd name="connsiteX168" fmla="*/ 3505200 w 3505200"/>
              <a:gd name="connsiteY168" fmla="*/ 1910080 h 8260080"/>
              <a:gd name="connsiteX169" fmla="*/ 3444240 w 3505200"/>
              <a:gd name="connsiteY169" fmla="*/ 1656080 h 8260080"/>
              <a:gd name="connsiteX170" fmla="*/ 3373120 w 3505200"/>
              <a:gd name="connsiteY170" fmla="*/ 1635760 h 8260080"/>
              <a:gd name="connsiteX171" fmla="*/ 3352800 w 3505200"/>
              <a:gd name="connsiteY171" fmla="*/ 1503680 h 8260080"/>
              <a:gd name="connsiteX172" fmla="*/ 3444240 w 3505200"/>
              <a:gd name="connsiteY172" fmla="*/ 1412240 h 8260080"/>
              <a:gd name="connsiteX173" fmla="*/ 3393440 w 3505200"/>
              <a:gd name="connsiteY173" fmla="*/ 1280160 h 8260080"/>
              <a:gd name="connsiteX174" fmla="*/ 3434080 w 3505200"/>
              <a:gd name="connsiteY174" fmla="*/ 1249680 h 8260080"/>
              <a:gd name="connsiteX175" fmla="*/ 3281680 w 3505200"/>
              <a:gd name="connsiteY175" fmla="*/ 1066800 h 8260080"/>
              <a:gd name="connsiteX176" fmla="*/ 3383280 w 3505200"/>
              <a:gd name="connsiteY176" fmla="*/ 975360 h 8260080"/>
              <a:gd name="connsiteX177" fmla="*/ 3302000 w 3505200"/>
              <a:gd name="connsiteY177" fmla="*/ 924560 h 8260080"/>
              <a:gd name="connsiteX178" fmla="*/ 3190240 w 3505200"/>
              <a:gd name="connsiteY178" fmla="*/ 944880 h 8260080"/>
              <a:gd name="connsiteX179" fmla="*/ 3281680 w 3505200"/>
              <a:gd name="connsiteY179" fmla="*/ 792480 h 8260080"/>
              <a:gd name="connsiteX180" fmla="*/ 3210560 w 3505200"/>
              <a:gd name="connsiteY180" fmla="*/ 650240 h 8260080"/>
              <a:gd name="connsiteX181" fmla="*/ 3302000 w 3505200"/>
              <a:gd name="connsiteY181" fmla="*/ 568960 h 8260080"/>
              <a:gd name="connsiteX182" fmla="*/ 3190240 w 3505200"/>
              <a:gd name="connsiteY182" fmla="*/ 487680 h 8260080"/>
              <a:gd name="connsiteX183" fmla="*/ 3108960 w 3505200"/>
              <a:gd name="connsiteY183" fmla="*/ 528320 h 8260080"/>
              <a:gd name="connsiteX184" fmla="*/ 3108960 w 3505200"/>
              <a:gd name="connsiteY184" fmla="*/ 406400 h 8260080"/>
              <a:gd name="connsiteX185" fmla="*/ 2926080 w 3505200"/>
              <a:gd name="connsiteY185" fmla="*/ 314960 h 8260080"/>
              <a:gd name="connsiteX186" fmla="*/ 2834640 w 3505200"/>
              <a:gd name="connsiteY186" fmla="*/ 355600 h 8260080"/>
              <a:gd name="connsiteX187" fmla="*/ 2682240 w 3505200"/>
              <a:gd name="connsiteY187" fmla="*/ 111760 h 8260080"/>
              <a:gd name="connsiteX188" fmla="*/ 2590800 w 3505200"/>
              <a:gd name="connsiteY188" fmla="*/ 121920 h 8260080"/>
              <a:gd name="connsiteX189" fmla="*/ 2611120 w 3505200"/>
              <a:gd name="connsiteY189" fmla="*/ 0 h 8260080"/>
              <a:gd name="connsiteX190" fmla="*/ 2438400 w 3505200"/>
              <a:gd name="connsiteY19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152400 w 3505200"/>
              <a:gd name="connsiteY70" fmla="*/ 6776720 h 8260080"/>
              <a:gd name="connsiteX71" fmla="*/ 233680 w 3505200"/>
              <a:gd name="connsiteY71" fmla="*/ 6959600 h 8260080"/>
              <a:gd name="connsiteX72" fmla="*/ 304800 w 3505200"/>
              <a:gd name="connsiteY72" fmla="*/ 7020560 h 8260080"/>
              <a:gd name="connsiteX73" fmla="*/ 264160 w 3505200"/>
              <a:gd name="connsiteY73" fmla="*/ 7122160 h 8260080"/>
              <a:gd name="connsiteX74" fmla="*/ 335280 w 3505200"/>
              <a:gd name="connsiteY74" fmla="*/ 7193280 h 8260080"/>
              <a:gd name="connsiteX75" fmla="*/ 325120 w 3505200"/>
              <a:gd name="connsiteY75" fmla="*/ 7254240 h 8260080"/>
              <a:gd name="connsiteX76" fmla="*/ 325120 w 3505200"/>
              <a:gd name="connsiteY76" fmla="*/ 7254240 h 8260080"/>
              <a:gd name="connsiteX77" fmla="*/ 325120 w 3505200"/>
              <a:gd name="connsiteY77" fmla="*/ 7355840 h 8260080"/>
              <a:gd name="connsiteX78" fmla="*/ 447040 w 3505200"/>
              <a:gd name="connsiteY78" fmla="*/ 7366000 h 8260080"/>
              <a:gd name="connsiteX79" fmla="*/ 447040 w 3505200"/>
              <a:gd name="connsiteY79" fmla="*/ 7477760 h 8260080"/>
              <a:gd name="connsiteX80" fmla="*/ 558800 w 3505200"/>
              <a:gd name="connsiteY80" fmla="*/ 7528560 h 8260080"/>
              <a:gd name="connsiteX81" fmla="*/ 508000 w 3505200"/>
              <a:gd name="connsiteY81" fmla="*/ 7630160 h 8260080"/>
              <a:gd name="connsiteX82" fmla="*/ 436880 w 3505200"/>
              <a:gd name="connsiteY82" fmla="*/ 7609840 h 8260080"/>
              <a:gd name="connsiteX83" fmla="*/ 447040 w 3505200"/>
              <a:gd name="connsiteY83" fmla="*/ 7691120 h 8260080"/>
              <a:gd name="connsiteX84" fmla="*/ 518160 w 3505200"/>
              <a:gd name="connsiteY84" fmla="*/ 7741920 h 8260080"/>
              <a:gd name="connsiteX85" fmla="*/ 457200 w 3505200"/>
              <a:gd name="connsiteY85" fmla="*/ 7792720 h 8260080"/>
              <a:gd name="connsiteX86" fmla="*/ 396240 w 3505200"/>
              <a:gd name="connsiteY86" fmla="*/ 7701280 h 8260080"/>
              <a:gd name="connsiteX87" fmla="*/ 396240 w 3505200"/>
              <a:gd name="connsiteY87" fmla="*/ 7701280 h 8260080"/>
              <a:gd name="connsiteX88" fmla="*/ 436880 w 3505200"/>
              <a:gd name="connsiteY88" fmla="*/ 7874000 h 8260080"/>
              <a:gd name="connsiteX89" fmla="*/ 436880 w 3505200"/>
              <a:gd name="connsiteY89" fmla="*/ 7924800 h 8260080"/>
              <a:gd name="connsiteX90" fmla="*/ 548640 w 3505200"/>
              <a:gd name="connsiteY90" fmla="*/ 7965440 h 8260080"/>
              <a:gd name="connsiteX91" fmla="*/ 508000 w 3505200"/>
              <a:gd name="connsiteY91" fmla="*/ 8016240 h 8260080"/>
              <a:gd name="connsiteX92" fmla="*/ 589280 w 3505200"/>
              <a:gd name="connsiteY92" fmla="*/ 8056880 h 8260080"/>
              <a:gd name="connsiteX93" fmla="*/ 497840 w 3505200"/>
              <a:gd name="connsiteY93" fmla="*/ 8117840 h 8260080"/>
              <a:gd name="connsiteX94" fmla="*/ 518160 w 3505200"/>
              <a:gd name="connsiteY94" fmla="*/ 8209280 h 8260080"/>
              <a:gd name="connsiteX95" fmla="*/ 640080 w 3505200"/>
              <a:gd name="connsiteY95" fmla="*/ 8260080 h 8260080"/>
              <a:gd name="connsiteX96" fmla="*/ 731520 w 3505200"/>
              <a:gd name="connsiteY96" fmla="*/ 8219440 h 8260080"/>
              <a:gd name="connsiteX97" fmla="*/ 853440 w 3505200"/>
              <a:gd name="connsiteY97" fmla="*/ 8209280 h 8260080"/>
              <a:gd name="connsiteX98" fmla="*/ 955040 w 3505200"/>
              <a:gd name="connsiteY98" fmla="*/ 8260080 h 8260080"/>
              <a:gd name="connsiteX99" fmla="*/ 965200 w 3505200"/>
              <a:gd name="connsiteY99" fmla="*/ 8107680 h 8260080"/>
              <a:gd name="connsiteX100" fmla="*/ 894080 w 3505200"/>
              <a:gd name="connsiteY100" fmla="*/ 8026400 h 8260080"/>
              <a:gd name="connsiteX101" fmla="*/ 1016000 w 3505200"/>
              <a:gd name="connsiteY101" fmla="*/ 7863840 h 8260080"/>
              <a:gd name="connsiteX102" fmla="*/ 1107440 w 3505200"/>
              <a:gd name="connsiteY102" fmla="*/ 7894320 h 8260080"/>
              <a:gd name="connsiteX103" fmla="*/ 1127760 w 3505200"/>
              <a:gd name="connsiteY103" fmla="*/ 7853680 h 8260080"/>
              <a:gd name="connsiteX104" fmla="*/ 1066800 w 3505200"/>
              <a:gd name="connsiteY104" fmla="*/ 7813040 h 8260080"/>
              <a:gd name="connsiteX105" fmla="*/ 1137920 w 3505200"/>
              <a:gd name="connsiteY105" fmla="*/ 7762240 h 8260080"/>
              <a:gd name="connsiteX106" fmla="*/ 1330960 w 3505200"/>
              <a:gd name="connsiteY106" fmla="*/ 7802880 h 8260080"/>
              <a:gd name="connsiteX107" fmla="*/ 1361440 w 3505200"/>
              <a:gd name="connsiteY107" fmla="*/ 7772400 h 8260080"/>
              <a:gd name="connsiteX108" fmla="*/ 1483360 w 3505200"/>
              <a:gd name="connsiteY108" fmla="*/ 7823200 h 8260080"/>
              <a:gd name="connsiteX109" fmla="*/ 1554480 w 3505200"/>
              <a:gd name="connsiteY109" fmla="*/ 7731760 h 8260080"/>
              <a:gd name="connsiteX110" fmla="*/ 1524000 w 3505200"/>
              <a:gd name="connsiteY110" fmla="*/ 7640320 h 8260080"/>
              <a:gd name="connsiteX111" fmla="*/ 1645920 w 3505200"/>
              <a:gd name="connsiteY111" fmla="*/ 7437120 h 8260080"/>
              <a:gd name="connsiteX112" fmla="*/ 1635760 w 3505200"/>
              <a:gd name="connsiteY112" fmla="*/ 7335520 h 8260080"/>
              <a:gd name="connsiteX113" fmla="*/ 1696720 w 3505200"/>
              <a:gd name="connsiteY113" fmla="*/ 7223760 h 8260080"/>
              <a:gd name="connsiteX114" fmla="*/ 1625600 w 3505200"/>
              <a:gd name="connsiteY114" fmla="*/ 7172960 h 8260080"/>
              <a:gd name="connsiteX115" fmla="*/ 1747520 w 3505200"/>
              <a:gd name="connsiteY115" fmla="*/ 6990080 h 8260080"/>
              <a:gd name="connsiteX116" fmla="*/ 1666240 w 3505200"/>
              <a:gd name="connsiteY116" fmla="*/ 6939280 h 8260080"/>
              <a:gd name="connsiteX117" fmla="*/ 1737360 w 3505200"/>
              <a:gd name="connsiteY117" fmla="*/ 6888480 h 8260080"/>
              <a:gd name="connsiteX118" fmla="*/ 1645920 w 3505200"/>
              <a:gd name="connsiteY118" fmla="*/ 6776720 h 8260080"/>
              <a:gd name="connsiteX119" fmla="*/ 1808480 w 3505200"/>
              <a:gd name="connsiteY119" fmla="*/ 6715760 h 8260080"/>
              <a:gd name="connsiteX120" fmla="*/ 1727200 w 3505200"/>
              <a:gd name="connsiteY120" fmla="*/ 6614160 h 8260080"/>
              <a:gd name="connsiteX121" fmla="*/ 1686560 w 3505200"/>
              <a:gd name="connsiteY121" fmla="*/ 6421120 h 8260080"/>
              <a:gd name="connsiteX122" fmla="*/ 1889760 w 3505200"/>
              <a:gd name="connsiteY122" fmla="*/ 6299200 h 8260080"/>
              <a:gd name="connsiteX123" fmla="*/ 1940560 w 3505200"/>
              <a:gd name="connsiteY123" fmla="*/ 6228080 h 8260080"/>
              <a:gd name="connsiteX124" fmla="*/ 2032000 w 3505200"/>
              <a:gd name="connsiteY124" fmla="*/ 6136640 h 8260080"/>
              <a:gd name="connsiteX125" fmla="*/ 2011680 w 3505200"/>
              <a:gd name="connsiteY125" fmla="*/ 6014720 h 8260080"/>
              <a:gd name="connsiteX126" fmla="*/ 2123440 w 3505200"/>
              <a:gd name="connsiteY126" fmla="*/ 6065520 h 8260080"/>
              <a:gd name="connsiteX127" fmla="*/ 2092960 w 3505200"/>
              <a:gd name="connsiteY127" fmla="*/ 6167120 h 8260080"/>
              <a:gd name="connsiteX128" fmla="*/ 2286000 w 3505200"/>
              <a:gd name="connsiteY128" fmla="*/ 5933440 h 8260080"/>
              <a:gd name="connsiteX129" fmla="*/ 2255520 w 3505200"/>
              <a:gd name="connsiteY129" fmla="*/ 5801360 h 8260080"/>
              <a:gd name="connsiteX130" fmla="*/ 2448560 w 3505200"/>
              <a:gd name="connsiteY130" fmla="*/ 5598160 h 8260080"/>
              <a:gd name="connsiteX131" fmla="*/ 2357120 w 3505200"/>
              <a:gd name="connsiteY131" fmla="*/ 5435600 h 8260080"/>
              <a:gd name="connsiteX132" fmla="*/ 2225040 w 3505200"/>
              <a:gd name="connsiteY132" fmla="*/ 5415280 h 8260080"/>
              <a:gd name="connsiteX133" fmla="*/ 2103120 w 3505200"/>
              <a:gd name="connsiteY133" fmla="*/ 5222240 h 8260080"/>
              <a:gd name="connsiteX134" fmla="*/ 2092960 w 3505200"/>
              <a:gd name="connsiteY134" fmla="*/ 5110480 h 8260080"/>
              <a:gd name="connsiteX135" fmla="*/ 2052320 w 3505200"/>
              <a:gd name="connsiteY135" fmla="*/ 5151120 h 8260080"/>
              <a:gd name="connsiteX136" fmla="*/ 2042160 w 3505200"/>
              <a:gd name="connsiteY136" fmla="*/ 5242560 h 8260080"/>
              <a:gd name="connsiteX137" fmla="*/ 1981200 w 3505200"/>
              <a:gd name="connsiteY137" fmla="*/ 5191760 h 8260080"/>
              <a:gd name="connsiteX138" fmla="*/ 2011680 w 3505200"/>
              <a:gd name="connsiteY138" fmla="*/ 5120640 h 8260080"/>
              <a:gd name="connsiteX139" fmla="*/ 1930400 w 3505200"/>
              <a:gd name="connsiteY139" fmla="*/ 5100320 h 8260080"/>
              <a:gd name="connsiteX140" fmla="*/ 1859280 w 3505200"/>
              <a:gd name="connsiteY140" fmla="*/ 4917440 h 8260080"/>
              <a:gd name="connsiteX141" fmla="*/ 1828800 w 3505200"/>
              <a:gd name="connsiteY141" fmla="*/ 4622800 h 8260080"/>
              <a:gd name="connsiteX142" fmla="*/ 1910080 w 3505200"/>
              <a:gd name="connsiteY142" fmla="*/ 4419600 h 8260080"/>
              <a:gd name="connsiteX143" fmla="*/ 1920240 w 3505200"/>
              <a:gd name="connsiteY143" fmla="*/ 4277360 h 8260080"/>
              <a:gd name="connsiteX144" fmla="*/ 1971040 w 3505200"/>
              <a:gd name="connsiteY144" fmla="*/ 4124960 h 8260080"/>
              <a:gd name="connsiteX145" fmla="*/ 1879600 w 3505200"/>
              <a:gd name="connsiteY145" fmla="*/ 4023360 h 8260080"/>
              <a:gd name="connsiteX146" fmla="*/ 2072640 w 3505200"/>
              <a:gd name="connsiteY146" fmla="*/ 4003040 h 8260080"/>
              <a:gd name="connsiteX147" fmla="*/ 2092960 w 3505200"/>
              <a:gd name="connsiteY147" fmla="*/ 3850640 h 8260080"/>
              <a:gd name="connsiteX148" fmla="*/ 2001520 w 3505200"/>
              <a:gd name="connsiteY148" fmla="*/ 3728720 h 8260080"/>
              <a:gd name="connsiteX149" fmla="*/ 2164080 w 3505200"/>
              <a:gd name="connsiteY149" fmla="*/ 3769360 h 8260080"/>
              <a:gd name="connsiteX150" fmla="*/ 2265680 w 3505200"/>
              <a:gd name="connsiteY150" fmla="*/ 3566160 h 8260080"/>
              <a:gd name="connsiteX151" fmla="*/ 2336800 w 3505200"/>
              <a:gd name="connsiteY151" fmla="*/ 3515360 h 8260080"/>
              <a:gd name="connsiteX152" fmla="*/ 2367280 w 3505200"/>
              <a:gd name="connsiteY152" fmla="*/ 3362960 h 8260080"/>
              <a:gd name="connsiteX153" fmla="*/ 2489200 w 3505200"/>
              <a:gd name="connsiteY153" fmla="*/ 3423920 h 8260080"/>
              <a:gd name="connsiteX154" fmla="*/ 2560320 w 3505200"/>
              <a:gd name="connsiteY154" fmla="*/ 3302000 h 8260080"/>
              <a:gd name="connsiteX155" fmla="*/ 2743200 w 3505200"/>
              <a:gd name="connsiteY155" fmla="*/ 3149600 h 8260080"/>
              <a:gd name="connsiteX156" fmla="*/ 2844800 w 3505200"/>
              <a:gd name="connsiteY156" fmla="*/ 3088640 h 8260080"/>
              <a:gd name="connsiteX157" fmla="*/ 2804160 w 3505200"/>
              <a:gd name="connsiteY157" fmla="*/ 2966720 h 8260080"/>
              <a:gd name="connsiteX158" fmla="*/ 2976880 w 3505200"/>
              <a:gd name="connsiteY158" fmla="*/ 2763520 h 8260080"/>
              <a:gd name="connsiteX159" fmla="*/ 2794000 w 3505200"/>
              <a:gd name="connsiteY159" fmla="*/ 2621280 h 8260080"/>
              <a:gd name="connsiteX160" fmla="*/ 2946400 w 3505200"/>
              <a:gd name="connsiteY160" fmla="*/ 2377440 h 8260080"/>
              <a:gd name="connsiteX161" fmla="*/ 2854960 w 3505200"/>
              <a:gd name="connsiteY161" fmla="*/ 2255520 h 8260080"/>
              <a:gd name="connsiteX162" fmla="*/ 3027680 w 3505200"/>
              <a:gd name="connsiteY162" fmla="*/ 2113280 h 8260080"/>
              <a:gd name="connsiteX163" fmla="*/ 3119120 w 3505200"/>
              <a:gd name="connsiteY163" fmla="*/ 2021840 h 8260080"/>
              <a:gd name="connsiteX164" fmla="*/ 3027680 w 3505200"/>
              <a:gd name="connsiteY164" fmla="*/ 1960880 h 8260080"/>
              <a:gd name="connsiteX165" fmla="*/ 3139440 w 3505200"/>
              <a:gd name="connsiteY165" fmla="*/ 1869440 h 8260080"/>
              <a:gd name="connsiteX166" fmla="*/ 3281680 w 3505200"/>
              <a:gd name="connsiteY166" fmla="*/ 1950720 h 8260080"/>
              <a:gd name="connsiteX167" fmla="*/ 3403600 w 3505200"/>
              <a:gd name="connsiteY167" fmla="*/ 1889760 h 8260080"/>
              <a:gd name="connsiteX168" fmla="*/ 3505200 w 3505200"/>
              <a:gd name="connsiteY168" fmla="*/ 1910080 h 8260080"/>
              <a:gd name="connsiteX169" fmla="*/ 3444240 w 3505200"/>
              <a:gd name="connsiteY169" fmla="*/ 1656080 h 8260080"/>
              <a:gd name="connsiteX170" fmla="*/ 3373120 w 3505200"/>
              <a:gd name="connsiteY170" fmla="*/ 1635760 h 8260080"/>
              <a:gd name="connsiteX171" fmla="*/ 3352800 w 3505200"/>
              <a:gd name="connsiteY171" fmla="*/ 1503680 h 8260080"/>
              <a:gd name="connsiteX172" fmla="*/ 3444240 w 3505200"/>
              <a:gd name="connsiteY172" fmla="*/ 1412240 h 8260080"/>
              <a:gd name="connsiteX173" fmla="*/ 3393440 w 3505200"/>
              <a:gd name="connsiteY173" fmla="*/ 1280160 h 8260080"/>
              <a:gd name="connsiteX174" fmla="*/ 3434080 w 3505200"/>
              <a:gd name="connsiteY174" fmla="*/ 1249680 h 8260080"/>
              <a:gd name="connsiteX175" fmla="*/ 3281680 w 3505200"/>
              <a:gd name="connsiteY175" fmla="*/ 1066800 h 8260080"/>
              <a:gd name="connsiteX176" fmla="*/ 3383280 w 3505200"/>
              <a:gd name="connsiteY176" fmla="*/ 975360 h 8260080"/>
              <a:gd name="connsiteX177" fmla="*/ 3302000 w 3505200"/>
              <a:gd name="connsiteY177" fmla="*/ 924560 h 8260080"/>
              <a:gd name="connsiteX178" fmla="*/ 3190240 w 3505200"/>
              <a:gd name="connsiteY178" fmla="*/ 944880 h 8260080"/>
              <a:gd name="connsiteX179" fmla="*/ 3281680 w 3505200"/>
              <a:gd name="connsiteY179" fmla="*/ 792480 h 8260080"/>
              <a:gd name="connsiteX180" fmla="*/ 3210560 w 3505200"/>
              <a:gd name="connsiteY180" fmla="*/ 650240 h 8260080"/>
              <a:gd name="connsiteX181" fmla="*/ 3302000 w 3505200"/>
              <a:gd name="connsiteY181" fmla="*/ 568960 h 8260080"/>
              <a:gd name="connsiteX182" fmla="*/ 3190240 w 3505200"/>
              <a:gd name="connsiteY182" fmla="*/ 487680 h 8260080"/>
              <a:gd name="connsiteX183" fmla="*/ 3108960 w 3505200"/>
              <a:gd name="connsiteY183" fmla="*/ 528320 h 8260080"/>
              <a:gd name="connsiteX184" fmla="*/ 3108960 w 3505200"/>
              <a:gd name="connsiteY184" fmla="*/ 406400 h 8260080"/>
              <a:gd name="connsiteX185" fmla="*/ 2926080 w 3505200"/>
              <a:gd name="connsiteY185" fmla="*/ 314960 h 8260080"/>
              <a:gd name="connsiteX186" fmla="*/ 2834640 w 3505200"/>
              <a:gd name="connsiteY186" fmla="*/ 355600 h 8260080"/>
              <a:gd name="connsiteX187" fmla="*/ 2682240 w 3505200"/>
              <a:gd name="connsiteY187" fmla="*/ 111760 h 8260080"/>
              <a:gd name="connsiteX188" fmla="*/ 2590800 w 3505200"/>
              <a:gd name="connsiteY188" fmla="*/ 121920 h 8260080"/>
              <a:gd name="connsiteX189" fmla="*/ 2611120 w 3505200"/>
              <a:gd name="connsiteY189" fmla="*/ 0 h 8260080"/>
              <a:gd name="connsiteX190" fmla="*/ 2438400 w 3505200"/>
              <a:gd name="connsiteY19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150019 w 3505200"/>
              <a:gd name="connsiteY70" fmla="*/ 6767195 h 8260080"/>
              <a:gd name="connsiteX71" fmla="*/ 233680 w 3505200"/>
              <a:gd name="connsiteY71" fmla="*/ 6959600 h 8260080"/>
              <a:gd name="connsiteX72" fmla="*/ 304800 w 3505200"/>
              <a:gd name="connsiteY72" fmla="*/ 7020560 h 8260080"/>
              <a:gd name="connsiteX73" fmla="*/ 264160 w 3505200"/>
              <a:gd name="connsiteY73" fmla="*/ 7122160 h 8260080"/>
              <a:gd name="connsiteX74" fmla="*/ 335280 w 3505200"/>
              <a:gd name="connsiteY74" fmla="*/ 7193280 h 8260080"/>
              <a:gd name="connsiteX75" fmla="*/ 325120 w 3505200"/>
              <a:gd name="connsiteY75" fmla="*/ 7254240 h 8260080"/>
              <a:gd name="connsiteX76" fmla="*/ 325120 w 3505200"/>
              <a:gd name="connsiteY76" fmla="*/ 7254240 h 8260080"/>
              <a:gd name="connsiteX77" fmla="*/ 325120 w 3505200"/>
              <a:gd name="connsiteY77" fmla="*/ 7355840 h 8260080"/>
              <a:gd name="connsiteX78" fmla="*/ 447040 w 3505200"/>
              <a:gd name="connsiteY78" fmla="*/ 7366000 h 8260080"/>
              <a:gd name="connsiteX79" fmla="*/ 447040 w 3505200"/>
              <a:gd name="connsiteY79" fmla="*/ 7477760 h 8260080"/>
              <a:gd name="connsiteX80" fmla="*/ 558800 w 3505200"/>
              <a:gd name="connsiteY80" fmla="*/ 7528560 h 8260080"/>
              <a:gd name="connsiteX81" fmla="*/ 508000 w 3505200"/>
              <a:gd name="connsiteY81" fmla="*/ 7630160 h 8260080"/>
              <a:gd name="connsiteX82" fmla="*/ 436880 w 3505200"/>
              <a:gd name="connsiteY82" fmla="*/ 7609840 h 8260080"/>
              <a:gd name="connsiteX83" fmla="*/ 447040 w 3505200"/>
              <a:gd name="connsiteY83" fmla="*/ 7691120 h 8260080"/>
              <a:gd name="connsiteX84" fmla="*/ 518160 w 3505200"/>
              <a:gd name="connsiteY84" fmla="*/ 7741920 h 8260080"/>
              <a:gd name="connsiteX85" fmla="*/ 457200 w 3505200"/>
              <a:gd name="connsiteY85" fmla="*/ 7792720 h 8260080"/>
              <a:gd name="connsiteX86" fmla="*/ 396240 w 3505200"/>
              <a:gd name="connsiteY86" fmla="*/ 7701280 h 8260080"/>
              <a:gd name="connsiteX87" fmla="*/ 396240 w 3505200"/>
              <a:gd name="connsiteY87" fmla="*/ 7701280 h 8260080"/>
              <a:gd name="connsiteX88" fmla="*/ 436880 w 3505200"/>
              <a:gd name="connsiteY88" fmla="*/ 7874000 h 8260080"/>
              <a:gd name="connsiteX89" fmla="*/ 436880 w 3505200"/>
              <a:gd name="connsiteY89" fmla="*/ 7924800 h 8260080"/>
              <a:gd name="connsiteX90" fmla="*/ 548640 w 3505200"/>
              <a:gd name="connsiteY90" fmla="*/ 7965440 h 8260080"/>
              <a:gd name="connsiteX91" fmla="*/ 508000 w 3505200"/>
              <a:gd name="connsiteY91" fmla="*/ 8016240 h 8260080"/>
              <a:gd name="connsiteX92" fmla="*/ 589280 w 3505200"/>
              <a:gd name="connsiteY92" fmla="*/ 8056880 h 8260080"/>
              <a:gd name="connsiteX93" fmla="*/ 497840 w 3505200"/>
              <a:gd name="connsiteY93" fmla="*/ 8117840 h 8260080"/>
              <a:gd name="connsiteX94" fmla="*/ 518160 w 3505200"/>
              <a:gd name="connsiteY94" fmla="*/ 8209280 h 8260080"/>
              <a:gd name="connsiteX95" fmla="*/ 640080 w 3505200"/>
              <a:gd name="connsiteY95" fmla="*/ 8260080 h 8260080"/>
              <a:gd name="connsiteX96" fmla="*/ 731520 w 3505200"/>
              <a:gd name="connsiteY96" fmla="*/ 8219440 h 8260080"/>
              <a:gd name="connsiteX97" fmla="*/ 853440 w 3505200"/>
              <a:gd name="connsiteY97" fmla="*/ 8209280 h 8260080"/>
              <a:gd name="connsiteX98" fmla="*/ 955040 w 3505200"/>
              <a:gd name="connsiteY98" fmla="*/ 8260080 h 8260080"/>
              <a:gd name="connsiteX99" fmla="*/ 965200 w 3505200"/>
              <a:gd name="connsiteY99" fmla="*/ 8107680 h 8260080"/>
              <a:gd name="connsiteX100" fmla="*/ 894080 w 3505200"/>
              <a:gd name="connsiteY100" fmla="*/ 8026400 h 8260080"/>
              <a:gd name="connsiteX101" fmla="*/ 1016000 w 3505200"/>
              <a:gd name="connsiteY101" fmla="*/ 7863840 h 8260080"/>
              <a:gd name="connsiteX102" fmla="*/ 1107440 w 3505200"/>
              <a:gd name="connsiteY102" fmla="*/ 7894320 h 8260080"/>
              <a:gd name="connsiteX103" fmla="*/ 1127760 w 3505200"/>
              <a:gd name="connsiteY103" fmla="*/ 7853680 h 8260080"/>
              <a:gd name="connsiteX104" fmla="*/ 1066800 w 3505200"/>
              <a:gd name="connsiteY104" fmla="*/ 7813040 h 8260080"/>
              <a:gd name="connsiteX105" fmla="*/ 1137920 w 3505200"/>
              <a:gd name="connsiteY105" fmla="*/ 7762240 h 8260080"/>
              <a:gd name="connsiteX106" fmla="*/ 1330960 w 3505200"/>
              <a:gd name="connsiteY106" fmla="*/ 7802880 h 8260080"/>
              <a:gd name="connsiteX107" fmla="*/ 1361440 w 3505200"/>
              <a:gd name="connsiteY107" fmla="*/ 7772400 h 8260080"/>
              <a:gd name="connsiteX108" fmla="*/ 1483360 w 3505200"/>
              <a:gd name="connsiteY108" fmla="*/ 7823200 h 8260080"/>
              <a:gd name="connsiteX109" fmla="*/ 1554480 w 3505200"/>
              <a:gd name="connsiteY109" fmla="*/ 7731760 h 8260080"/>
              <a:gd name="connsiteX110" fmla="*/ 1524000 w 3505200"/>
              <a:gd name="connsiteY110" fmla="*/ 7640320 h 8260080"/>
              <a:gd name="connsiteX111" fmla="*/ 1645920 w 3505200"/>
              <a:gd name="connsiteY111" fmla="*/ 7437120 h 8260080"/>
              <a:gd name="connsiteX112" fmla="*/ 1635760 w 3505200"/>
              <a:gd name="connsiteY112" fmla="*/ 7335520 h 8260080"/>
              <a:gd name="connsiteX113" fmla="*/ 1696720 w 3505200"/>
              <a:gd name="connsiteY113" fmla="*/ 7223760 h 8260080"/>
              <a:gd name="connsiteX114" fmla="*/ 1625600 w 3505200"/>
              <a:gd name="connsiteY114" fmla="*/ 7172960 h 8260080"/>
              <a:gd name="connsiteX115" fmla="*/ 1747520 w 3505200"/>
              <a:gd name="connsiteY115" fmla="*/ 6990080 h 8260080"/>
              <a:gd name="connsiteX116" fmla="*/ 1666240 w 3505200"/>
              <a:gd name="connsiteY116" fmla="*/ 6939280 h 8260080"/>
              <a:gd name="connsiteX117" fmla="*/ 1737360 w 3505200"/>
              <a:gd name="connsiteY117" fmla="*/ 6888480 h 8260080"/>
              <a:gd name="connsiteX118" fmla="*/ 1645920 w 3505200"/>
              <a:gd name="connsiteY118" fmla="*/ 6776720 h 8260080"/>
              <a:gd name="connsiteX119" fmla="*/ 1808480 w 3505200"/>
              <a:gd name="connsiteY119" fmla="*/ 6715760 h 8260080"/>
              <a:gd name="connsiteX120" fmla="*/ 1727200 w 3505200"/>
              <a:gd name="connsiteY120" fmla="*/ 6614160 h 8260080"/>
              <a:gd name="connsiteX121" fmla="*/ 1686560 w 3505200"/>
              <a:gd name="connsiteY121" fmla="*/ 6421120 h 8260080"/>
              <a:gd name="connsiteX122" fmla="*/ 1889760 w 3505200"/>
              <a:gd name="connsiteY122" fmla="*/ 6299200 h 8260080"/>
              <a:gd name="connsiteX123" fmla="*/ 1940560 w 3505200"/>
              <a:gd name="connsiteY123" fmla="*/ 6228080 h 8260080"/>
              <a:gd name="connsiteX124" fmla="*/ 2032000 w 3505200"/>
              <a:gd name="connsiteY124" fmla="*/ 6136640 h 8260080"/>
              <a:gd name="connsiteX125" fmla="*/ 2011680 w 3505200"/>
              <a:gd name="connsiteY125" fmla="*/ 6014720 h 8260080"/>
              <a:gd name="connsiteX126" fmla="*/ 2123440 w 3505200"/>
              <a:gd name="connsiteY126" fmla="*/ 6065520 h 8260080"/>
              <a:gd name="connsiteX127" fmla="*/ 2092960 w 3505200"/>
              <a:gd name="connsiteY127" fmla="*/ 6167120 h 8260080"/>
              <a:gd name="connsiteX128" fmla="*/ 2286000 w 3505200"/>
              <a:gd name="connsiteY128" fmla="*/ 5933440 h 8260080"/>
              <a:gd name="connsiteX129" fmla="*/ 2255520 w 3505200"/>
              <a:gd name="connsiteY129" fmla="*/ 5801360 h 8260080"/>
              <a:gd name="connsiteX130" fmla="*/ 2448560 w 3505200"/>
              <a:gd name="connsiteY130" fmla="*/ 5598160 h 8260080"/>
              <a:gd name="connsiteX131" fmla="*/ 2357120 w 3505200"/>
              <a:gd name="connsiteY131" fmla="*/ 5435600 h 8260080"/>
              <a:gd name="connsiteX132" fmla="*/ 2225040 w 3505200"/>
              <a:gd name="connsiteY132" fmla="*/ 5415280 h 8260080"/>
              <a:gd name="connsiteX133" fmla="*/ 2103120 w 3505200"/>
              <a:gd name="connsiteY133" fmla="*/ 5222240 h 8260080"/>
              <a:gd name="connsiteX134" fmla="*/ 2092960 w 3505200"/>
              <a:gd name="connsiteY134" fmla="*/ 5110480 h 8260080"/>
              <a:gd name="connsiteX135" fmla="*/ 2052320 w 3505200"/>
              <a:gd name="connsiteY135" fmla="*/ 5151120 h 8260080"/>
              <a:gd name="connsiteX136" fmla="*/ 2042160 w 3505200"/>
              <a:gd name="connsiteY136" fmla="*/ 5242560 h 8260080"/>
              <a:gd name="connsiteX137" fmla="*/ 1981200 w 3505200"/>
              <a:gd name="connsiteY137" fmla="*/ 5191760 h 8260080"/>
              <a:gd name="connsiteX138" fmla="*/ 2011680 w 3505200"/>
              <a:gd name="connsiteY138" fmla="*/ 5120640 h 8260080"/>
              <a:gd name="connsiteX139" fmla="*/ 1930400 w 3505200"/>
              <a:gd name="connsiteY139" fmla="*/ 5100320 h 8260080"/>
              <a:gd name="connsiteX140" fmla="*/ 1859280 w 3505200"/>
              <a:gd name="connsiteY140" fmla="*/ 4917440 h 8260080"/>
              <a:gd name="connsiteX141" fmla="*/ 1828800 w 3505200"/>
              <a:gd name="connsiteY141" fmla="*/ 4622800 h 8260080"/>
              <a:gd name="connsiteX142" fmla="*/ 1910080 w 3505200"/>
              <a:gd name="connsiteY142" fmla="*/ 4419600 h 8260080"/>
              <a:gd name="connsiteX143" fmla="*/ 1920240 w 3505200"/>
              <a:gd name="connsiteY143" fmla="*/ 4277360 h 8260080"/>
              <a:gd name="connsiteX144" fmla="*/ 1971040 w 3505200"/>
              <a:gd name="connsiteY144" fmla="*/ 4124960 h 8260080"/>
              <a:gd name="connsiteX145" fmla="*/ 1879600 w 3505200"/>
              <a:gd name="connsiteY145" fmla="*/ 4023360 h 8260080"/>
              <a:gd name="connsiteX146" fmla="*/ 2072640 w 3505200"/>
              <a:gd name="connsiteY146" fmla="*/ 4003040 h 8260080"/>
              <a:gd name="connsiteX147" fmla="*/ 2092960 w 3505200"/>
              <a:gd name="connsiteY147" fmla="*/ 3850640 h 8260080"/>
              <a:gd name="connsiteX148" fmla="*/ 2001520 w 3505200"/>
              <a:gd name="connsiteY148" fmla="*/ 3728720 h 8260080"/>
              <a:gd name="connsiteX149" fmla="*/ 2164080 w 3505200"/>
              <a:gd name="connsiteY149" fmla="*/ 3769360 h 8260080"/>
              <a:gd name="connsiteX150" fmla="*/ 2265680 w 3505200"/>
              <a:gd name="connsiteY150" fmla="*/ 3566160 h 8260080"/>
              <a:gd name="connsiteX151" fmla="*/ 2336800 w 3505200"/>
              <a:gd name="connsiteY151" fmla="*/ 3515360 h 8260080"/>
              <a:gd name="connsiteX152" fmla="*/ 2367280 w 3505200"/>
              <a:gd name="connsiteY152" fmla="*/ 3362960 h 8260080"/>
              <a:gd name="connsiteX153" fmla="*/ 2489200 w 3505200"/>
              <a:gd name="connsiteY153" fmla="*/ 3423920 h 8260080"/>
              <a:gd name="connsiteX154" fmla="*/ 2560320 w 3505200"/>
              <a:gd name="connsiteY154" fmla="*/ 3302000 h 8260080"/>
              <a:gd name="connsiteX155" fmla="*/ 2743200 w 3505200"/>
              <a:gd name="connsiteY155" fmla="*/ 3149600 h 8260080"/>
              <a:gd name="connsiteX156" fmla="*/ 2844800 w 3505200"/>
              <a:gd name="connsiteY156" fmla="*/ 3088640 h 8260080"/>
              <a:gd name="connsiteX157" fmla="*/ 2804160 w 3505200"/>
              <a:gd name="connsiteY157" fmla="*/ 2966720 h 8260080"/>
              <a:gd name="connsiteX158" fmla="*/ 2976880 w 3505200"/>
              <a:gd name="connsiteY158" fmla="*/ 2763520 h 8260080"/>
              <a:gd name="connsiteX159" fmla="*/ 2794000 w 3505200"/>
              <a:gd name="connsiteY159" fmla="*/ 2621280 h 8260080"/>
              <a:gd name="connsiteX160" fmla="*/ 2946400 w 3505200"/>
              <a:gd name="connsiteY160" fmla="*/ 2377440 h 8260080"/>
              <a:gd name="connsiteX161" fmla="*/ 2854960 w 3505200"/>
              <a:gd name="connsiteY161" fmla="*/ 2255520 h 8260080"/>
              <a:gd name="connsiteX162" fmla="*/ 3027680 w 3505200"/>
              <a:gd name="connsiteY162" fmla="*/ 2113280 h 8260080"/>
              <a:gd name="connsiteX163" fmla="*/ 3119120 w 3505200"/>
              <a:gd name="connsiteY163" fmla="*/ 2021840 h 8260080"/>
              <a:gd name="connsiteX164" fmla="*/ 3027680 w 3505200"/>
              <a:gd name="connsiteY164" fmla="*/ 1960880 h 8260080"/>
              <a:gd name="connsiteX165" fmla="*/ 3139440 w 3505200"/>
              <a:gd name="connsiteY165" fmla="*/ 1869440 h 8260080"/>
              <a:gd name="connsiteX166" fmla="*/ 3281680 w 3505200"/>
              <a:gd name="connsiteY166" fmla="*/ 1950720 h 8260080"/>
              <a:gd name="connsiteX167" fmla="*/ 3403600 w 3505200"/>
              <a:gd name="connsiteY167" fmla="*/ 1889760 h 8260080"/>
              <a:gd name="connsiteX168" fmla="*/ 3505200 w 3505200"/>
              <a:gd name="connsiteY168" fmla="*/ 1910080 h 8260080"/>
              <a:gd name="connsiteX169" fmla="*/ 3444240 w 3505200"/>
              <a:gd name="connsiteY169" fmla="*/ 1656080 h 8260080"/>
              <a:gd name="connsiteX170" fmla="*/ 3373120 w 3505200"/>
              <a:gd name="connsiteY170" fmla="*/ 1635760 h 8260080"/>
              <a:gd name="connsiteX171" fmla="*/ 3352800 w 3505200"/>
              <a:gd name="connsiteY171" fmla="*/ 1503680 h 8260080"/>
              <a:gd name="connsiteX172" fmla="*/ 3444240 w 3505200"/>
              <a:gd name="connsiteY172" fmla="*/ 1412240 h 8260080"/>
              <a:gd name="connsiteX173" fmla="*/ 3393440 w 3505200"/>
              <a:gd name="connsiteY173" fmla="*/ 1280160 h 8260080"/>
              <a:gd name="connsiteX174" fmla="*/ 3434080 w 3505200"/>
              <a:gd name="connsiteY174" fmla="*/ 1249680 h 8260080"/>
              <a:gd name="connsiteX175" fmla="*/ 3281680 w 3505200"/>
              <a:gd name="connsiteY175" fmla="*/ 1066800 h 8260080"/>
              <a:gd name="connsiteX176" fmla="*/ 3383280 w 3505200"/>
              <a:gd name="connsiteY176" fmla="*/ 975360 h 8260080"/>
              <a:gd name="connsiteX177" fmla="*/ 3302000 w 3505200"/>
              <a:gd name="connsiteY177" fmla="*/ 924560 h 8260080"/>
              <a:gd name="connsiteX178" fmla="*/ 3190240 w 3505200"/>
              <a:gd name="connsiteY178" fmla="*/ 944880 h 8260080"/>
              <a:gd name="connsiteX179" fmla="*/ 3281680 w 3505200"/>
              <a:gd name="connsiteY179" fmla="*/ 792480 h 8260080"/>
              <a:gd name="connsiteX180" fmla="*/ 3210560 w 3505200"/>
              <a:gd name="connsiteY180" fmla="*/ 650240 h 8260080"/>
              <a:gd name="connsiteX181" fmla="*/ 3302000 w 3505200"/>
              <a:gd name="connsiteY181" fmla="*/ 568960 h 8260080"/>
              <a:gd name="connsiteX182" fmla="*/ 3190240 w 3505200"/>
              <a:gd name="connsiteY182" fmla="*/ 487680 h 8260080"/>
              <a:gd name="connsiteX183" fmla="*/ 3108960 w 3505200"/>
              <a:gd name="connsiteY183" fmla="*/ 528320 h 8260080"/>
              <a:gd name="connsiteX184" fmla="*/ 3108960 w 3505200"/>
              <a:gd name="connsiteY184" fmla="*/ 406400 h 8260080"/>
              <a:gd name="connsiteX185" fmla="*/ 2926080 w 3505200"/>
              <a:gd name="connsiteY185" fmla="*/ 314960 h 8260080"/>
              <a:gd name="connsiteX186" fmla="*/ 2834640 w 3505200"/>
              <a:gd name="connsiteY186" fmla="*/ 355600 h 8260080"/>
              <a:gd name="connsiteX187" fmla="*/ 2682240 w 3505200"/>
              <a:gd name="connsiteY187" fmla="*/ 111760 h 8260080"/>
              <a:gd name="connsiteX188" fmla="*/ 2590800 w 3505200"/>
              <a:gd name="connsiteY188" fmla="*/ 121920 h 8260080"/>
              <a:gd name="connsiteX189" fmla="*/ 2611120 w 3505200"/>
              <a:gd name="connsiteY189" fmla="*/ 0 h 8260080"/>
              <a:gd name="connsiteX190" fmla="*/ 2438400 w 3505200"/>
              <a:gd name="connsiteY19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150019 w 3505200"/>
              <a:gd name="connsiteY70" fmla="*/ 6767195 h 8260080"/>
              <a:gd name="connsiteX71" fmla="*/ 233680 w 3505200"/>
              <a:gd name="connsiteY71" fmla="*/ 6959600 h 8260080"/>
              <a:gd name="connsiteX72" fmla="*/ 304800 w 3505200"/>
              <a:gd name="connsiteY72" fmla="*/ 7020560 h 8260080"/>
              <a:gd name="connsiteX73" fmla="*/ 264160 w 3505200"/>
              <a:gd name="connsiteY73" fmla="*/ 7122160 h 8260080"/>
              <a:gd name="connsiteX74" fmla="*/ 335280 w 3505200"/>
              <a:gd name="connsiteY74" fmla="*/ 7193280 h 8260080"/>
              <a:gd name="connsiteX75" fmla="*/ 325120 w 3505200"/>
              <a:gd name="connsiteY75" fmla="*/ 7254240 h 8260080"/>
              <a:gd name="connsiteX76" fmla="*/ 325120 w 3505200"/>
              <a:gd name="connsiteY76" fmla="*/ 7254240 h 8260080"/>
              <a:gd name="connsiteX77" fmla="*/ 325120 w 3505200"/>
              <a:gd name="connsiteY77" fmla="*/ 7355840 h 8260080"/>
              <a:gd name="connsiteX78" fmla="*/ 447040 w 3505200"/>
              <a:gd name="connsiteY78" fmla="*/ 7366000 h 8260080"/>
              <a:gd name="connsiteX79" fmla="*/ 447040 w 3505200"/>
              <a:gd name="connsiteY79" fmla="*/ 7477760 h 8260080"/>
              <a:gd name="connsiteX80" fmla="*/ 558800 w 3505200"/>
              <a:gd name="connsiteY80" fmla="*/ 7528560 h 8260080"/>
              <a:gd name="connsiteX81" fmla="*/ 508000 w 3505200"/>
              <a:gd name="connsiteY81" fmla="*/ 7630160 h 8260080"/>
              <a:gd name="connsiteX82" fmla="*/ 436880 w 3505200"/>
              <a:gd name="connsiteY82" fmla="*/ 7609840 h 8260080"/>
              <a:gd name="connsiteX83" fmla="*/ 447040 w 3505200"/>
              <a:gd name="connsiteY83" fmla="*/ 7691120 h 8260080"/>
              <a:gd name="connsiteX84" fmla="*/ 518160 w 3505200"/>
              <a:gd name="connsiteY84" fmla="*/ 7741920 h 8260080"/>
              <a:gd name="connsiteX85" fmla="*/ 457200 w 3505200"/>
              <a:gd name="connsiteY85" fmla="*/ 7792720 h 8260080"/>
              <a:gd name="connsiteX86" fmla="*/ 396240 w 3505200"/>
              <a:gd name="connsiteY86" fmla="*/ 7701280 h 8260080"/>
              <a:gd name="connsiteX87" fmla="*/ 396240 w 3505200"/>
              <a:gd name="connsiteY87" fmla="*/ 7701280 h 8260080"/>
              <a:gd name="connsiteX88" fmla="*/ 436880 w 3505200"/>
              <a:gd name="connsiteY88" fmla="*/ 7874000 h 8260080"/>
              <a:gd name="connsiteX89" fmla="*/ 436880 w 3505200"/>
              <a:gd name="connsiteY89" fmla="*/ 7924800 h 8260080"/>
              <a:gd name="connsiteX90" fmla="*/ 548640 w 3505200"/>
              <a:gd name="connsiteY90" fmla="*/ 7965440 h 8260080"/>
              <a:gd name="connsiteX91" fmla="*/ 508000 w 3505200"/>
              <a:gd name="connsiteY91" fmla="*/ 8016240 h 8260080"/>
              <a:gd name="connsiteX92" fmla="*/ 589280 w 3505200"/>
              <a:gd name="connsiteY92" fmla="*/ 8056880 h 8260080"/>
              <a:gd name="connsiteX93" fmla="*/ 497840 w 3505200"/>
              <a:gd name="connsiteY93" fmla="*/ 8117840 h 8260080"/>
              <a:gd name="connsiteX94" fmla="*/ 518160 w 3505200"/>
              <a:gd name="connsiteY94" fmla="*/ 8209280 h 8260080"/>
              <a:gd name="connsiteX95" fmla="*/ 640080 w 3505200"/>
              <a:gd name="connsiteY95" fmla="*/ 8260080 h 8260080"/>
              <a:gd name="connsiteX96" fmla="*/ 731520 w 3505200"/>
              <a:gd name="connsiteY96" fmla="*/ 8219440 h 8260080"/>
              <a:gd name="connsiteX97" fmla="*/ 853440 w 3505200"/>
              <a:gd name="connsiteY97" fmla="*/ 8209280 h 8260080"/>
              <a:gd name="connsiteX98" fmla="*/ 955040 w 3505200"/>
              <a:gd name="connsiteY98" fmla="*/ 8260080 h 8260080"/>
              <a:gd name="connsiteX99" fmla="*/ 965200 w 3505200"/>
              <a:gd name="connsiteY99" fmla="*/ 8107680 h 8260080"/>
              <a:gd name="connsiteX100" fmla="*/ 894080 w 3505200"/>
              <a:gd name="connsiteY100" fmla="*/ 8026400 h 8260080"/>
              <a:gd name="connsiteX101" fmla="*/ 1016000 w 3505200"/>
              <a:gd name="connsiteY101" fmla="*/ 7863840 h 8260080"/>
              <a:gd name="connsiteX102" fmla="*/ 1107440 w 3505200"/>
              <a:gd name="connsiteY102" fmla="*/ 7894320 h 8260080"/>
              <a:gd name="connsiteX103" fmla="*/ 1127760 w 3505200"/>
              <a:gd name="connsiteY103" fmla="*/ 7853680 h 8260080"/>
              <a:gd name="connsiteX104" fmla="*/ 1066800 w 3505200"/>
              <a:gd name="connsiteY104" fmla="*/ 7813040 h 8260080"/>
              <a:gd name="connsiteX105" fmla="*/ 1137920 w 3505200"/>
              <a:gd name="connsiteY105" fmla="*/ 7762240 h 8260080"/>
              <a:gd name="connsiteX106" fmla="*/ 1330960 w 3505200"/>
              <a:gd name="connsiteY106" fmla="*/ 7802880 h 8260080"/>
              <a:gd name="connsiteX107" fmla="*/ 1361440 w 3505200"/>
              <a:gd name="connsiteY107" fmla="*/ 7772400 h 8260080"/>
              <a:gd name="connsiteX108" fmla="*/ 1483360 w 3505200"/>
              <a:gd name="connsiteY108" fmla="*/ 7823200 h 8260080"/>
              <a:gd name="connsiteX109" fmla="*/ 1554480 w 3505200"/>
              <a:gd name="connsiteY109" fmla="*/ 7731760 h 8260080"/>
              <a:gd name="connsiteX110" fmla="*/ 1524000 w 3505200"/>
              <a:gd name="connsiteY110" fmla="*/ 7640320 h 8260080"/>
              <a:gd name="connsiteX111" fmla="*/ 1645920 w 3505200"/>
              <a:gd name="connsiteY111" fmla="*/ 7437120 h 8260080"/>
              <a:gd name="connsiteX112" fmla="*/ 1635760 w 3505200"/>
              <a:gd name="connsiteY112" fmla="*/ 7335520 h 8260080"/>
              <a:gd name="connsiteX113" fmla="*/ 1696720 w 3505200"/>
              <a:gd name="connsiteY113" fmla="*/ 7223760 h 8260080"/>
              <a:gd name="connsiteX114" fmla="*/ 1625600 w 3505200"/>
              <a:gd name="connsiteY114" fmla="*/ 7172960 h 8260080"/>
              <a:gd name="connsiteX115" fmla="*/ 1747520 w 3505200"/>
              <a:gd name="connsiteY115" fmla="*/ 6990080 h 8260080"/>
              <a:gd name="connsiteX116" fmla="*/ 1666240 w 3505200"/>
              <a:gd name="connsiteY116" fmla="*/ 6939280 h 8260080"/>
              <a:gd name="connsiteX117" fmla="*/ 1737360 w 3505200"/>
              <a:gd name="connsiteY117" fmla="*/ 6888480 h 8260080"/>
              <a:gd name="connsiteX118" fmla="*/ 1645920 w 3505200"/>
              <a:gd name="connsiteY118" fmla="*/ 6776720 h 8260080"/>
              <a:gd name="connsiteX119" fmla="*/ 1808480 w 3505200"/>
              <a:gd name="connsiteY119" fmla="*/ 6715760 h 8260080"/>
              <a:gd name="connsiteX120" fmla="*/ 1727200 w 3505200"/>
              <a:gd name="connsiteY120" fmla="*/ 6614160 h 8260080"/>
              <a:gd name="connsiteX121" fmla="*/ 1686560 w 3505200"/>
              <a:gd name="connsiteY121" fmla="*/ 6421120 h 8260080"/>
              <a:gd name="connsiteX122" fmla="*/ 1889760 w 3505200"/>
              <a:gd name="connsiteY122" fmla="*/ 6299200 h 8260080"/>
              <a:gd name="connsiteX123" fmla="*/ 1940560 w 3505200"/>
              <a:gd name="connsiteY123" fmla="*/ 6228080 h 8260080"/>
              <a:gd name="connsiteX124" fmla="*/ 2032000 w 3505200"/>
              <a:gd name="connsiteY124" fmla="*/ 6136640 h 8260080"/>
              <a:gd name="connsiteX125" fmla="*/ 2011680 w 3505200"/>
              <a:gd name="connsiteY125" fmla="*/ 6014720 h 8260080"/>
              <a:gd name="connsiteX126" fmla="*/ 2123440 w 3505200"/>
              <a:gd name="connsiteY126" fmla="*/ 6065520 h 8260080"/>
              <a:gd name="connsiteX127" fmla="*/ 2092960 w 3505200"/>
              <a:gd name="connsiteY127" fmla="*/ 6167120 h 8260080"/>
              <a:gd name="connsiteX128" fmla="*/ 2286000 w 3505200"/>
              <a:gd name="connsiteY128" fmla="*/ 5933440 h 8260080"/>
              <a:gd name="connsiteX129" fmla="*/ 2255520 w 3505200"/>
              <a:gd name="connsiteY129" fmla="*/ 5801360 h 8260080"/>
              <a:gd name="connsiteX130" fmla="*/ 2448560 w 3505200"/>
              <a:gd name="connsiteY130" fmla="*/ 5598160 h 8260080"/>
              <a:gd name="connsiteX131" fmla="*/ 2357120 w 3505200"/>
              <a:gd name="connsiteY131" fmla="*/ 5435600 h 8260080"/>
              <a:gd name="connsiteX132" fmla="*/ 2225040 w 3505200"/>
              <a:gd name="connsiteY132" fmla="*/ 5415280 h 8260080"/>
              <a:gd name="connsiteX133" fmla="*/ 2103120 w 3505200"/>
              <a:gd name="connsiteY133" fmla="*/ 5222240 h 8260080"/>
              <a:gd name="connsiteX134" fmla="*/ 2092960 w 3505200"/>
              <a:gd name="connsiteY134" fmla="*/ 5110480 h 8260080"/>
              <a:gd name="connsiteX135" fmla="*/ 2052320 w 3505200"/>
              <a:gd name="connsiteY135" fmla="*/ 5151120 h 8260080"/>
              <a:gd name="connsiteX136" fmla="*/ 2042160 w 3505200"/>
              <a:gd name="connsiteY136" fmla="*/ 5242560 h 8260080"/>
              <a:gd name="connsiteX137" fmla="*/ 1981200 w 3505200"/>
              <a:gd name="connsiteY137" fmla="*/ 5191760 h 8260080"/>
              <a:gd name="connsiteX138" fmla="*/ 2011680 w 3505200"/>
              <a:gd name="connsiteY138" fmla="*/ 5120640 h 8260080"/>
              <a:gd name="connsiteX139" fmla="*/ 1930400 w 3505200"/>
              <a:gd name="connsiteY139" fmla="*/ 5100320 h 8260080"/>
              <a:gd name="connsiteX140" fmla="*/ 1859280 w 3505200"/>
              <a:gd name="connsiteY140" fmla="*/ 4917440 h 8260080"/>
              <a:gd name="connsiteX141" fmla="*/ 1828800 w 3505200"/>
              <a:gd name="connsiteY141" fmla="*/ 4622800 h 8260080"/>
              <a:gd name="connsiteX142" fmla="*/ 1910080 w 3505200"/>
              <a:gd name="connsiteY142" fmla="*/ 4419600 h 8260080"/>
              <a:gd name="connsiteX143" fmla="*/ 1920240 w 3505200"/>
              <a:gd name="connsiteY143" fmla="*/ 4277360 h 8260080"/>
              <a:gd name="connsiteX144" fmla="*/ 1971040 w 3505200"/>
              <a:gd name="connsiteY144" fmla="*/ 4124960 h 8260080"/>
              <a:gd name="connsiteX145" fmla="*/ 1879600 w 3505200"/>
              <a:gd name="connsiteY145" fmla="*/ 4023360 h 8260080"/>
              <a:gd name="connsiteX146" fmla="*/ 2072640 w 3505200"/>
              <a:gd name="connsiteY146" fmla="*/ 4003040 h 8260080"/>
              <a:gd name="connsiteX147" fmla="*/ 2092960 w 3505200"/>
              <a:gd name="connsiteY147" fmla="*/ 3850640 h 8260080"/>
              <a:gd name="connsiteX148" fmla="*/ 2001520 w 3505200"/>
              <a:gd name="connsiteY148" fmla="*/ 3728720 h 8260080"/>
              <a:gd name="connsiteX149" fmla="*/ 2164080 w 3505200"/>
              <a:gd name="connsiteY149" fmla="*/ 3769360 h 8260080"/>
              <a:gd name="connsiteX150" fmla="*/ 2265680 w 3505200"/>
              <a:gd name="connsiteY150" fmla="*/ 3566160 h 8260080"/>
              <a:gd name="connsiteX151" fmla="*/ 2336800 w 3505200"/>
              <a:gd name="connsiteY151" fmla="*/ 3515360 h 8260080"/>
              <a:gd name="connsiteX152" fmla="*/ 2367280 w 3505200"/>
              <a:gd name="connsiteY152" fmla="*/ 3362960 h 8260080"/>
              <a:gd name="connsiteX153" fmla="*/ 2489200 w 3505200"/>
              <a:gd name="connsiteY153" fmla="*/ 3423920 h 8260080"/>
              <a:gd name="connsiteX154" fmla="*/ 2560320 w 3505200"/>
              <a:gd name="connsiteY154" fmla="*/ 3302000 h 8260080"/>
              <a:gd name="connsiteX155" fmla="*/ 2743200 w 3505200"/>
              <a:gd name="connsiteY155" fmla="*/ 3149600 h 8260080"/>
              <a:gd name="connsiteX156" fmla="*/ 2844800 w 3505200"/>
              <a:gd name="connsiteY156" fmla="*/ 3088640 h 8260080"/>
              <a:gd name="connsiteX157" fmla="*/ 2804160 w 3505200"/>
              <a:gd name="connsiteY157" fmla="*/ 2966720 h 8260080"/>
              <a:gd name="connsiteX158" fmla="*/ 2976880 w 3505200"/>
              <a:gd name="connsiteY158" fmla="*/ 2763520 h 8260080"/>
              <a:gd name="connsiteX159" fmla="*/ 2794000 w 3505200"/>
              <a:gd name="connsiteY159" fmla="*/ 2621280 h 8260080"/>
              <a:gd name="connsiteX160" fmla="*/ 2946400 w 3505200"/>
              <a:gd name="connsiteY160" fmla="*/ 2377440 h 8260080"/>
              <a:gd name="connsiteX161" fmla="*/ 2854960 w 3505200"/>
              <a:gd name="connsiteY161" fmla="*/ 2255520 h 8260080"/>
              <a:gd name="connsiteX162" fmla="*/ 3027680 w 3505200"/>
              <a:gd name="connsiteY162" fmla="*/ 2113280 h 8260080"/>
              <a:gd name="connsiteX163" fmla="*/ 3119120 w 3505200"/>
              <a:gd name="connsiteY163" fmla="*/ 2021840 h 8260080"/>
              <a:gd name="connsiteX164" fmla="*/ 3027680 w 3505200"/>
              <a:gd name="connsiteY164" fmla="*/ 1960880 h 8260080"/>
              <a:gd name="connsiteX165" fmla="*/ 3139440 w 3505200"/>
              <a:gd name="connsiteY165" fmla="*/ 1869440 h 8260080"/>
              <a:gd name="connsiteX166" fmla="*/ 3281680 w 3505200"/>
              <a:gd name="connsiteY166" fmla="*/ 1950720 h 8260080"/>
              <a:gd name="connsiteX167" fmla="*/ 3403600 w 3505200"/>
              <a:gd name="connsiteY167" fmla="*/ 1889760 h 8260080"/>
              <a:gd name="connsiteX168" fmla="*/ 3505200 w 3505200"/>
              <a:gd name="connsiteY168" fmla="*/ 1910080 h 8260080"/>
              <a:gd name="connsiteX169" fmla="*/ 3444240 w 3505200"/>
              <a:gd name="connsiteY169" fmla="*/ 1656080 h 8260080"/>
              <a:gd name="connsiteX170" fmla="*/ 3373120 w 3505200"/>
              <a:gd name="connsiteY170" fmla="*/ 1635760 h 8260080"/>
              <a:gd name="connsiteX171" fmla="*/ 3352800 w 3505200"/>
              <a:gd name="connsiteY171" fmla="*/ 1503680 h 8260080"/>
              <a:gd name="connsiteX172" fmla="*/ 3444240 w 3505200"/>
              <a:gd name="connsiteY172" fmla="*/ 1412240 h 8260080"/>
              <a:gd name="connsiteX173" fmla="*/ 3393440 w 3505200"/>
              <a:gd name="connsiteY173" fmla="*/ 1280160 h 8260080"/>
              <a:gd name="connsiteX174" fmla="*/ 3434080 w 3505200"/>
              <a:gd name="connsiteY174" fmla="*/ 1249680 h 8260080"/>
              <a:gd name="connsiteX175" fmla="*/ 3281680 w 3505200"/>
              <a:gd name="connsiteY175" fmla="*/ 1066800 h 8260080"/>
              <a:gd name="connsiteX176" fmla="*/ 3383280 w 3505200"/>
              <a:gd name="connsiteY176" fmla="*/ 975360 h 8260080"/>
              <a:gd name="connsiteX177" fmla="*/ 3302000 w 3505200"/>
              <a:gd name="connsiteY177" fmla="*/ 924560 h 8260080"/>
              <a:gd name="connsiteX178" fmla="*/ 3190240 w 3505200"/>
              <a:gd name="connsiteY178" fmla="*/ 944880 h 8260080"/>
              <a:gd name="connsiteX179" fmla="*/ 3281680 w 3505200"/>
              <a:gd name="connsiteY179" fmla="*/ 792480 h 8260080"/>
              <a:gd name="connsiteX180" fmla="*/ 3210560 w 3505200"/>
              <a:gd name="connsiteY180" fmla="*/ 650240 h 8260080"/>
              <a:gd name="connsiteX181" fmla="*/ 3302000 w 3505200"/>
              <a:gd name="connsiteY181" fmla="*/ 568960 h 8260080"/>
              <a:gd name="connsiteX182" fmla="*/ 3190240 w 3505200"/>
              <a:gd name="connsiteY182" fmla="*/ 487680 h 8260080"/>
              <a:gd name="connsiteX183" fmla="*/ 3108960 w 3505200"/>
              <a:gd name="connsiteY183" fmla="*/ 528320 h 8260080"/>
              <a:gd name="connsiteX184" fmla="*/ 3108960 w 3505200"/>
              <a:gd name="connsiteY184" fmla="*/ 406400 h 8260080"/>
              <a:gd name="connsiteX185" fmla="*/ 2926080 w 3505200"/>
              <a:gd name="connsiteY185" fmla="*/ 314960 h 8260080"/>
              <a:gd name="connsiteX186" fmla="*/ 2834640 w 3505200"/>
              <a:gd name="connsiteY186" fmla="*/ 355600 h 8260080"/>
              <a:gd name="connsiteX187" fmla="*/ 2682240 w 3505200"/>
              <a:gd name="connsiteY187" fmla="*/ 111760 h 8260080"/>
              <a:gd name="connsiteX188" fmla="*/ 2590800 w 3505200"/>
              <a:gd name="connsiteY188" fmla="*/ 121920 h 8260080"/>
              <a:gd name="connsiteX189" fmla="*/ 2611120 w 3505200"/>
              <a:gd name="connsiteY189" fmla="*/ 0 h 8260080"/>
              <a:gd name="connsiteX190" fmla="*/ 2438400 w 3505200"/>
              <a:gd name="connsiteY19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190574 w 3505200"/>
              <a:gd name="connsiteY70" fmla="*/ 6693346 h 8260080"/>
              <a:gd name="connsiteX71" fmla="*/ 150019 w 3505200"/>
              <a:gd name="connsiteY71" fmla="*/ 6767195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0019 w 3505200"/>
              <a:gd name="connsiteY71" fmla="*/ 6767195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0019 w 3505200"/>
              <a:gd name="connsiteY71" fmla="*/ 6767195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0019 w 3505200"/>
              <a:gd name="connsiteY71" fmla="*/ 6767195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7163 w 3505200"/>
              <a:gd name="connsiteY71" fmla="*/ 6779101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26536 w 3505200"/>
              <a:gd name="connsiteY72" fmla="*/ 6973887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26536 w 3505200"/>
              <a:gd name="connsiteY72" fmla="*/ 6973887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56077 w 3505200"/>
              <a:gd name="connsiteY76" fmla="*/ 7270909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56077 w 3505200"/>
              <a:gd name="connsiteY76" fmla="*/ 7270909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56077 w 3505200"/>
              <a:gd name="connsiteY76" fmla="*/ 7270909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282892 w 3505200"/>
              <a:gd name="connsiteY75" fmla="*/ 7300436 h 8260080"/>
              <a:gd name="connsiteX76" fmla="*/ 356077 w 3505200"/>
              <a:gd name="connsiteY76" fmla="*/ 7270909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282892 w 3505200"/>
              <a:gd name="connsiteY75" fmla="*/ 7300436 h 8260080"/>
              <a:gd name="connsiteX76" fmla="*/ 334645 w 3505200"/>
              <a:gd name="connsiteY76" fmla="*/ 7194709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282892 w 3505200"/>
              <a:gd name="connsiteY75" fmla="*/ 7300436 h 8260080"/>
              <a:gd name="connsiteX76" fmla="*/ 334645 w 3505200"/>
              <a:gd name="connsiteY76" fmla="*/ 7194709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282892 w 3505200"/>
              <a:gd name="connsiteY75" fmla="*/ 7300436 h 8260080"/>
              <a:gd name="connsiteX76" fmla="*/ 334645 w 3505200"/>
              <a:gd name="connsiteY76" fmla="*/ 7194709 h 8260080"/>
              <a:gd name="connsiteX77" fmla="*/ 337026 w 3505200"/>
              <a:gd name="connsiteY77" fmla="*/ 7316154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282892 w 3505200"/>
              <a:gd name="connsiteY75" fmla="*/ 7300436 h 8260080"/>
              <a:gd name="connsiteX76" fmla="*/ 334645 w 3505200"/>
              <a:gd name="connsiteY76" fmla="*/ 7194709 h 8260080"/>
              <a:gd name="connsiteX77" fmla="*/ 354881 w 3505200"/>
              <a:gd name="connsiteY77" fmla="*/ 7257702 h 8260080"/>
              <a:gd name="connsiteX78" fmla="*/ 337026 w 3505200"/>
              <a:gd name="connsiteY78" fmla="*/ 7316154 h 8260080"/>
              <a:gd name="connsiteX79" fmla="*/ 370364 w 3505200"/>
              <a:gd name="connsiteY79" fmla="*/ 7360602 h 8260080"/>
              <a:gd name="connsiteX80" fmla="*/ 447040 w 3505200"/>
              <a:gd name="connsiteY80" fmla="*/ 7366000 h 8260080"/>
              <a:gd name="connsiteX81" fmla="*/ 447040 w 3505200"/>
              <a:gd name="connsiteY81" fmla="*/ 7477760 h 8260080"/>
              <a:gd name="connsiteX82" fmla="*/ 558800 w 3505200"/>
              <a:gd name="connsiteY82" fmla="*/ 7528560 h 8260080"/>
              <a:gd name="connsiteX83" fmla="*/ 508000 w 3505200"/>
              <a:gd name="connsiteY83" fmla="*/ 7630160 h 8260080"/>
              <a:gd name="connsiteX84" fmla="*/ 436880 w 3505200"/>
              <a:gd name="connsiteY84" fmla="*/ 7609840 h 8260080"/>
              <a:gd name="connsiteX85" fmla="*/ 447040 w 3505200"/>
              <a:gd name="connsiteY85" fmla="*/ 7691120 h 8260080"/>
              <a:gd name="connsiteX86" fmla="*/ 518160 w 3505200"/>
              <a:gd name="connsiteY86" fmla="*/ 7741920 h 8260080"/>
              <a:gd name="connsiteX87" fmla="*/ 457200 w 3505200"/>
              <a:gd name="connsiteY87" fmla="*/ 7792720 h 8260080"/>
              <a:gd name="connsiteX88" fmla="*/ 396240 w 3505200"/>
              <a:gd name="connsiteY88" fmla="*/ 7701280 h 8260080"/>
              <a:gd name="connsiteX89" fmla="*/ 396240 w 3505200"/>
              <a:gd name="connsiteY89" fmla="*/ 7701280 h 8260080"/>
              <a:gd name="connsiteX90" fmla="*/ 436880 w 3505200"/>
              <a:gd name="connsiteY90" fmla="*/ 7874000 h 8260080"/>
              <a:gd name="connsiteX91" fmla="*/ 436880 w 3505200"/>
              <a:gd name="connsiteY91" fmla="*/ 7924800 h 8260080"/>
              <a:gd name="connsiteX92" fmla="*/ 548640 w 3505200"/>
              <a:gd name="connsiteY92" fmla="*/ 7965440 h 8260080"/>
              <a:gd name="connsiteX93" fmla="*/ 508000 w 3505200"/>
              <a:gd name="connsiteY93" fmla="*/ 8016240 h 8260080"/>
              <a:gd name="connsiteX94" fmla="*/ 589280 w 3505200"/>
              <a:gd name="connsiteY94" fmla="*/ 8056880 h 8260080"/>
              <a:gd name="connsiteX95" fmla="*/ 497840 w 3505200"/>
              <a:gd name="connsiteY95" fmla="*/ 8117840 h 8260080"/>
              <a:gd name="connsiteX96" fmla="*/ 518160 w 3505200"/>
              <a:gd name="connsiteY96" fmla="*/ 8209280 h 8260080"/>
              <a:gd name="connsiteX97" fmla="*/ 640080 w 3505200"/>
              <a:gd name="connsiteY97" fmla="*/ 8260080 h 8260080"/>
              <a:gd name="connsiteX98" fmla="*/ 731520 w 3505200"/>
              <a:gd name="connsiteY98" fmla="*/ 8219440 h 8260080"/>
              <a:gd name="connsiteX99" fmla="*/ 853440 w 3505200"/>
              <a:gd name="connsiteY99" fmla="*/ 8209280 h 8260080"/>
              <a:gd name="connsiteX100" fmla="*/ 955040 w 3505200"/>
              <a:gd name="connsiteY100" fmla="*/ 8260080 h 8260080"/>
              <a:gd name="connsiteX101" fmla="*/ 965200 w 3505200"/>
              <a:gd name="connsiteY101" fmla="*/ 8107680 h 8260080"/>
              <a:gd name="connsiteX102" fmla="*/ 894080 w 3505200"/>
              <a:gd name="connsiteY102" fmla="*/ 8026400 h 8260080"/>
              <a:gd name="connsiteX103" fmla="*/ 1016000 w 3505200"/>
              <a:gd name="connsiteY103" fmla="*/ 7863840 h 8260080"/>
              <a:gd name="connsiteX104" fmla="*/ 1107440 w 3505200"/>
              <a:gd name="connsiteY104" fmla="*/ 7894320 h 8260080"/>
              <a:gd name="connsiteX105" fmla="*/ 1127760 w 3505200"/>
              <a:gd name="connsiteY105" fmla="*/ 7853680 h 8260080"/>
              <a:gd name="connsiteX106" fmla="*/ 1066800 w 3505200"/>
              <a:gd name="connsiteY106" fmla="*/ 7813040 h 8260080"/>
              <a:gd name="connsiteX107" fmla="*/ 1137920 w 3505200"/>
              <a:gd name="connsiteY107" fmla="*/ 7762240 h 8260080"/>
              <a:gd name="connsiteX108" fmla="*/ 1330960 w 3505200"/>
              <a:gd name="connsiteY108" fmla="*/ 7802880 h 8260080"/>
              <a:gd name="connsiteX109" fmla="*/ 1361440 w 3505200"/>
              <a:gd name="connsiteY109" fmla="*/ 7772400 h 8260080"/>
              <a:gd name="connsiteX110" fmla="*/ 1483360 w 3505200"/>
              <a:gd name="connsiteY110" fmla="*/ 7823200 h 8260080"/>
              <a:gd name="connsiteX111" fmla="*/ 1554480 w 3505200"/>
              <a:gd name="connsiteY111" fmla="*/ 7731760 h 8260080"/>
              <a:gd name="connsiteX112" fmla="*/ 1524000 w 3505200"/>
              <a:gd name="connsiteY112" fmla="*/ 7640320 h 8260080"/>
              <a:gd name="connsiteX113" fmla="*/ 1645920 w 3505200"/>
              <a:gd name="connsiteY113" fmla="*/ 7437120 h 8260080"/>
              <a:gd name="connsiteX114" fmla="*/ 1635760 w 3505200"/>
              <a:gd name="connsiteY114" fmla="*/ 7335520 h 8260080"/>
              <a:gd name="connsiteX115" fmla="*/ 1696720 w 3505200"/>
              <a:gd name="connsiteY115" fmla="*/ 7223760 h 8260080"/>
              <a:gd name="connsiteX116" fmla="*/ 1625600 w 3505200"/>
              <a:gd name="connsiteY116" fmla="*/ 7172960 h 8260080"/>
              <a:gd name="connsiteX117" fmla="*/ 1747520 w 3505200"/>
              <a:gd name="connsiteY117" fmla="*/ 6990080 h 8260080"/>
              <a:gd name="connsiteX118" fmla="*/ 1666240 w 3505200"/>
              <a:gd name="connsiteY118" fmla="*/ 6939280 h 8260080"/>
              <a:gd name="connsiteX119" fmla="*/ 1737360 w 3505200"/>
              <a:gd name="connsiteY119" fmla="*/ 6888480 h 8260080"/>
              <a:gd name="connsiteX120" fmla="*/ 1645920 w 3505200"/>
              <a:gd name="connsiteY120" fmla="*/ 6776720 h 8260080"/>
              <a:gd name="connsiteX121" fmla="*/ 1808480 w 3505200"/>
              <a:gd name="connsiteY121" fmla="*/ 6715760 h 8260080"/>
              <a:gd name="connsiteX122" fmla="*/ 1727200 w 3505200"/>
              <a:gd name="connsiteY122" fmla="*/ 6614160 h 8260080"/>
              <a:gd name="connsiteX123" fmla="*/ 1686560 w 3505200"/>
              <a:gd name="connsiteY123" fmla="*/ 6421120 h 8260080"/>
              <a:gd name="connsiteX124" fmla="*/ 1889760 w 3505200"/>
              <a:gd name="connsiteY124" fmla="*/ 6299200 h 8260080"/>
              <a:gd name="connsiteX125" fmla="*/ 1940560 w 3505200"/>
              <a:gd name="connsiteY125" fmla="*/ 6228080 h 8260080"/>
              <a:gd name="connsiteX126" fmla="*/ 2032000 w 3505200"/>
              <a:gd name="connsiteY126" fmla="*/ 6136640 h 8260080"/>
              <a:gd name="connsiteX127" fmla="*/ 2011680 w 3505200"/>
              <a:gd name="connsiteY127" fmla="*/ 6014720 h 8260080"/>
              <a:gd name="connsiteX128" fmla="*/ 2123440 w 3505200"/>
              <a:gd name="connsiteY128" fmla="*/ 6065520 h 8260080"/>
              <a:gd name="connsiteX129" fmla="*/ 2092960 w 3505200"/>
              <a:gd name="connsiteY129" fmla="*/ 6167120 h 8260080"/>
              <a:gd name="connsiteX130" fmla="*/ 2286000 w 3505200"/>
              <a:gd name="connsiteY130" fmla="*/ 5933440 h 8260080"/>
              <a:gd name="connsiteX131" fmla="*/ 2255520 w 3505200"/>
              <a:gd name="connsiteY131" fmla="*/ 5801360 h 8260080"/>
              <a:gd name="connsiteX132" fmla="*/ 2448560 w 3505200"/>
              <a:gd name="connsiteY132" fmla="*/ 5598160 h 8260080"/>
              <a:gd name="connsiteX133" fmla="*/ 2357120 w 3505200"/>
              <a:gd name="connsiteY133" fmla="*/ 5435600 h 8260080"/>
              <a:gd name="connsiteX134" fmla="*/ 2225040 w 3505200"/>
              <a:gd name="connsiteY134" fmla="*/ 5415280 h 8260080"/>
              <a:gd name="connsiteX135" fmla="*/ 2103120 w 3505200"/>
              <a:gd name="connsiteY135" fmla="*/ 5222240 h 8260080"/>
              <a:gd name="connsiteX136" fmla="*/ 2092960 w 3505200"/>
              <a:gd name="connsiteY136" fmla="*/ 5110480 h 8260080"/>
              <a:gd name="connsiteX137" fmla="*/ 2052320 w 3505200"/>
              <a:gd name="connsiteY137" fmla="*/ 5151120 h 8260080"/>
              <a:gd name="connsiteX138" fmla="*/ 2042160 w 3505200"/>
              <a:gd name="connsiteY138" fmla="*/ 5242560 h 8260080"/>
              <a:gd name="connsiteX139" fmla="*/ 1981200 w 3505200"/>
              <a:gd name="connsiteY139" fmla="*/ 5191760 h 8260080"/>
              <a:gd name="connsiteX140" fmla="*/ 2011680 w 3505200"/>
              <a:gd name="connsiteY140" fmla="*/ 5120640 h 8260080"/>
              <a:gd name="connsiteX141" fmla="*/ 1930400 w 3505200"/>
              <a:gd name="connsiteY141" fmla="*/ 5100320 h 8260080"/>
              <a:gd name="connsiteX142" fmla="*/ 1859280 w 3505200"/>
              <a:gd name="connsiteY142" fmla="*/ 4917440 h 8260080"/>
              <a:gd name="connsiteX143" fmla="*/ 1828800 w 3505200"/>
              <a:gd name="connsiteY143" fmla="*/ 4622800 h 8260080"/>
              <a:gd name="connsiteX144" fmla="*/ 1910080 w 3505200"/>
              <a:gd name="connsiteY144" fmla="*/ 4419600 h 8260080"/>
              <a:gd name="connsiteX145" fmla="*/ 1920240 w 3505200"/>
              <a:gd name="connsiteY145" fmla="*/ 4277360 h 8260080"/>
              <a:gd name="connsiteX146" fmla="*/ 1971040 w 3505200"/>
              <a:gd name="connsiteY146" fmla="*/ 4124960 h 8260080"/>
              <a:gd name="connsiteX147" fmla="*/ 1879600 w 3505200"/>
              <a:gd name="connsiteY147" fmla="*/ 4023360 h 8260080"/>
              <a:gd name="connsiteX148" fmla="*/ 2072640 w 3505200"/>
              <a:gd name="connsiteY148" fmla="*/ 4003040 h 8260080"/>
              <a:gd name="connsiteX149" fmla="*/ 2092960 w 3505200"/>
              <a:gd name="connsiteY149" fmla="*/ 3850640 h 8260080"/>
              <a:gd name="connsiteX150" fmla="*/ 2001520 w 3505200"/>
              <a:gd name="connsiteY150" fmla="*/ 3728720 h 8260080"/>
              <a:gd name="connsiteX151" fmla="*/ 2164080 w 3505200"/>
              <a:gd name="connsiteY151" fmla="*/ 3769360 h 8260080"/>
              <a:gd name="connsiteX152" fmla="*/ 2265680 w 3505200"/>
              <a:gd name="connsiteY152" fmla="*/ 3566160 h 8260080"/>
              <a:gd name="connsiteX153" fmla="*/ 2336800 w 3505200"/>
              <a:gd name="connsiteY153" fmla="*/ 3515360 h 8260080"/>
              <a:gd name="connsiteX154" fmla="*/ 2367280 w 3505200"/>
              <a:gd name="connsiteY154" fmla="*/ 3362960 h 8260080"/>
              <a:gd name="connsiteX155" fmla="*/ 2489200 w 3505200"/>
              <a:gd name="connsiteY155" fmla="*/ 3423920 h 8260080"/>
              <a:gd name="connsiteX156" fmla="*/ 2560320 w 3505200"/>
              <a:gd name="connsiteY156" fmla="*/ 3302000 h 8260080"/>
              <a:gd name="connsiteX157" fmla="*/ 2743200 w 3505200"/>
              <a:gd name="connsiteY157" fmla="*/ 3149600 h 8260080"/>
              <a:gd name="connsiteX158" fmla="*/ 2844800 w 3505200"/>
              <a:gd name="connsiteY158" fmla="*/ 3088640 h 8260080"/>
              <a:gd name="connsiteX159" fmla="*/ 2804160 w 3505200"/>
              <a:gd name="connsiteY159" fmla="*/ 2966720 h 8260080"/>
              <a:gd name="connsiteX160" fmla="*/ 2976880 w 3505200"/>
              <a:gd name="connsiteY160" fmla="*/ 2763520 h 8260080"/>
              <a:gd name="connsiteX161" fmla="*/ 2794000 w 3505200"/>
              <a:gd name="connsiteY161" fmla="*/ 2621280 h 8260080"/>
              <a:gd name="connsiteX162" fmla="*/ 2946400 w 3505200"/>
              <a:gd name="connsiteY162" fmla="*/ 2377440 h 8260080"/>
              <a:gd name="connsiteX163" fmla="*/ 2854960 w 3505200"/>
              <a:gd name="connsiteY163" fmla="*/ 2255520 h 8260080"/>
              <a:gd name="connsiteX164" fmla="*/ 3027680 w 3505200"/>
              <a:gd name="connsiteY164" fmla="*/ 2113280 h 8260080"/>
              <a:gd name="connsiteX165" fmla="*/ 3119120 w 3505200"/>
              <a:gd name="connsiteY165" fmla="*/ 2021840 h 8260080"/>
              <a:gd name="connsiteX166" fmla="*/ 3027680 w 3505200"/>
              <a:gd name="connsiteY166" fmla="*/ 1960880 h 8260080"/>
              <a:gd name="connsiteX167" fmla="*/ 3139440 w 3505200"/>
              <a:gd name="connsiteY167" fmla="*/ 1869440 h 8260080"/>
              <a:gd name="connsiteX168" fmla="*/ 3281680 w 3505200"/>
              <a:gd name="connsiteY168" fmla="*/ 1950720 h 8260080"/>
              <a:gd name="connsiteX169" fmla="*/ 3403600 w 3505200"/>
              <a:gd name="connsiteY169" fmla="*/ 1889760 h 8260080"/>
              <a:gd name="connsiteX170" fmla="*/ 3505200 w 3505200"/>
              <a:gd name="connsiteY170" fmla="*/ 1910080 h 8260080"/>
              <a:gd name="connsiteX171" fmla="*/ 3444240 w 3505200"/>
              <a:gd name="connsiteY171" fmla="*/ 1656080 h 8260080"/>
              <a:gd name="connsiteX172" fmla="*/ 3373120 w 3505200"/>
              <a:gd name="connsiteY172" fmla="*/ 1635760 h 8260080"/>
              <a:gd name="connsiteX173" fmla="*/ 3352800 w 3505200"/>
              <a:gd name="connsiteY173" fmla="*/ 1503680 h 8260080"/>
              <a:gd name="connsiteX174" fmla="*/ 3444240 w 3505200"/>
              <a:gd name="connsiteY174" fmla="*/ 1412240 h 8260080"/>
              <a:gd name="connsiteX175" fmla="*/ 3393440 w 3505200"/>
              <a:gd name="connsiteY175" fmla="*/ 1280160 h 8260080"/>
              <a:gd name="connsiteX176" fmla="*/ 3434080 w 3505200"/>
              <a:gd name="connsiteY176" fmla="*/ 1249680 h 8260080"/>
              <a:gd name="connsiteX177" fmla="*/ 3281680 w 3505200"/>
              <a:gd name="connsiteY177" fmla="*/ 1066800 h 8260080"/>
              <a:gd name="connsiteX178" fmla="*/ 3383280 w 3505200"/>
              <a:gd name="connsiteY178" fmla="*/ 975360 h 8260080"/>
              <a:gd name="connsiteX179" fmla="*/ 3302000 w 3505200"/>
              <a:gd name="connsiteY179" fmla="*/ 924560 h 8260080"/>
              <a:gd name="connsiteX180" fmla="*/ 3190240 w 3505200"/>
              <a:gd name="connsiteY180" fmla="*/ 944880 h 8260080"/>
              <a:gd name="connsiteX181" fmla="*/ 3281680 w 3505200"/>
              <a:gd name="connsiteY181" fmla="*/ 792480 h 8260080"/>
              <a:gd name="connsiteX182" fmla="*/ 3210560 w 3505200"/>
              <a:gd name="connsiteY182" fmla="*/ 650240 h 8260080"/>
              <a:gd name="connsiteX183" fmla="*/ 3302000 w 3505200"/>
              <a:gd name="connsiteY183" fmla="*/ 568960 h 8260080"/>
              <a:gd name="connsiteX184" fmla="*/ 3190240 w 3505200"/>
              <a:gd name="connsiteY184" fmla="*/ 487680 h 8260080"/>
              <a:gd name="connsiteX185" fmla="*/ 3108960 w 3505200"/>
              <a:gd name="connsiteY185" fmla="*/ 528320 h 8260080"/>
              <a:gd name="connsiteX186" fmla="*/ 3108960 w 3505200"/>
              <a:gd name="connsiteY186" fmla="*/ 406400 h 8260080"/>
              <a:gd name="connsiteX187" fmla="*/ 2926080 w 3505200"/>
              <a:gd name="connsiteY187" fmla="*/ 314960 h 8260080"/>
              <a:gd name="connsiteX188" fmla="*/ 2834640 w 3505200"/>
              <a:gd name="connsiteY188" fmla="*/ 355600 h 8260080"/>
              <a:gd name="connsiteX189" fmla="*/ 2682240 w 3505200"/>
              <a:gd name="connsiteY189" fmla="*/ 111760 h 8260080"/>
              <a:gd name="connsiteX190" fmla="*/ 2590800 w 3505200"/>
              <a:gd name="connsiteY190" fmla="*/ 121920 h 8260080"/>
              <a:gd name="connsiteX191" fmla="*/ 2611120 w 3505200"/>
              <a:gd name="connsiteY191" fmla="*/ 0 h 8260080"/>
              <a:gd name="connsiteX192" fmla="*/ 2438400 w 3505200"/>
              <a:gd name="connsiteY19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9624 w 3505200"/>
              <a:gd name="connsiteY70" fmla="*/ 6602858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9624 w 3505200"/>
              <a:gd name="connsiteY70" fmla="*/ 6602858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38112 w 3505200"/>
              <a:gd name="connsiteY71" fmla="*/ 6767194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38112 w 3505200"/>
              <a:gd name="connsiteY71" fmla="*/ 6767194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38112 w 3505200"/>
              <a:gd name="connsiteY72" fmla="*/ 6767194 h 8260080"/>
              <a:gd name="connsiteX73" fmla="*/ 233679 w 3505200"/>
              <a:gd name="connsiteY73" fmla="*/ 6971505 h 8260080"/>
              <a:gd name="connsiteX74" fmla="*/ 271463 w 3505200"/>
              <a:gd name="connsiteY74" fmla="*/ 7030085 h 8260080"/>
              <a:gd name="connsiteX75" fmla="*/ 280829 w 3505200"/>
              <a:gd name="connsiteY75" fmla="*/ 7148354 h 8260080"/>
              <a:gd name="connsiteX76" fmla="*/ 242962 w 3505200"/>
              <a:gd name="connsiteY76" fmla="*/ 7226746 h 8260080"/>
              <a:gd name="connsiteX77" fmla="*/ 282892 w 3505200"/>
              <a:gd name="connsiteY77" fmla="*/ 7300436 h 8260080"/>
              <a:gd name="connsiteX78" fmla="*/ 334645 w 3505200"/>
              <a:gd name="connsiteY78" fmla="*/ 7194709 h 8260080"/>
              <a:gd name="connsiteX79" fmla="*/ 354881 w 3505200"/>
              <a:gd name="connsiteY79" fmla="*/ 7257702 h 8260080"/>
              <a:gd name="connsiteX80" fmla="*/ 337026 w 3505200"/>
              <a:gd name="connsiteY80" fmla="*/ 7316154 h 8260080"/>
              <a:gd name="connsiteX81" fmla="*/ 370364 w 3505200"/>
              <a:gd name="connsiteY81" fmla="*/ 7360602 h 8260080"/>
              <a:gd name="connsiteX82" fmla="*/ 447040 w 3505200"/>
              <a:gd name="connsiteY82" fmla="*/ 7366000 h 8260080"/>
              <a:gd name="connsiteX83" fmla="*/ 447040 w 3505200"/>
              <a:gd name="connsiteY83" fmla="*/ 7477760 h 8260080"/>
              <a:gd name="connsiteX84" fmla="*/ 558800 w 3505200"/>
              <a:gd name="connsiteY84" fmla="*/ 7528560 h 8260080"/>
              <a:gd name="connsiteX85" fmla="*/ 508000 w 3505200"/>
              <a:gd name="connsiteY85" fmla="*/ 7630160 h 8260080"/>
              <a:gd name="connsiteX86" fmla="*/ 436880 w 3505200"/>
              <a:gd name="connsiteY86" fmla="*/ 7609840 h 8260080"/>
              <a:gd name="connsiteX87" fmla="*/ 447040 w 3505200"/>
              <a:gd name="connsiteY87" fmla="*/ 7691120 h 8260080"/>
              <a:gd name="connsiteX88" fmla="*/ 518160 w 3505200"/>
              <a:gd name="connsiteY88" fmla="*/ 7741920 h 8260080"/>
              <a:gd name="connsiteX89" fmla="*/ 457200 w 3505200"/>
              <a:gd name="connsiteY89" fmla="*/ 7792720 h 8260080"/>
              <a:gd name="connsiteX90" fmla="*/ 396240 w 3505200"/>
              <a:gd name="connsiteY90" fmla="*/ 7701280 h 8260080"/>
              <a:gd name="connsiteX91" fmla="*/ 396240 w 3505200"/>
              <a:gd name="connsiteY91" fmla="*/ 7701280 h 8260080"/>
              <a:gd name="connsiteX92" fmla="*/ 436880 w 3505200"/>
              <a:gd name="connsiteY92" fmla="*/ 7874000 h 8260080"/>
              <a:gd name="connsiteX93" fmla="*/ 436880 w 3505200"/>
              <a:gd name="connsiteY93" fmla="*/ 7924800 h 8260080"/>
              <a:gd name="connsiteX94" fmla="*/ 548640 w 3505200"/>
              <a:gd name="connsiteY94" fmla="*/ 7965440 h 8260080"/>
              <a:gd name="connsiteX95" fmla="*/ 508000 w 3505200"/>
              <a:gd name="connsiteY95" fmla="*/ 8016240 h 8260080"/>
              <a:gd name="connsiteX96" fmla="*/ 589280 w 3505200"/>
              <a:gd name="connsiteY96" fmla="*/ 8056880 h 8260080"/>
              <a:gd name="connsiteX97" fmla="*/ 497840 w 3505200"/>
              <a:gd name="connsiteY97" fmla="*/ 8117840 h 8260080"/>
              <a:gd name="connsiteX98" fmla="*/ 518160 w 3505200"/>
              <a:gd name="connsiteY98" fmla="*/ 8209280 h 8260080"/>
              <a:gd name="connsiteX99" fmla="*/ 640080 w 3505200"/>
              <a:gd name="connsiteY99" fmla="*/ 8260080 h 8260080"/>
              <a:gd name="connsiteX100" fmla="*/ 731520 w 3505200"/>
              <a:gd name="connsiteY100" fmla="*/ 8219440 h 8260080"/>
              <a:gd name="connsiteX101" fmla="*/ 853440 w 3505200"/>
              <a:gd name="connsiteY101" fmla="*/ 8209280 h 8260080"/>
              <a:gd name="connsiteX102" fmla="*/ 955040 w 3505200"/>
              <a:gd name="connsiteY102" fmla="*/ 8260080 h 8260080"/>
              <a:gd name="connsiteX103" fmla="*/ 965200 w 3505200"/>
              <a:gd name="connsiteY103" fmla="*/ 8107680 h 8260080"/>
              <a:gd name="connsiteX104" fmla="*/ 894080 w 3505200"/>
              <a:gd name="connsiteY104" fmla="*/ 8026400 h 8260080"/>
              <a:gd name="connsiteX105" fmla="*/ 1016000 w 3505200"/>
              <a:gd name="connsiteY105" fmla="*/ 7863840 h 8260080"/>
              <a:gd name="connsiteX106" fmla="*/ 1107440 w 3505200"/>
              <a:gd name="connsiteY106" fmla="*/ 7894320 h 8260080"/>
              <a:gd name="connsiteX107" fmla="*/ 1127760 w 3505200"/>
              <a:gd name="connsiteY107" fmla="*/ 7853680 h 8260080"/>
              <a:gd name="connsiteX108" fmla="*/ 1066800 w 3505200"/>
              <a:gd name="connsiteY108" fmla="*/ 7813040 h 8260080"/>
              <a:gd name="connsiteX109" fmla="*/ 1137920 w 3505200"/>
              <a:gd name="connsiteY109" fmla="*/ 7762240 h 8260080"/>
              <a:gd name="connsiteX110" fmla="*/ 1330960 w 3505200"/>
              <a:gd name="connsiteY110" fmla="*/ 7802880 h 8260080"/>
              <a:gd name="connsiteX111" fmla="*/ 1361440 w 3505200"/>
              <a:gd name="connsiteY111" fmla="*/ 7772400 h 8260080"/>
              <a:gd name="connsiteX112" fmla="*/ 1483360 w 3505200"/>
              <a:gd name="connsiteY112" fmla="*/ 7823200 h 8260080"/>
              <a:gd name="connsiteX113" fmla="*/ 1554480 w 3505200"/>
              <a:gd name="connsiteY113" fmla="*/ 7731760 h 8260080"/>
              <a:gd name="connsiteX114" fmla="*/ 1524000 w 3505200"/>
              <a:gd name="connsiteY114" fmla="*/ 7640320 h 8260080"/>
              <a:gd name="connsiteX115" fmla="*/ 1645920 w 3505200"/>
              <a:gd name="connsiteY115" fmla="*/ 7437120 h 8260080"/>
              <a:gd name="connsiteX116" fmla="*/ 1635760 w 3505200"/>
              <a:gd name="connsiteY116" fmla="*/ 7335520 h 8260080"/>
              <a:gd name="connsiteX117" fmla="*/ 1696720 w 3505200"/>
              <a:gd name="connsiteY117" fmla="*/ 7223760 h 8260080"/>
              <a:gd name="connsiteX118" fmla="*/ 1625600 w 3505200"/>
              <a:gd name="connsiteY118" fmla="*/ 7172960 h 8260080"/>
              <a:gd name="connsiteX119" fmla="*/ 1747520 w 3505200"/>
              <a:gd name="connsiteY119" fmla="*/ 6990080 h 8260080"/>
              <a:gd name="connsiteX120" fmla="*/ 1666240 w 3505200"/>
              <a:gd name="connsiteY120" fmla="*/ 6939280 h 8260080"/>
              <a:gd name="connsiteX121" fmla="*/ 1737360 w 3505200"/>
              <a:gd name="connsiteY121" fmla="*/ 6888480 h 8260080"/>
              <a:gd name="connsiteX122" fmla="*/ 1645920 w 3505200"/>
              <a:gd name="connsiteY122" fmla="*/ 6776720 h 8260080"/>
              <a:gd name="connsiteX123" fmla="*/ 1808480 w 3505200"/>
              <a:gd name="connsiteY123" fmla="*/ 6715760 h 8260080"/>
              <a:gd name="connsiteX124" fmla="*/ 1727200 w 3505200"/>
              <a:gd name="connsiteY124" fmla="*/ 6614160 h 8260080"/>
              <a:gd name="connsiteX125" fmla="*/ 1686560 w 3505200"/>
              <a:gd name="connsiteY125" fmla="*/ 6421120 h 8260080"/>
              <a:gd name="connsiteX126" fmla="*/ 1889760 w 3505200"/>
              <a:gd name="connsiteY126" fmla="*/ 6299200 h 8260080"/>
              <a:gd name="connsiteX127" fmla="*/ 1940560 w 3505200"/>
              <a:gd name="connsiteY127" fmla="*/ 6228080 h 8260080"/>
              <a:gd name="connsiteX128" fmla="*/ 2032000 w 3505200"/>
              <a:gd name="connsiteY128" fmla="*/ 6136640 h 8260080"/>
              <a:gd name="connsiteX129" fmla="*/ 2011680 w 3505200"/>
              <a:gd name="connsiteY129" fmla="*/ 6014720 h 8260080"/>
              <a:gd name="connsiteX130" fmla="*/ 2123440 w 3505200"/>
              <a:gd name="connsiteY130" fmla="*/ 6065520 h 8260080"/>
              <a:gd name="connsiteX131" fmla="*/ 2092960 w 3505200"/>
              <a:gd name="connsiteY131" fmla="*/ 6167120 h 8260080"/>
              <a:gd name="connsiteX132" fmla="*/ 2286000 w 3505200"/>
              <a:gd name="connsiteY132" fmla="*/ 5933440 h 8260080"/>
              <a:gd name="connsiteX133" fmla="*/ 2255520 w 3505200"/>
              <a:gd name="connsiteY133" fmla="*/ 5801360 h 8260080"/>
              <a:gd name="connsiteX134" fmla="*/ 2448560 w 3505200"/>
              <a:gd name="connsiteY134" fmla="*/ 5598160 h 8260080"/>
              <a:gd name="connsiteX135" fmla="*/ 2357120 w 3505200"/>
              <a:gd name="connsiteY135" fmla="*/ 5435600 h 8260080"/>
              <a:gd name="connsiteX136" fmla="*/ 2225040 w 3505200"/>
              <a:gd name="connsiteY136" fmla="*/ 5415280 h 8260080"/>
              <a:gd name="connsiteX137" fmla="*/ 2103120 w 3505200"/>
              <a:gd name="connsiteY137" fmla="*/ 5222240 h 8260080"/>
              <a:gd name="connsiteX138" fmla="*/ 2092960 w 3505200"/>
              <a:gd name="connsiteY138" fmla="*/ 5110480 h 8260080"/>
              <a:gd name="connsiteX139" fmla="*/ 2052320 w 3505200"/>
              <a:gd name="connsiteY139" fmla="*/ 5151120 h 8260080"/>
              <a:gd name="connsiteX140" fmla="*/ 2042160 w 3505200"/>
              <a:gd name="connsiteY140" fmla="*/ 5242560 h 8260080"/>
              <a:gd name="connsiteX141" fmla="*/ 1981200 w 3505200"/>
              <a:gd name="connsiteY141" fmla="*/ 5191760 h 8260080"/>
              <a:gd name="connsiteX142" fmla="*/ 2011680 w 3505200"/>
              <a:gd name="connsiteY142" fmla="*/ 5120640 h 8260080"/>
              <a:gd name="connsiteX143" fmla="*/ 1930400 w 3505200"/>
              <a:gd name="connsiteY143" fmla="*/ 5100320 h 8260080"/>
              <a:gd name="connsiteX144" fmla="*/ 1859280 w 3505200"/>
              <a:gd name="connsiteY144" fmla="*/ 4917440 h 8260080"/>
              <a:gd name="connsiteX145" fmla="*/ 1828800 w 3505200"/>
              <a:gd name="connsiteY145" fmla="*/ 4622800 h 8260080"/>
              <a:gd name="connsiteX146" fmla="*/ 1910080 w 3505200"/>
              <a:gd name="connsiteY146" fmla="*/ 4419600 h 8260080"/>
              <a:gd name="connsiteX147" fmla="*/ 1920240 w 3505200"/>
              <a:gd name="connsiteY147" fmla="*/ 4277360 h 8260080"/>
              <a:gd name="connsiteX148" fmla="*/ 1971040 w 3505200"/>
              <a:gd name="connsiteY148" fmla="*/ 4124960 h 8260080"/>
              <a:gd name="connsiteX149" fmla="*/ 1879600 w 3505200"/>
              <a:gd name="connsiteY149" fmla="*/ 4023360 h 8260080"/>
              <a:gd name="connsiteX150" fmla="*/ 2072640 w 3505200"/>
              <a:gd name="connsiteY150" fmla="*/ 4003040 h 8260080"/>
              <a:gd name="connsiteX151" fmla="*/ 2092960 w 3505200"/>
              <a:gd name="connsiteY151" fmla="*/ 3850640 h 8260080"/>
              <a:gd name="connsiteX152" fmla="*/ 2001520 w 3505200"/>
              <a:gd name="connsiteY152" fmla="*/ 3728720 h 8260080"/>
              <a:gd name="connsiteX153" fmla="*/ 2164080 w 3505200"/>
              <a:gd name="connsiteY153" fmla="*/ 3769360 h 8260080"/>
              <a:gd name="connsiteX154" fmla="*/ 2265680 w 3505200"/>
              <a:gd name="connsiteY154" fmla="*/ 3566160 h 8260080"/>
              <a:gd name="connsiteX155" fmla="*/ 2336800 w 3505200"/>
              <a:gd name="connsiteY155" fmla="*/ 3515360 h 8260080"/>
              <a:gd name="connsiteX156" fmla="*/ 2367280 w 3505200"/>
              <a:gd name="connsiteY156" fmla="*/ 3362960 h 8260080"/>
              <a:gd name="connsiteX157" fmla="*/ 2489200 w 3505200"/>
              <a:gd name="connsiteY157" fmla="*/ 3423920 h 8260080"/>
              <a:gd name="connsiteX158" fmla="*/ 2560320 w 3505200"/>
              <a:gd name="connsiteY158" fmla="*/ 3302000 h 8260080"/>
              <a:gd name="connsiteX159" fmla="*/ 2743200 w 3505200"/>
              <a:gd name="connsiteY159" fmla="*/ 3149600 h 8260080"/>
              <a:gd name="connsiteX160" fmla="*/ 2844800 w 3505200"/>
              <a:gd name="connsiteY160" fmla="*/ 3088640 h 8260080"/>
              <a:gd name="connsiteX161" fmla="*/ 2804160 w 3505200"/>
              <a:gd name="connsiteY161" fmla="*/ 2966720 h 8260080"/>
              <a:gd name="connsiteX162" fmla="*/ 2976880 w 3505200"/>
              <a:gd name="connsiteY162" fmla="*/ 2763520 h 8260080"/>
              <a:gd name="connsiteX163" fmla="*/ 2794000 w 3505200"/>
              <a:gd name="connsiteY163" fmla="*/ 2621280 h 8260080"/>
              <a:gd name="connsiteX164" fmla="*/ 2946400 w 3505200"/>
              <a:gd name="connsiteY164" fmla="*/ 2377440 h 8260080"/>
              <a:gd name="connsiteX165" fmla="*/ 2854960 w 3505200"/>
              <a:gd name="connsiteY165" fmla="*/ 2255520 h 8260080"/>
              <a:gd name="connsiteX166" fmla="*/ 3027680 w 3505200"/>
              <a:gd name="connsiteY166" fmla="*/ 2113280 h 8260080"/>
              <a:gd name="connsiteX167" fmla="*/ 3119120 w 3505200"/>
              <a:gd name="connsiteY167" fmla="*/ 2021840 h 8260080"/>
              <a:gd name="connsiteX168" fmla="*/ 3027680 w 3505200"/>
              <a:gd name="connsiteY168" fmla="*/ 1960880 h 8260080"/>
              <a:gd name="connsiteX169" fmla="*/ 3139440 w 3505200"/>
              <a:gd name="connsiteY169" fmla="*/ 1869440 h 8260080"/>
              <a:gd name="connsiteX170" fmla="*/ 3281680 w 3505200"/>
              <a:gd name="connsiteY170" fmla="*/ 1950720 h 8260080"/>
              <a:gd name="connsiteX171" fmla="*/ 3403600 w 3505200"/>
              <a:gd name="connsiteY171" fmla="*/ 1889760 h 8260080"/>
              <a:gd name="connsiteX172" fmla="*/ 3505200 w 3505200"/>
              <a:gd name="connsiteY172" fmla="*/ 1910080 h 8260080"/>
              <a:gd name="connsiteX173" fmla="*/ 3444240 w 3505200"/>
              <a:gd name="connsiteY173" fmla="*/ 1656080 h 8260080"/>
              <a:gd name="connsiteX174" fmla="*/ 3373120 w 3505200"/>
              <a:gd name="connsiteY174" fmla="*/ 1635760 h 8260080"/>
              <a:gd name="connsiteX175" fmla="*/ 3352800 w 3505200"/>
              <a:gd name="connsiteY175" fmla="*/ 1503680 h 8260080"/>
              <a:gd name="connsiteX176" fmla="*/ 3444240 w 3505200"/>
              <a:gd name="connsiteY176" fmla="*/ 1412240 h 8260080"/>
              <a:gd name="connsiteX177" fmla="*/ 3393440 w 3505200"/>
              <a:gd name="connsiteY177" fmla="*/ 1280160 h 8260080"/>
              <a:gd name="connsiteX178" fmla="*/ 3434080 w 3505200"/>
              <a:gd name="connsiteY178" fmla="*/ 1249680 h 8260080"/>
              <a:gd name="connsiteX179" fmla="*/ 3281680 w 3505200"/>
              <a:gd name="connsiteY179" fmla="*/ 1066800 h 8260080"/>
              <a:gd name="connsiteX180" fmla="*/ 3383280 w 3505200"/>
              <a:gd name="connsiteY180" fmla="*/ 975360 h 8260080"/>
              <a:gd name="connsiteX181" fmla="*/ 3302000 w 3505200"/>
              <a:gd name="connsiteY181" fmla="*/ 924560 h 8260080"/>
              <a:gd name="connsiteX182" fmla="*/ 3190240 w 3505200"/>
              <a:gd name="connsiteY182" fmla="*/ 944880 h 8260080"/>
              <a:gd name="connsiteX183" fmla="*/ 3281680 w 3505200"/>
              <a:gd name="connsiteY183" fmla="*/ 792480 h 8260080"/>
              <a:gd name="connsiteX184" fmla="*/ 3210560 w 3505200"/>
              <a:gd name="connsiteY184" fmla="*/ 650240 h 8260080"/>
              <a:gd name="connsiteX185" fmla="*/ 3302000 w 3505200"/>
              <a:gd name="connsiteY185" fmla="*/ 568960 h 8260080"/>
              <a:gd name="connsiteX186" fmla="*/ 3190240 w 3505200"/>
              <a:gd name="connsiteY186" fmla="*/ 487680 h 8260080"/>
              <a:gd name="connsiteX187" fmla="*/ 3108960 w 3505200"/>
              <a:gd name="connsiteY187" fmla="*/ 528320 h 8260080"/>
              <a:gd name="connsiteX188" fmla="*/ 3108960 w 3505200"/>
              <a:gd name="connsiteY188" fmla="*/ 406400 h 8260080"/>
              <a:gd name="connsiteX189" fmla="*/ 2926080 w 3505200"/>
              <a:gd name="connsiteY189" fmla="*/ 314960 h 8260080"/>
              <a:gd name="connsiteX190" fmla="*/ 2834640 w 3505200"/>
              <a:gd name="connsiteY190" fmla="*/ 355600 h 8260080"/>
              <a:gd name="connsiteX191" fmla="*/ 2682240 w 3505200"/>
              <a:gd name="connsiteY191" fmla="*/ 111760 h 8260080"/>
              <a:gd name="connsiteX192" fmla="*/ 2590800 w 3505200"/>
              <a:gd name="connsiteY192" fmla="*/ 121920 h 8260080"/>
              <a:gd name="connsiteX193" fmla="*/ 2611120 w 3505200"/>
              <a:gd name="connsiteY193" fmla="*/ 0 h 8260080"/>
              <a:gd name="connsiteX194" fmla="*/ 2438400 w 3505200"/>
              <a:gd name="connsiteY194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233679 w 3505200"/>
              <a:gd name="connsiteY74" fmla="*/ 6971505 h 8260080"/>
              <a:gd name="connsiteX75" fmla="*/ 271463 w 3505200"/>
              <a:gd name="connsiteY75" fmla="*/ 7030085 h 8260080"/>
              <a:gd name="connsiteX76" fmla="*/ 280829 w 3505200"/>
              <a:gd name="connsiteY76" fmla="*/ 7148354 h 8260080"/>
              <a:gd name="connsiteX77" fmla="*/ 242962 w 3505200"/>
              <a:gd name="connsiteY77" fmla="*/ 7226746 h 8260080"/>
              <a:gd name="connsiteX78" fmla="*/ 282892 w 3505200"/>
              <a:gd name="connsiteY78" fmla="*/ 7300436 h 8260080"/>
              <a:gd name="connsiteX79" fmla="*/ 334645 w 3505200"/>
              <a:gd name="connsiteY79" fmla="*/ 7194709 h 8260080"/>
              <a:gd name="connsiteX80" fmla="*/ 354881 w 3505200"/>
              <a:gd name="connsiteY80" fmla="*/ 7257702 h 8260080"/>
              <a:gd name="connsiteX81" fmla="*/ 337026 w 3505200"/>
              <a:gd name="connsiteY81" fmla="*/ 7316154 h 8260080"/>
              <a:gd name="connsiteX82" fmla="*/ 370364 w 3505200"/>
              <a:gd name="connsiteY82" fmla="*/ 7360602 h 8260080"/>
              <a:gd name="connsiteX83" fmla="*/ 447040 w 3505200"/>
              <a:gd name="connsiteY83" fmla="*/ 7366000 h 8260080"/>
              <a:gd name="connsiteX84" fmla="*/ 447040 w 3505200"/>
              <a:gd name="connsiteY84" fmla="*/ 7477760 h 8260080"/>
              <a:gd name="connsiteX85" fmla="*/ 558800 w 3505200"/>
              <a:gd name="connsiteY85" fmla="*/ 7528560 h 8260080"/>
              <a:gd name="connsiteX86" fmla="*/ 508000 w 3505200"/>
              <a:gd name="connsiteY86" fmla="*/ 7630160 h 8260080"/>
              <a:gd name="connsiteX87" fmla="*/ 436880 w 3505200"/>
              <a:gd name="connsiteY87" fmla="*/ 7609840 h 8260080"/>
              <a:gd name="connsiteX88" fmla="*/ 447040 w 3505200"/>
              <a:gd name="connsiteY88" fmla="*/ 7691120 h 8260080"/>
              <a:gd name="connsiteX89" fmla="*/ 518160 w 3505200"/>
              <a:gd name="connsiteY89" fmla="*/ 7741920 h 8260080"/>
              <a:gd name="connsiteX90" fmla="*/ 457200 w 3505200"/>
              <a:gd name="connsiteY90" fmla="*/ 7792720 h 8260080"/>
              <a:gd name="connsiteX91" fmla="*/ 396240 w 3505200"/>
              <a:gd name="connsiteY91" fmla="*/ 7701280 h 8260080"/>
              <a:gd name="connsiteX92" fmla="*/ 396240 w 3505200"/>
              <a:gd name="connsiteY92" fmla="*/ 7701280 h 8260080"/>
              <a:gd name="connsiteX93" fmla="*/ 436880 w 3505200"/>
              <a:gd name="connsiteY93" fmla="*/ 7874000 h 8260080"/>
              <a:gd name="connsiteX94" fmla="*/ 436880 w 3505200"/>
              <a:gd name="connsiteY94" fmla="*/ 7924800 h 8260080"/>
              <a:gd name="connsiteX95" fmla="*/ 548640 w 3505200"/>
              <a:gd name="connsiteY95" fmla="*/ 7965440 h 8260080"/>
              <a:gd name="connsiteX96" fmla="*/ 508000 w 3505200"/>
              <a:gd name="connsiteY96" fmla="*/ 8016240 h 8260080"/>
              <a:gd name="connsiteX97" fmla="*/ 589280 w 3505200"/>
              <a:gd name="connsiteY97" fmla="*/ 8056880 h 8260080"/>
              <a:gd name="connsiteX98" fmla="*/ 497840 w 3505200"/>
              <a:gd name="connsiteY98" fmla="*/ 8117840 h 8260080"/>
              <a:gd name="connsiteX99" fmla="*/ 518160 w 3505200"/>
              <a:gd name="connsiteY99" fmla="*/ 8209280 h 8260080"/>
              <a:gd name="connsiteX100" fmla="*/ 640080 w 3505200"/>
              <a:gd name="connsiteY100" fmla="*/ 8260080 h 8260080"/>
              <a:gd name="connsiteX101" fmla="*/ 731520 w 3505200"/>
              <a:gd name="connsiteY101" fmla="*/ 8219440 h 8260080"/>
              <a:gd name="connsiteX102" fmla="*/ 853440 w 3505200"/>
              <a:gd name="connsiteY102" fmla="*/ 8209280 h 8260080"/>
              <a:gd name="connsiteX103" fmla="*/ 955040 w 3505200"/>
              <a:gd name="connsiteY103" fmla="*/ 8260080 h 8260080"/>
              <a:gd name="connsiteX104" fmla="*/ 965200 w 3505200"/>
              <a:gd name="connsiteY104" fmla="*/ 8107680 h 8260080"/>
              <a:gd name="connsiteX105" fmla="*/ 894080 w 3505200"/>
              <a:gd name="connsiteY105" fmla="*/ 8026400 h 8260080"/>
              <a:gd name="connsiteX106" fmla="*/ 1016000 w 3505200"/>
              <a:gd name="connsiteY106" fmla="*/ 7863840 h 8260080"/>
              <a:gd name="connsiteX107" fmla="*/ 1107440 w 3505200"/>
              <a:gd name="connsiteY107" fmla="*/ 7894320 h 8260080"/>
              <a:gd name="connsiteX108" fmla="*/ 1127760 w 3505200"/>
              <a:gd name="connsiteY108" fmla="*/ 7853680 h 8260080"/>
              <a:gd name="connsiteX109" fmla="*/ 1066800 w 3505200"/>
              <a:gd name="connsiteY109" fmla="*/ 7813040 h 8260080"/>
              <a:gd name="connsiteX110" fmla="*/ 1137920 w 3505200"/>
              <a:gd name="connsiteY110" fmla="*/ 7762240 h 8260080"/>
              <a:gd name="connsiteX111" fmla="*/ 1330960 w 3505200"/>
              <a:gd name="connsiteY111" fmla="*/ 7802880 h 8260080"/>
              <a:gd name="connsiteX112" fmla="*/ 1361440 w 3505200"/>
              <a:gd name="connsiteY112" fmla="*/ 7772400 h 8260080"/>
              <a:gd name="connsiteX113" fmla="*/ 1483360 w 3505200"/>
              <a:gd name="connsiteY113" fmla="*/ 7823200 h 8260080"/>
              <a:gd name="connsiteX114" fmla="*/ 1554480 w 3505200"/>
              <a:gd name="connsiteY114" fmla="*/ 7731760 h 8260080"/>
              <a:gd name="connsiteX115" fmla="*/ 1524000 w 3505200"/>
              <a:gd name="connsiteY115" fmla="*/ 7640320 h 8260080"/>
              <a:gd name="connsiteX116" fmla="*/ 1645920 w 3505200"/>
              <a:gd name="connsiteY116" fmla="*/ 7437120 h 8260080"/>
              <a:gd name="connsiteX117" fmla="*/ 1635760 w 3505200"/>
              <a:gd name="connsiteY117" fmla="*/ 7335520 h 8260080"/>
              <a:gd name="connsiteX118" fmla="*/ 1696720 w 3505200"/>
              <a:gd name="connsiteY118" fmla="*/ 7223760 h 8260080"/>
              <a:gd name="connsiteX119" fmla="*/ 1625600 w 3505200"/>
              <a:gd name="connsiteY119" fmla="*/ 7172960 h 8260080"/>
              <a:gd name="connsiteX120" fmla="*/ 1747520 w 3505200"/>
              <a:gd name="connsiteY120" fmla="*/ 6990080 h 8260080"/>
              <a:gd name="connsiteX121" fmla="*/ 1666240 w 3505200"/>
              <a:gd name="connsiteY121" fmla="*/ 6939280 h 8260080"/>
              <a:gd name="connsiteX122" fmla="*/ 1737360 w 3505200"/>
              <a:gd name="connsiteY122" fmla="*/ 6888480 h 8260080"/>
              <a:gd name="connsiteX123" fmla="*/ 1645920 w 3505200"/>
              <a:gd name="connsiteY123" fmla="*/ 6776720 h 8260080"/>
              <a:gd name="connsiteX124" fmla="*/ 1808480 w 3505200"/>
              <a:gd name="connsiteY124" fmla="*/ 6715760 h 8260080"/>
              <a:gd name="connsiteX125" fmla="*/ 1727200 w 3505200"/>
              <a:gd name="connsiteY125" fmla="*/ 6614160 h 8260080"/>
              <a:gd name="connsiteX126" fmla="*/ 1686560 w 3505200"/>
              <a:gd name="connsiteY126" fmla="*/ 6421120 h 8260080"/>
              <a:gd name="connsiteX127" fmla="*/ 1889760 w 3505200"/>
              <a:gd name="connsiteY127" fmla="*/ 6299200 h 8260080"/>
              <a:gd name="connsiteX128" fmla="*/ 1940560 w 3505200"/>
              <a:gd name="connsiteY128" fmla="*/ 6228080 h 8260080"/>
              <a:gd name="connsiteX129" fmla="*/ 2032000 w 3505200"/>
              <a:gd name="connsiteY129" fmla="*/ 6136640 h 8260080"/>
              <a:gd name="connsiteX130" fmla="*/ 2011680 w 3505200"/>
              <a:gd name="connsiteY130" fmla="*/ 6014720 h 8260080"/>
              <a:gd name="connsiteX131" fmla="*/ 2123440 w 3505200"/>
              <a:gd name="connsiteY131" fmla="*/ 6065520 h 8260080"/>
              <a:gd name="connsiteX132" fmla="*/ 2092960 w 3505200"/>
              <a:gd name="connsiteY132" fmla="*/ 6167120 h 8260080"/>
              <a:gd name="connsiteX133" fmla="*/ 2286000 w 3505200"/>
              <a:gd name="connsiteY133" fmla="*/ 5933440 h 8260080"/>
              <a:gd name="connsiteX134" fmla="*/ 2255520 w 3505200"/>
              <a:gd name="connsiteY134" fmla="*/ 5801360 h 8260080"/>
              <a:gd name="connsiteX135" fmla="*/ 2448560 w 3505200"/>
              <a:gd name="connsiteY135" fmla="*/ 5598160 h 8260080"/>
              <a:gd name="connsiteX136" fmla="*/ 2357120 w 3505200"/>
              <a:gd name="connsiteY136" fmla="*/ 5435600 h 8260080"/>
              <a:gd name="connsiteX137" fmla="*/ 2225040 w 3505200"/>
              <a:gd name="connsiteY137" fmla="*/ 5415280 h 8260080"/>
              <a:gd name="connsiteX138" fmla="*/ 2103120 w 3505200"/>
              <a:gd name="connsiteY138" fmla="*/ 5222240 h 8260080"/>
              <a:gd name="connsiteX139" fmla="*/ 2092960 w 3505200"/>
              <a:gd name="connsiteY139" fmla="*/ 5110480 h 8260080"/>
              <a:gd name="connsiteX140" fmla="*/ 2052320 w 3505200"/>
              <a:gd name="connsiteY140" fmla="*/ 5151120 h 8260080"/>
              <a:gd name="connsiteX141" fmla="*/ 2042160 w 3505200"/>
              <a:gd name="connsiteY141" fmla="*/ 5242560 h 8260080"/>
              <a:gd name="connsiteX142" fmla="*/ 1981200 w 3505200"/>
              <a:gd name="connsiteY142" fmla="*/ 5191760 h 8260080"/>
              <a:gd name="connsiteX143" fmla="*/ 2011680 w 3505200"/>
              <a:gd name="connsiteY143" fmla="*/ 5120640 h 8260080"/>
              <a:gd name="connsiteX144" fmla="*/ 1930400 w 3505200"/>
              <a:gd name="connsiteY144" fmla="*/ 5100320 h 8260080"/>
              <a:gd name="connsiteX145" fmla="*/ 1859280 w 3505200"/>
              <a:gd name="connsiteY145" fmla="*/ 4917440 h 8260080"/>
              <a:gd name="connsiteX146" fmla="*/ 1828800 w 3505200"/>
              <a:gd name="connsiteY146" fmla="*/ 4622800 h 8260080"/>
              <a:gd name="connsiteX147" fmla="*/ 1910080 w 3505200"/>
              <a:gd name="connsiteY147" fmla="*/ 4419600 h 8260080"/>
              <a:gd name="connsiteX148" fmla="*/ 1920240 w 3505200"/>
              <a:gd name="connsiteY148" fmla="*/ 4277360 h 8260080"/>
              <a:gd name="connsiteX149" fmla="*/ 1971040 w 3505200"/>
              <a:gd name="connsiteY149" fmla="*/ 4124960 h 8260080"/>
              <a:gd name="connsiteX150" fmla="*/ 1879600 w 3505200"/>
              <a:gd name="connsiteY150" fmla="*/ 4023360 h 8260080"/>
              <a:gd name="connsiteX151" fmla="*/ 2072640 w 3505200"/>
              <a:gd name="connsiteY151" fmla="*/ 4003040 h 8260080"/>
              <a:gd name="connsiteX152" fmla="*/ 2092960 w 3505200"/>
              <a:gd name="connsiteY152" fmla="*/ 3850640 h 8260080"/>
              <a:gd name="connsiteX153" fmla="*/ 2001520 w 3505200"/>
              <a:gd name="connsiteY153" fmla="*/ 3728720 h 8260080"/>
              <a:gd name="connsiteX154" fmla="*/ 2164080 w 3505200"/>
              <a:gd name="connsiteY154" fmla="*/ 3769360 h 8260080"/>
              <a:gd name="connsiteX155" fmla="*/ 2265680 w 3505200"/>
              <a:gd name="connsiteY155" fmla="*/ 3566160 h 8260080"/>
              <a:gd name="connsiteX156" fmla="*/ 2336800 w 3505200"/>
              <a:gd name="connsiteY156" fmla="*/ 3515360 h 8260080"/>
              <a:gd name="connsiteX157" fmla="*/ 2367280 w 3505200"/>
              <a:gd name="connsiteY157" fmla="*/ 3362960 h 8260080"/>
              <a:gd name="connsiteX158" fmla="*/ 2489200 w 3505200"/>
              <a:gd name="connsiteY158" fmla="*/ 3423920 h 8260080"/>
              <a:gd name="connsiteX159" fmla="*/ 2560320 w 3505200"/>
              <a:gd name="connsiteY159" fmla="*/ 3302000 h 8260080"/>
              <a:gd name="connsiteX160" fmla="*/ 2743200 w 3505200"/>
              <a:gd name="connsiteY160" fmla="*/ 3149600 h 8260080"/>
              <a:gd name="connsiteX161" fmla="*/ 2844800 w 3505200"/>
              <a:gd name="connsiteY161" fmla="*/ 3088640 h 8260080"/>
              <a:gd name="connsiteX162" fmla="*/ 2804160 w 3505200"/>
              <a:gd name="connsiteY162" fmla="*/ 2966720 h 8260080"/>
              <a:gd name="connsiteX163" fmla="*/ 2976880 w 3505200"/>
              <a:gd name="connsiteY163" fmla="*/ 2763520 h 8260080"/>
              <a:gd name="connsiteX164" fmla="*/ 2794000 w 3505200"/>
              <a:gd name="connsiteY164" fmla="*/ 2621280 h 8260080"/>
              <a:gd name="connsiteX165" fmla="*/ 2946400 w 3505200"/>
              <a:gd name="connsiteY165" fmla="*/ 2377440 h 8260080"/>
              <a:gd name="connsiteX166" fmla="*/ 2854960 w 3505200"/>
              <a:gd name="connsiteY166" fmla="*/ 2255520 h 8260080"/>
              <a:gd name="connsiteX167" fmla="*/ 3027680 w 3505200"/>
              <a:gd name="connsiteY167" fmla="*/ 2113280 h 8260080"/>
              <a:gd name="connsiteX168" fmla="*/ 3119120 w 3505200"/>
              <a:gd name="connsiteY168" fmla="*/ 2021840 h 8260080"/>
              <a:gd name="connsiteX169" fmla="*/ 3027680 w 3505200"/>
              <a:gd name="connsiteY169" fmla="*/ 1960880 h 8260080"/>
              <a:gd name="connsiteX170" fmla="*/ 3139440 w 3505200"/>
              <a:gd name="connsiteY170" fmla="*/ 1869440 h 8260080"/>
              <a:gd name="connsiteX171" fmla="*/ 3281680 w 3505200"/>
              <a:gd name="connsiteY171" fmla="*/ 1950720 h 8260080"/>
              <a:gd name="connsiteX172" fmla="*/ 3403600 w 3505200"/>
              <a:gd name="connsiteY172" fmla="*/ 1889760 h 8260080"/>
              <a:gd name="connsiteX173" fmla="*/ 3505200 w 3505200"/>
              <a:gd name="connsiteY173" fmla="*/ 1910080 h 8260080"/>
              <a:gd name="connsiteX174" fmla="*/ 3444240 w 3505200"/>
              <a:gd name="connsiteY174" fmla="*/ 1656080 h 8260080"/>
              <a:gd name="connsiteX175" fmla="*/ 3373120 w 3505200"/>
              <a:gd name="connsiteY175" fmla="*/ 1635760 h 8260080"/>
              <a:gd name="connsiteX176" fmla="*/ 3352800 w 3505200"/>
              <a:gd name="connsiteY176" fmla="*/ 1503680 h 8260080"/>
              <a:gd name="connsiteX177" fmla="*/ 3444240 w 3505200"/>
              <a:gd name="connsiteY177" fmla="*/ 1412240 h 8260080"/>
              <a:gd name="connsiteX178" fmla="*/ 3393440 w 3505200"/>
              <a:gd name="connsiteY178" fmla="*/ 1280160 h 8260080"/>
              <a:gd name="connsiteX179" fmla="*/ 3434080 w 3505200"/>
              <a:gd name="connsiteY179" fmla="*/ 1249680 h 8260080"/>
              <a:gd name="connsiteX180" fmla="*/ 3281680 w 3505200"/>
              <a:gd name="connsiteY180" fmla="*/ 1066800 h 8260080"/>
              <a:gd name="connsiteX181" fmla="*/ 3383280 w 3505200"/>
              <a:gd name="connsiteY181" fmla="*/ 975360 h 8260080"/>
              <a:gd name="connsiteX182" fmla="*/ 3302000 w 3505200"/>
              <a:gd name="connsiteY182" fmla="*/ 924560 h 8260080"/>
              <a:gd name="connsiteX183" fmla="*/ 3190240 w 3505200"/>
              <a:gd name="connsiteY183" fmla="*/ 944880 h 8260080"/>
              <a:gd name="connsiteX184" fmla="*/ 3281680 w 3505200"/>
              <a:gd name="connsiteY184" fmla="*/ 792480 h 8260080"/>
              <a:gd name="connsiteX185" fmla="*/ 3210560 w 3505200"/>
              <a:gd name="connsiteY185" fmla="*/ 650240 h 8260080"/>
              <a:gd name="connsiteX186" fmla="*/ 3302000 w 3505200"/>
              <a:gd name="connsiteY186" fmla="*/ 568960 h 8260080"/>
              <a:gd name="connsiteX187" fmla="*/ 3190240 w 3505200"/>
              <a:gd name="connsiteY187" fmla="*/ 487680 h 8260080"/>
              <a:gd name="connsiteX188" fmla="*/ 3108960 w 3505200"/>
              <a:gd name="connsiteY188" fmla="*/ 528320 h 8260080"/>
              <a:gd name="connsiteX189" fmla="*/ 3108960 w 3505200"/>
              <a:gd name="connsiteY189" fmla="*/ 406400 h 8260080"/>
              <a:gd name="connsiteX190" fmla="*/ 2926080 w 3505200"/>
              <a:gd name="connsiteY190" fmla="*/ 314960 h 8260080"/>
              <a:gd name="connsiteX191" fmla="*/ 2834640 w 3505200"/>
              <a:gd name="connsiteY191" fmla="*/ 355600 h 8260080"/>
              <a:gd name="connsiteX192" fmla="*/ 2682240 w 3505200"/>
              <a:gd name="connsiteY192" fmla="*/ 111760 h 8260080"/>
              <a:gd name="connsiteX193" fmla="*/ 2590800 w 3505200"/>
              <a:gd name="connsiteY193" fmla="*/ 121920 h 8260080"/>
              <a:gd name="connsiteX194" fmla="*/ 2611120 w 3505200"/>
              <a:gd name="connsiteY194" fmla="*/ 0 h 8260080"/>
              <a:gd name="connsiteX195" fmla="*/ 2438400 w 3505200"/>
              <a:gd name="connsiteY195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95337 w 3505200"/>
              <a:gd name="connsiteY74" fmla="*/ 6907659 h 8260080"/>
              <a:gd name="connsiteX75" fmla="*/ 233679 w 3505200"/>
              <a:gd name="connsiteY75" fmla="*/ 6971505 h 8260080"/>
              <a:gd name="connsiteX76" fmla="*/ 271463 w 3505200"/>
              <a:gd name="connsiteY76" fmla="*/ 7030085 h 8260080"/>
              <a:gd name="connsiteX77" fmla="*/ 280829 w 3505200"/>
              <a:gd name="connsiteY77" fmla="*/ 7148354 h 8260080"/>
              <a:gd name="connsiteX78" fmla="*/ 242962 w 3505200"/>
              <a:gd name="connsiteY78" fmla="*/ 7226746 h 8260080"/>
              <a:gd name="connsiteX79" fmla="*/ 282892 w 3505200"/>
              <a:gd name="connsiteY79" fmla="*/ 7300436 h 8260080"/>
              <a:gd name="connsiteX80" fmla="*/ 334645 w 3505200"/>
              <a:gd name="connsiteY80" fmla="*/ 7194709 h 8260080"/>
              <a:gd name="connsiteX81" fmla="*/ 354881 w 3505200"/>
              <a:gd name="connsiteY81" fmla="*/ 7257702 h 8260080"/>
              <a:gd name="connsiteX82" fmla="*/ 337026 w 3505200"/>
              <a:gd name="connsiteY82" fmla="*/ 7316154 h 8260080"/>
              <a:gd name="connsiteX83" fmla="*/ 370364 w 3505200"/>
              <a:gd name="connsiteY83" fmla="*/ 7360602 h 8260080"/>
              <a:gd name="connsiteX84" fmla="*/ 447040 w 3505200"/>
              <a:gd name="connsiteY84" fmla="*/ 7366000 h 8260080"/>
              <a:gd name="connsiteX85" fmla="*/ 447040 w 3505200"/>
              <a:gd name="connsiteY85" fmla="*/ 7477760 h 8260080"/>
              <a:gd name="connsiteX86" fmla="*/ 558800 w 3505200"/>
              <a:gd name="connsiteY86" fmla="*/ 7528560 h 8260080"/>
              <a:gd name="connsiteX87" fmla="*/ 508000 w 3505200"/>
              <a:gd name="connsiteY87" fmla="*/ 7630160 h 8260080"/>
              <a:gd name="connsiteX88" fmla="*/ 436880 w 3505200"/>
              <a:gd name="connsiteY88" fmla="*/ 7609840 h 8260080"/>
              <a:gd name="connsiteX89" fmla="*/ 447040 w 3505200"/>
              <a:gd name="connsiteY89" fmla="*/ 7691120 h 8260080"/>
              <a:gd name="connsiteX90" fmla="*/ 518160 w 3505200"/>
              <a:gd name="connsiteY90" fmla="*/ 7741920 h 8260080"/>
              <a:gd name="connsiteX91" fmla="*/ 457200 w 3505200"/>
              <a:gd name="connsiteY91" fmla="*/ 7792720 h 8260080"/>
              <a:gd name="connsiteX92" fmla="*/ 396240 w 3505200"/>
              <a:gd name="connsiteY92" fmla="*/ 7701280 h 8260080"/>
              <a:gd name="connsiteX93" fmla="*/ 396240 w 3505200"/>
              <a:gd name="connsiteY93" fmla="*/ 7701280 h 8260080"/>
              <a:gd name="connsiteX94" fmla="*/ 436880 w 3505200"/>
              <a:gd name="connsiteY94" fmla="*/ 7874000 h 8260080"/>
              <a:gd name="connsiteX95" fmla="*/ 436880 w 3505200"/>
              <a:gd name="connsiteY95" fmla="*/ 7924800 h 8260080"/>
              <a:gd name="connsiteX96" fmla="*/ 548640 w 3505200"/>
              <a:gd name="connsiteY96" fmla="*/ 7965440 h 8260080"/>
              <a:gd name="connsiteX97" fmla="*/ 508000 w 3505200"/>
              <a:gd name="connsiteY97" fmla="*/ 8016240 h 8260080"/>
              <a:gd name="connsiteX98" fmla="*/ 589280 w 3505200"/>
              <a:gd name="connsiteY98" fmla="*/ 8056880 h 8260080"/>
              <a:gd name="connsiteX99" fmla="*/ 497840 w 3505200"/>
              <a:gd name="connsiteY99" fmla="*/ 8117840 h 8260080"/>
              <a:gd name="connsiteX100" fmla="*/ 518160 w 3505200"/>
              <a:gd name="connsiteY100" fmla="*/ 8209280 h 8260080"/>
              <a:gd name="connsiteX101" fmla="*/ 640080 w 3505200"/>
              <a:gd name="connsiteY101" fmla="*/ 8260080 h 8260080"/>
              <a:gd name="connsiteX102" fmla="*/ 731520 w 3505200"/>
              <a:gd name="connsiteY102" fmla="*/ 8219440 h 8260080"/>
              <a:gd name="connsiteX103" fmla="*/ 853440 w 3505200"/>
              <a:gd name="connsiteY103" fmla="*/ 8209280 h 8260080"/>
              <a:gd name="connsiteX104" fmla="*/ 955040 w 3505200"/>
              <a:gd name="connsiteY104" fmla="*/ 8260080 h 8260080"/>
              <a:gd name="connsiteX105" fmla="*/ 965200 w 3505200"/>
              <a:gd name="connsiteY105" fmla="*/ 8107680 h 8260080"/>
              <a:gd name="connsiteX106" fmla="*/ 894080 w 3505200"/>
              <a:gd name="connsiteY106" fmla="*/ 8026400 h 8260080"/>
              <a:gd name="connsiteX107" fmla="*/ 1016000 w 3505200"/>
              <a:gd name="connsiteY107" fmla="*/ 7863840 h 8260080"/>
              <a:gd name="connsiteX108" fmla="*/ 1107440 w 3505200"/>
              <a:gd name="connsiteY108" fmla="*/ 7894320 h 8260080"/>
              <a:gd name="connsiteX109" fmla="*/ 1127760 w 3505200"/>
              <a:gd name="connsiteY109" fmla="*/ 7853680 h 8260080"/>
              <a:gd name="connsiteX110" fmla="*/ 1066800 w 3505200"/>
              <a:gd name="connsiteY110" fmla="*/ 7813040 h 8260080"/>
              <a:gd name="connsiteX111" fmla="*/ 1137920 w 3505200"/>
              <a:gd name="connsiteY111" fmla="*/ 7762240 h 8260080"/>
              <a:gd name="connsiteX112" fmla="*/ 1330960 w 3505200"/>
              <a:gd name="connsiteY112" fmla="*/ 7802880 h 8260080"/>
              <a:gd name="connsiteX113" fmla="*/ 1361440 w 3505200"/>
              <a:gd name="connsiteY113" fmla="*/ 7772400 h 8260080"/>
              <a:gd name="connsiteX114" fmla="*/ 1483360 w 3505200"/>
              <a:gd name="connsiteY114" fmla="*/ 7823200 h 8260080"/>
              <a:gd name="connsiteX115" fmla="*/ 1554480 w 3505200"/>
              <a:gd name="connsiteY115" fmla="*/ 7731760 h 8260080"/>
              <a:gd name="connsiteX116" fmla="*/ 1524000 w 3505200"/>
              <a:gd name="connsiteY116" fmla="*/ 7640320 h 8260080"/>
              <a:gd name="connsiteX117" fmla="*/ 1645920 w 3505200"/>
              <a:gd name="connsiteY117" fmla="*/ 7437120 h 8260080"/>
              <a:gd name="connsiteX118" fmla="*/ 1635760 w 3505200"/>
              <a:gd name="connsiteY118" fmla="*/ 7335520 h 8260080"/>
              <a:gd name="connsiteX119" fmla="*/ 1696720 w 3505200"/>
              <a:gd name="connsiteY119" fmla="*/ 7223760 h 8260080"/>
              <a:gd name="connsiteX120" fmla="*/ 1625600 w 3505200"/>
              <a:gd name="connsiteY120" fmla="*/ 7172960 h 8260080"/>
              <a:gd name="connsiteX121" fmla="*/ 1747520 w 3505200"/>
              <a:gd name="connsiteY121" fmla="*/ 6990080 h 8260080"/>
              <a:gd name="connsiteX122" fmla="*/ 1666240 w 3505200"/>
              <a:gd name="connsiteY122" fmla="*/ 6939280 h 8260080"/>
              <a:gd name="connsiteX123" fmla="*/ 1737360 w 3505200"/>
              <a:gd name="connsiteY123" fmla="*/ 6888480 h 8260080"/>
              <a:gd name="connsiteX124" fmla="*/ 1645920 w 3505200"/>
              <a:gd name="connsiteY124" fmla="*/ 6776720 h 8260080"/>
              <a:gd name="connsiteX125" fmla="*/ 1808480 w 3505200"/>
              <a:gd name="connsiteY125" fmla="*/ 6715760 h 8260080"/>
              <a:gd name="connsiteX126" fmla="*/ 1727200 w 3505200"/>
              <a:gd name="connsiteY126" fmla="*/ 6614160 h 8260080"/>
              <a:gd name="connsiteX127" fmla="*/ 1686560 w 3505200"/>
              <a:gd name="connsiteY127" fmla="*/ 6421120 h 8260080"/>
              <a:gd name="connsiteX128" fmla="*/ 1889760 w 3505200"/>
              <a:gd name="connsiteY128" fmla="*/ 6299200 h 8260080"/>
              <a:gd name="connsiteX129" fmla="*/ 1940560 w 3505200"/>
              <a:gd name="connsiteY129" fmla="*/ 6228080 h 8260080"/>
              <a:gd name="connsiteX130" fmla="*/ 2032000 w 3505200"/>
              <a:gd name="connsiteY130" fmla="*/ 6136640 h 8260080"/>
              <a:gd name="connsiteX131" fmla="*/ 2011680 w 3505200"/>
              <a:gd name="connsiteY131" fmla="*/ 6014720 h 8260080"/>
              <a:gd name="connsiteX132" fmla="*/ 2123440 w 3505200"/>
              <a:gd name="connsiteY132" fmla="*/ 6065520 h 8260080"/>
              <a:gd name="connsiteX133" fmla="*/ 2092960 w 3505200"/>
              <a:gd name="connsiteY133" fmla="*/ 6167120 h 8260080"/>
              <a:gd name="connsiteX134" fmla="*/ 2286000 w 3505200"/>
              <a:gd name="connsiteY134" fmla="*/ 5933440 h 8260080"/>
              <a:gd name="connsiteX135" fmla="*/ 2255520 w 3505200"/>
              <a:gd name="connsiteY135" fmla="*/ 5801360 h 8260080"/>
              <a:gd name="connsiteX136" fmla="*/ 2448560 w 3505200"/>
              <a:gd name="connsiteY136" fmla="*/ 5598160 h 8260080"/>
              <a:gd name="connsiteX137" fmla="*/ 2357120 w 3505200"/>
              <a:gd name="connsiteY137" fmla="*/ 5435600 h 8260080"/>
              <a:gd name="connsiteX138" fmla="*/ 2225040 w 3505200"/>
              <a:gd name="connsiteY138" fmla="*/ 5415280 h 8260080"/>
              <a:gd name="connsiteX139" fmla="*/ 2103120 w 3505200"/>
              <a:gd name="connsiteY139" fmla="*/ 5222240 h 8260080"/>
              <a:gd name="connsiteX140" fmla="*/ 2092960 w 3505200"/>
              <a:gd name="connsiteY140" fmla="*/ 5110480 h 8260080"/>
              <a:gd name="connsiteX141" fmla="*/ 2052320 w 3505200"/>
              <a:gd name="connsiteY141" fmla="*/ 5151120 h 8260080"/>
              <a:gd name="connsiteX142" fmla="*/ 2042160 w 3505200"/>
              <a:gd name="connsiteY142" fmla="*/ 5242560 h 8260080"/>
              <a:gd name="connsiteX143" fmla="*/ 1981200 w 3505200"/>
              <a:gd name="connsiteY143" fmla="*/ 5191760 h 8260080"/>
              <a:gd name="connsiteX144" fmla="*/ 2011680 w 3505200"/>
              <a:gd name="connsiteY144" fmla="*/ 5120640 h 8260080"/>
              <a:gd name="connsiteX145" fmla="*/ 1930400 w 3505200"/>
              <a:gd name="connsiteY145" fmla="*/ 5100320 h 8260080"/>
              <a:gd name="connsiteX146" fmla="*/ 1859280 w 3505200"/>
              <a:gd name="connsiteY146" fmla="*/ 4917440 h 8260080"/>
              <a:gd name="connsiteX147" fmla="*/ 1828800 w 3505200"/>
              <a:gd name="connsiteY147" fmla="*/ 4622800 h 8260080"/>
              <a:gd name="connsiteX148" fmla="*/ 1910080 w 3505200"/>
              <a:gd name="connsiteY148" fmla="*/ 4419600 h 8260080"/>
              <a:gd name="connsiteX149" fmla="*/ 1920240 w 3505200"/>
              <a:gd name="connsiteY149" fmla="*/ 4277360 h 8260080"/>
              <a:gd name="connsiteX150" fmla="*/ 1971040 w 3505200"/>
              <a:gd name="connsiteY150" fmla="*/ 4124960 h 8260080"/>
              <a:gd name="connsiteX151" fmla="*/ 1879600 w 3505200"/>
              <a:gd name="connsiteY151" fmla="*/ 4023360 h 8260080"/>
              <a:gd name="connsiteX152" fmla="*/ 2072640 w 3505200"/>
              <a:gd name="connsiteY152" fmla="*/ 4003040 h 8260080"/>
              <a:gd name="connsiteX153" fmla="*/ 2092960 w 3505200"/>
              <a:gd name="connsiteY153" fmla="*/ 3850640 h 8260080"/>
              <a:gd name="connsiteX154" fmla="*/ 2001520 w 3505200"/>
              <a:gd name="connsiteY154" fmla="*/ 3728720 h 8260080"/>
              <a:gd name="connsiteX155" fmla="*/ 2164080 w 3505200"/>
              <a:gd name="connsiteY155" fmla="*/ 3769360 h 8260080"/>
              <a:gd name="connsiteX156" fmla="*/ 2265680 w 3505200"/>
              <a:gd name="connsiteY156" fmla="*/ 3566160 h 8260080"/>
              <a:gd name="connsiteX157" fmla="*/ 2336800 w 3505200"/>
              <a:gd name="connsiteY157" fmla="*/ 3515360 h 8260080"/>
              <a:gd name="connsiteX158" fmla="*/ 2367280 w 3505200"/>
              <a:gd name="connsiteY158" fmla="*/ 3362960 h 8260080"/>
              <a:gd name="connsiteX159" fmla="*/ 2489200 w 3505200"/>
              <a:gd name="connsiteY159" fmla="*/ 3423920 h 8260080"/>
              <a:gd name="connsiteX160" fmla="*/ 2560320 w 3505200"/>
              <a:gd name="connsiteY160" fmla="*/ 3302000 h 8260080"/>
              <a:gd name="connsiteX161" fmla="*/ 2743200 w 3505200"/>
              <a:gd name="connsiteY161" fmla="*/ 3149600 h 8260080"/>
              <a:gd name="connsiteX162" fmla="*/ 2844800 w 3505200"/>
              <a:gd name="connsiteY162" fmla="*/ 3088640 h 8260080"/>
              <a:gd name="connsiteX163" fmla="*/ 2804160 w 3505200"/>
              <a:gd name="connsiteY163" fmla="*/ 2966720 h 8260080"/>
              <a:gd name="connsiteX164" fmla="*/ 2976880 w 3505200"/>
              <a:gd name="connsiteY164" fmla="*/ 2763520 h 8260080"/>
              <a:gd name="connsiteX165" fmla="*/ 2794000 w 3505200"/>
              <a:gd name="connsiteY165" fmla="*/ 2621280 h 8260080"/>
              <a:gd name="connsiteX166" fmla="*/ 2946400 w 3505200"/>
              <a:gd name="connsiteY166" fmla="*/ 2377440 h 8260080"/>
              <a:gd name="connsiteX167" fmla="*/ 2854960 w 3505200"/>
              <a:gd name="connsiteY167" fmla="*/ 2255520 h 8260080"/>
              <a:gd name="connsiteX168" fmla="*/ 3027680 w 3505200"/>
              <a:gd name="connsiteY168" fmla="*/ 2113280 h 8260080"/>
              <a:gd name="connsiteX169" fmla="*/ 3119120 w 3505200"/>
              <a:gd name="connsiteY169" fmla="*/ 2021840 h 8260080"/>
              <a:gd name="connsiteX170" fmla="*/ 3027680 w 3505200"/>
              <a:gd name="connsiteY170" fmla="*/ 1960880 h 8260080"/>
              <a:gd name="connsiteX171" fmla="*/ 3139440 w 3505200"/>
              <a:gd name="connsiteY171" fmla="*/ 1869440 h 8260080"/>
              <a:gd name="connsiteX172" fmla="*/ 3281680 w 3505200"/>
              <a:gd name="connsiteY172" fmla="*/ 1950720 h 8260080"/>
              <a:gd name="connsiteX173" fmla="*/ 3403600 w 3505200"/>
              <a:gd name="connsiteY173" fmla="*/ 1889760 h 8260080"/>
              <a:gd name="connsiteX174" fmla="*/ 3505200 w 3505200"/>
              <a:gd name="connsiteY174" fmla="*/ 1910080 h 8260080"/>
              <a:gd name="connsiteX175" fmla="*/ 3444240 w 3505200"/>
              <a:gd name="connsiteY175" fmla="*/ 1656080 h 8260080"/>
              <a:gd name="connsiteX176" fmla="*/ 3373120 w 3505200"/>
              <a:gd name="connsiteY176" fmla="*/ 1635760 h 8260080"/>
              <a:gd name="connsiteX177" fmla="*/ 3352800 w 3505200"/>
              <a:gd name="connsiteY177" fmla="*/ 1503680 h 8260080"/>
              <a:gd name="connsiteX178" fmla="*/ 3444240 w 3505200"/>
              <a:gd name="connsiteY178" fmla="*/ 1412240 h 8260080"/>
              <a:gd name="connsiteX179" fmla="*/ 3393440 w 3505200"/>
              <a:gd name="connsiteY179" fmla="*/ 1280160 h 8260080"/>
              <a:gd name="connsiteX180" fmla="*/ 3434080 w 3505200"/>
              <a:gd name="connsiteY180" fmla="*/ 1249680 h 8260080"/>
              <a:gd name="connsiteX181" fmla="*/ 3281680 w 3505200"/>
              <a:gd name="connsiteY181" fmla="*/ 1066800 h 8260080"/>
              <a:gd name="connsiteX182" fmla="*/ 3383280 w 3505200"/>
              <a:gd name="connsiteY182" fmla="*/ 975360 h 8260080"/>
              <a:gd name="connsiteX183" fmla="*/ 3302000 w 3505200"/>
              <a:gd name="connsiteY183" fmla="*/ 924560 h 8260080"/>
              <a:gd name="connsiteX184" fmla="*/ 3190240 w 3505200"/>
              <a:gd name="connsiteY184" fmla="*/ 944880 h 8260080"/>
              <a:gd name="connsiteX185" fmla="*/ 3281680 w 3505200"/>
              <a:gd name="connsiteY185" fmla="*/ 792480 h 8260080"/>
              <a:gd name="connsiteX186" fmla="*/ 3210560 w 3505200"/>
              <a:gd name="connsiteY186" fmla="*/ 650240 h 8260080"/>
              <a:gd name="connsiteX187" fmla="*/ 3302000 w 3505200"/>
              <a:gd name="connsiteY187" fmla="*/ 568960 h 8260080"/>
              <a:gd name="connsiteX188" fmla="*/ 3190240 w 3505200"/>
              <a:gd name="connsiteY188" fmla="*/ 487680 h 8260080"/>
              <a:gd name="connsiteX189" fmla="*/ 3108960 w 3505200"/>
              <a:gd name="connsiteY189" fmla="*/ 528320 h 8260080"/>
              <a:gd name="connsiteX190" fmla="*/ 3108960 w 3505200"/>
              <a:gd name="connsiteY190" fmla="*/ 406400 h 8260080"/>
              <a:gd name="connsiteX191" fmla="*/ 2926080 w 3505200"/>
              <a:gd name="connsiteY191" fmla="*/ 314960 h 8260080"/>
              <a:gd name="connsiteX192" fmla="*/ 2834640 w 3505200"/>
              <a:gd name="connsiteY192" fmla="*/ 355600 h 8260080"/>
              <a:gd name="connsiteX193" fmla="*/ 2682240 w 3505200"/>
              <a:gd name="connsiteY193" fmla="*/ 111760 h 8260080"/>
              <a:gd name="connsiteX194" fmla="*/ 2590800 w 3505200"/>
              <a:gd name="connsiteY194" fmla="*/ 121920 h 8260080"/>
              <a:gd name="connsiteX195" fmla="*/ 2611120 w 3505200"/>
              <a:gd name="connsiteY195" fmla="*/ 0 h 8260080"/>
              <a:gd name="connsiteX196" fmla="*/ 2438400 w 3505200"/>
              <a:gd name="connsiteY196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33679 w 3505200"/>
              <a:gd name="connsiteY76" fmla="*/ 6971505 h 8260080"/>
              <a:gd name="connsiteX77" fmla="*/ 271463 w 3505200"/>
              <a:gd name="connsiteY77" fmla="*/ 7030085 h 8260080"/>
              <a:gd name="connsiteX78" fmla="*/ 280829 w 3505200"/>
              <a:gd name="connsiteY78" fmla="*/ 7148354 h 8260080"/>
              <a:gd name="connsiteX79" fmla="*/ 242962 w 3505200"/>
              <a:gd name="connsiteY79" fmla="*/ 7226746 h 8260080"/>
              <a:gd name="connsiteX80" fmla="*/ 282892 w 3505200"/>
              <a:gd name="connsiteY80" fmla="*/ 7300436 h 8260080"/>
              <a:gd name="connsiteX81" fmla="*/ 334645 w 3505200"/>
              <a:gd name="connsiteY81" fmla="*/ 7194709 h 8260080"/>
              <a:gd name="connsiteX82" fmla="*/ 354881 w 3505200"/>
              <a:gd name="connsiteY82" fmla="*/ 7257702 h 8260080"/>
              <a:gd name="connsiteX83" fmla="*/ 337026 w 3505200"/>
              <a:gd name="connsiteY83" fmla="*/ 7316154 h 8260080"/>
              <a:gd name="connsiteX84" fmla="*/ 370364 w 3505200"/>
              <a:gd name="connsiteY84" fmla="*/ 7360602 h 8260080"/>
              <a:gd name="connsiteX85" fmla="*/ 447040 w 3505200"/>
              <a:gd name="connsiteY85" fmla="*/ 7366000 h 8260080"/>
              <a:gd name="connsiteX86" fmla="*/ 447040 w 3505200"/>
              <a:gd name="connsiteY86" fmla="*/ 7477760 h 8260080"/>
              <a:gd name="connsiteX87" fmla="*/ 558800 w 3505200"/>
              <a:gd name="connsiteY87" fmla="*/ 7528560 h 8260080"/>
              <a:gd name="connsiteX88" fmla="*/ 508000 w 3505200"/>
              <a:gd name="connsiteY88" fmla="*/ 7630160 h 8260080"/>
              <a:gd name="connsiteX89" fmla="*/ 436880 w 3505200"/>
              <a:gd name="connsiteY89" fmla="*/ 7609840 h 8260080"/>
              <a:gd name="connsiteX90" fmla="*/ 447040 w 3505200"/>
              <a:gd name="connsiteY90" fmla="*/ 7691120 h 8260080"/>
              <a:gd name="connsiteX91" fmla="*/ 518160 w 3505200"/>
              <a:gd name="connsiteY91" fmla="*/ 7741920 h 8260080"/>
              <a:gd name="connsiteX92" fmla="*/ 457200 w 3505200"/>
              <a:gd name="connsiteY92" fmla="*/ 7792720 h 8260080"/>
              <a:gd name="connsiteX93" fmla="*/ 396240 w 3505200"/>
              <a:gd name="connsiteY93" fmla="*/ 7701280 h 8260080"/>
              <a:gd name="connsiteX94" fmla="*/ 396240 w 3505200"/>
              <a:gd name="connsiteY94" fmla="*/ 7701280 h 8260080"/>
              <a:gd name="connsiteX95" fmla="*/ 436880 w 3505200"/>
              <a:gd name="connsiteY95" fmla="*/ 7874000 h 8260080"/>
              <a:gd name="connsiteX96" fmla="*/ 436880 w 3505200"/>
              <a:gd name="connsiteY96" fmla="*/ 7924800 h 8260080"/>
              <a:gd name="connsiteX97" fmla="*/ 548640 w 3505200"/>
              <a:gd name="connsiteY97" fmla="*/ 7965440 h 8260080"/>
              <a:gd name="connsiteX98" fmla="*/ 508000 w 3505200"/>
              <a:gd name="connsiteY98" fmla="*/ 8016240 h 8260080"/>
              <a:gd name="connsiteX99" fmla="*/ 589280 w 3505200"/>
              <a:gd name="connsiteY99" fmla="*/ 8056880 h 8260080"/>
              <a:gd name="connsiteX100" fmla="*/ 497840 w 3505200"/>
              <a:gd name="connsiteY100" fmla="*/ 8117840 h 8260080"/>
              <a:gd name="connsiteX101" fmla="*/ 518160 w 3505200"/>
              <a:gd name="connsiteY101" fmla="*/ 8209280 h 8260080"/>
              <a:gd name="connsiteX102" fmla="*/ 640080 w 3505200"/>
              <a:gd name="connsiteY102" fmla="*/ 8260080 h 8260080"/>
              <a:gd name="connsiteX103" fmla="*/ 731520 w 3505200"/>
              <a:gd name="connsiteY103" fmla="*/ 8219440 h 8260080"/>
              <a:gd name="connsiteX104" fmla="*/ 853440 w 3505200"/>
              <a:gd name="connsiteY104" fmla="*/ 8209280 h 8260080"/>
              <a:gd name="connsiteX105" fmla="*/ 955040 w 3505200"/>
              <a:gd name="connsiteY105" fmla="*/ 8260080 h 8260080"/>
              <a:gd name="connsiteX106" fmla="*/ 965200 w 3505200"/>
              <a:gd name="connsiteY106" fmla="*/ 8107680 h 8260080"/>
              <a:gd name="connsiteX107" fmla="*/ 894080 w 3505200"/>
              <a:gd name="connsiteY107" fmla="*/ 8026400 h 8260080"/>
              <a:gd name="connsiteX108" fmla="*/ 1016000 w 3505200"/>
              <a:gd name="connsiteY108" fmla="*/ 7863840 h 8260080"/>
              <a:gd name="connsiteX109" fmla="*/ 1107440 w 3505200"/>
              <a:gd name="connsiteY109" fmla="*/ 7894320 h 8260080"/>
              <a:gd name="connsiteX110" fmla="*/ 1127760 w 3505200"/>
              <a:gd name="connsiteY110" fmla="*/ 7853680 h 8260080"/>
              <a:gd name="connsiteX111" fmla="*/ 1066800 w 3505200"/>
              <a:gd name="connsiteY111" fmla="*/ 7813040 h 8260080"/>
              <a:gd name="connsiteX112" fmla="*/ 1137920 w 3505200"/>
              <a:gd name="connsiteY112" fmla="*/ 7762240 h 8260080"/>
              <a:gd name="connsiteX113" fmla="*/ 1330960 w 3505200"/>
              <a:gd name="connsiteY113" fmla="*/ 7802880 h 8260080"/>
              <a:gd name="connsiteX114" fmla="*/ 1361440 w 3505200"/>
              <a:gd name="connsiteY114" fmla="*/ 7772400 h 8260080"/>
              <a:gd name="connsiteX115" fmla="*/ 1483360 w 3505200"/>
              <a:gd name="connsiteY115" fmla="*/ 7823200 h 8260080"/>
              <a:gd name="connsiteX116" fmla="*/ 1554480 w 3505200"/>
              <a:gd name="connsiteY116" fmla="*/ 7731760 h 8260080"/>
              <a:gd name="connsiteX117" fmla="*/ 1524000 w 3505200"/>
              <a:gd name="connsiteY117" fmla="*/ 7640320 h 8260080"/>
              <a:gd name="connsiteX118" fmla="*/ 1645920 w 3505200"/>
              <a:gd name="connsiteY118" fmla="*/ 7437120 h 8260080"/>
              <a:gd name="connsiteX119" fmla="*/ 1635760 w 3505200"/>
              <a:gd name="connsiteY119" fmla="*/ 7335520 h 8260080"/>
              <a:gd name="connsiteX120" fmla="*/ 1696720 w 3505200"/>
              <a:gd name="connsiteY120" fmla="*/ 7223760 h 8260080"/>
              <a:gd name="connsiteX121" fmla="*/ 1625600 w 3505200"/>
              <a:gd name="connsiteY121" fmla="*/ 7172960 h 8260080"/>
              <a:gd name="connsiteX122" fmla="*/ 1747520 w 3505200"/>
              <a:gd name="connsiteY122" fmla="*/ 6990080 h 8260080"/>
              <a:gd name="connsiteX123" fmla="*/ 1666240 w 3505200"/>
              <a:gd name="connsiteY123" fmla="*/ 6939280 h 8260080"/>
              <a:gd name="connsiteX124" fmla="*/ 1737360 w 3505200"/>
              <a:gd name="connsiteY124" fmla="*/ 6888480 h 8260080"/>
              <a:gd name="connsiteX125" fmla="*/ 1645920 w 3505200"/>
              <a:gd name="connsiteY125" fmla="*/ 6776720 h 8260080"/>
              <a:gd name="connsiteX126" fmla="*/ 1808480 w 3505200"/>
              <a:gd name="connsiteY126" fmla="*/ 6715760 h 8260080"/>
              <a:gd name="connsiteX127" fmla="*/ 1727200 w 3505200"/>
              <a:gd name="connsiteY127" fmla="*/ 6614160 h 8260080"/>
              <a:gd name="connsiteX128" fmla="*/ 1686560 w 3505200"/>
              <a:gd name="connsiteY128" fmla="*/ 6421120 h 8260080"/>
              <a:gd name="connsiteX129" fmla="*/ 1889760 w 3505200"/>
              <a:gd name="connsiteY129" fmla="*/ 6299200 h 8260080"/>
              <a:gd name="connsiteX130" fmla="*/ 1940560 w 3505200"/>
              <a:gd name="connsiteY130" fmla="*/ 6228080 h 8260080"/>
              <a:gd name="connsiteX131" fmla="*/ 2032000 w 3505200"/>
              <a:gd name="connsiteY131" fmla="*/ 6136640 h 8260080"/>
              <a:gd name="connsiteX132" fmla="*/ 2011680 w 3505200"/>
              <a:gd name="connsiteY132" fmla="*/ 6014720 h 8260080"/>
              <a:gd name="connsiteX133" fmla="*/ 2123440 w 3505200"/>
              <a:gd name="connsiteY133" fmla="*/ 6065520 h 8260080"/>
              <a:gd name="connsiteX134" fmla="*/ 2092960 w 3505200"/>
              <a:gd name="connsiteY134" fmla="*/ 6167120 h 8260080"/>
              <a:gd name="connsiteX135" fmla="*/ 2286000 w 3505200"/>
              <a:gd name="connsiteY135" fmla="*/ 5933440 h 8260080"/>
              <a:gd name="connsiteX136" fmla="*/ 2255520 w 3505200"/>
              <a:gd name="connsiteY136" fmla="*/ 5801360 h 8260080"/>
              <a:gd name="connsiteX137" fmla="*/ 2448560 w 3505200"/>
              <a:gd name="connsiteY137" fmla="*/ 5598160 h 8260080"/>
              <a:gd name="connsiteX138" fmla="*/ 2357120 w 3505200"/>
              <a:gd name="connsiteY138" fmla="*/ 5435600 h 8260080"/>
              <a:gd name="connsiteX139" fmla="*/ 2225040 w 3505200"/>
              <a:gd name="connsiteY139" fmla="*/ 5415280 h 8260080"/>
              <a:gd name="connsiteX140" fmla="*/ 2103120 w 3505200"/>
              <a:gd name="connsiteY140" fmla="*/ 5222240 h 8260080"/>
              <a:gd name="connsiteX141" fmla="*/ 2092960 w 3505200"/>
              <a:gd name="connsiteY141" fmla="*/ 5110480 h 8260080"/>
              <a:gd name="connsiteX142" fmla="*/ 2052320 w 3505200"/>
              <a:gd name="connsiteY142" fmla="*/ 5151120 h 8260080"/>
              <a:gd name="connsiteX143" fmla="*/ 2042160 w 3505200"/>
              <a:gd name="connsiteY143" fmla="*/ 5242560 h 8260080"/>
              <a:gd name="connsiteX144" fmla="*/ 1981200 w 3505200"/>
              <a:gd name="connsiteY144" fmla="*/ 5191760 h 8260080"/>
              <a:gd name="connsiteX145" fmla="*/ 2011680 w 3505200"/>
              <a:gd name="connsiteY145" fmla="*/ 5120640 h 8260080"/>
              <a:gd name="connsiteX146" fmla="*/ 1930400 w 3505200"/>
              <a:gd name="connsiteY146" fmla="*/ 5100320 h 8260080"/>
              <a:gd name="connsiteX147" fmla="*/ 1859280 w 3505200"/>
              <a:gd name="connsiteY147" fmla="*/ 4917440 h 8260080"/>
              <a:gd name="connsiteX148" fmla="*/ 1828800 w 3505200"/>
              <a:gd name="connsiteY148" fmla="*/ 4622800 h 8260080"/>
              <a:gd name="connsiteX149" fmla="*/ 1910080 w 3505200"/>
              <a:gd name="connsiteY149" fmla="*/ 4419600 h 8260080"/>
              <a:gd name="connsiteX150" fmla="*/ 1920240 w 3505200"/>
              <a:gd name="connsiteY150" fmla="*/ 4277360 h 8260080"/>
              <a:gd name="connsiteX151" fmla="*/ 1971040 w 3505200"/>
              <a:gd name="connsiteY151" fmla="*/ 4124960 h 8260080"/>
              <a:gd name="connsiteX152" fmla="*/ 1879600 w 3505200"/>
              <a:gd name="connsiteY152" fmla="*/ 4023360 h 8260080"/>
              <a:gd name="connsiteX153" fmla="*/ 2072640 w 3505200"/>
              <a:gd name="connsiteY153" fmla="*/ 4003040 h 8260080"/>
              <a:gd name="connsiteX154" fmla="*/ 2092960 w 3505200"/>
              <a:gd name="connsiteY154" fmla="*/ 3850640 h 8260080"/>
              <a:gd name="connsiteX155" fmla="*/ 2001520 w 3505200"/>
              <a:gd name="connsiteY155" fmla="*/ 3728720 h 8260080"/>
              <a:gd name="connsiteX156" fmla="*/ 2164080 w 3505200"/>
              <a:gd name="connsiteY156" fmla="*/ 3769360 h 8260080"/>
              <a:gd name="connsiteX157" fmla="*/ 2265680 w 3505200"/>
              <a:gd name="connsiteY157" fmla="*/ 3566160 h 8260080"/>
              <a:gd name="connsiteX158" fmla="*/ 2336800 w 3505200"/>
              <a:gd name="connsiteY158" fmla="*/ 3515360 h 8260080"/>
              <a:gd name="connsiteX159" fmla="*/ 2367280 w 3505200"/>
              <a:gd name="connsiteY159" fmla="*/ 3362960 h 8260080"/>
              <a:gd name="connsiteX160" fmla="*/ 2489200 w 3505200"/>
              <a:gd name="connsiteY160" fmla="*/ 3423920 h 8260080"/>
              <a:gd name="connsiteX161" fmla="*/ 2560320 w 3505200"/>
              <a:gd name="connsiteY161" fmla="*/ 3302000 h 8260080"/>
              <a:gd name="connsiteX162" fmla="*/ 2743200 w 3505200"/>
              <a:gd name="connsiteY162" fmla="*/ 3149600 h 8260080"/>
              <a:gd name="connsiteX163" fmla="*/ 2844800 w 3505200"/>
              <a:gd name="connsiteY163" fmla="*/ 3088640 h 8260080"/>
              <a:gd name="connsiteX164" fmla="*/ 2804160 w 3505200"/>
              <a:gd name="connsiteY164" fmla="*/ 2966720 h 8260080"/>
              <a:gd name="connsiteX165" fmla="*/ 2976880 w 3505200"/>
              <a:gd name="connsiteY165" fmla="*/ 2763520 h 8260080"/>
              <a:gd name="connsiteX166" fmla="*/ 2794000 w 3505200"/>
              <a:gd name="connsiteY166" fmla="*/ 2621280 h 8260080"/>
              <a:gd name="connsiteX167" fmla="*/ 2946400 w 3505200"/>
              <a:gd name="connsiteY167" fmla="*/ 2377440 h 8260080"/>
              <a:gd name="connsiteX168" fmla="*/ 2854960 w 3505200"/>
              <a:gd name="connsiteY168" fmla="*/ 2255520 h 8260080"/>
              <a:gd name="connsiteX169" fmla="*/ 3027680 w 3505200"/>
              <a:gd name="connsiteY169" fmla="*/ 2113280 h 8260080"/>
              <a:gd name="connsiteX170" fmla="*/ 3119120 w 3505200"/>
              <a:gd name="connsiteY170" fmla="*/ 2021840 h 8260080"/>
              <a:gd name="connsiteX171" fmla="*/ 3027680 w 3505200"/>
              <a:gd name="connsiteY171" fmla="*/ 1960880 h 8260080"/>
              <a:gd name="connsiteX172" fmla="*/ 3139440 w 3505200"/>
              <a:gd name="connsiteY172" fmla="*/ 1869440 h 8260080"/>
              <a:gd name="connsiteX173" fmla="*/ 3281680 w 3505200"/>
              <a:gd name="connsiteY173" fmla="*/ 1950720 h 8260080"/>
              <a:gd name="connsiteX174" fmla="*/ 3403600 w 3505200"/>
              <a:gd name="connsiteY174" fmla="*/ 1889760 h 8260080"/>
              <a:gd name="connsiteX175" fmla="*/ 3505200 w 3505200"/>
              <a:gd name="connsiteY175" fmla="*/ 1910080 h 8260080"/>
              <a:gd name="connsiteX176" fmla="*/ 3444240 w 3505200"/>
              <a:gd name="connsiteY176" fmla="*/ 1656080 h 8260080"/>
              <a:gd name="connsiteX177" fmla="*/ 3373120 w 3505200"/>
              <a:gd name="connsiteY177" fmla="*/ 1635760 h 8260080"/>
              <a:gd name="connsiteX178" fmla="*/ 3352800 w 3505200"/>
              <a:gd name="connsiteY178" fmla="*/ 1503680 h 8260080"/>
              <a:gd name="connsiteX179" fmla="*/ 3444240 w 3505200"/>
              <a:gd name="connsiteY179" fmla="*/ 1412240 h 8260080"/>
              <a:gd name="connsiteX180" fmla="*/ 3393440 w 3505200"/>
              <a:gd name="connsiteY180" fmla="*/ 1280160 h 8260080"/>
              <a:gd name="connsiteX181" fmla="*/ 3434080 w 3505200"/>
              <a:gd name="connsiteY181" fmla="*/ 1249680 h 8260080"/>
              <a:gd name="connsiteX182" fmla="*/ 3281680 w 3505200"/>
              <a:gd name="connsiteY182" fmla="*/ 1066800 h 8260080"/>
              <a:gd name="connsiteX183" fmla="*/ 3383280 w 3505200"/>
              <a:gd name="connsiteY183" fmla="*/ 975360 h 8260080"/>
              <a:gd name="connsiteX184" fmla="*/ 3302000 w 3505200"/>
              <a:gd name="connsiteY184" fmla="*/ 924560 h 8260080"/>
              <a:gd name="connsiteX185" fmla="*/ 3190240 w 3505200"/>
              <a:gd name="connsiteY185" fmla="*/ 944880 h 8260080"/>
              <a:gd name="connsiteX186" fmla="*/ 3281680 w 3505200"/>
              <a:gd name="connsiteY186" fmla="*/ 792480 h 8260080"/>
              <a:gd name="connsiteX187" fmla="*/ 3210560 w 3505200"/>
              <a:gd name="connsiteY187" fmla="*/ 650240 h 8260080"/>
              <a:gd name="connsiteX188" fmla="*/ 3302000 w 3505200"/>
              <a:gd name="connsiteY188" fmla="*/ 568960 h 8260080"/>
              <a:gd name="connsiteX189" fmla="*/ 3190240 w 3505200"/>
              <a:gd name="connsiteY189" fmla="*/ 487680 h 8260080"/>
              <a:gd name="connsiteX190" fmla="*/ 3108960 w 3505200"/>
              <a:gd name="connsiteY190" fmla="*/ 528320 h 8260080"/>
              <a:gd name="connsiteX191" fmla="*/ 3108960 w 3505200"/>
              <a:gd name="connsiteY191" fmla="*/ 406400 h 8260080"/>
              <a:gd name="connsiteX192" fmla="*/ 2926080 w 3505200"/>
              <a:gd name="connsiteY192" fmla="*/ 314960 h 8260080"/>
              <a:gd name="connsiteX193" fmla="*/ 2834640 w 3505200"/>
              <a:gd name="connsiteY193" fmla="*/ 355600 h 8260080"/>
              <a:gd name="connsiteX194" fmla="*/ 2682240 w 3505200"/>
              <a:gd name="connsiteY194" fmla="*/ 111760 h 8260080"/>
              <a:gd name="connsiteX195" fmla="*/ 2590800 w 3505200"/>
              <a:gd name="connsiteY195" fmla="*/ 121920 h 8260080"/>
              <a:gd name="connsiteX196" fmla="*/ 2611120 w 3505200"/>
              <a:gd name="connsiteY196" fmla="*/ 0 h 8260080"/>
              <a:gd name="connsiteX197" fmla="*/ 2438400 w 3505200"/>
              <a:gd name="connsiteY197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271463 w 3505200"/>
              <a:gd name="connsiteY77" fmla="*/ 7030085 h 8260080"/>
              <a:gd name="connsiteX78" fmla="*/ 280829 w 3505200"/>
              <a:gd name="connsiteY78" fmla="*/ 7148354 h 8260080"/>
              <a:gd name="connsiteX79" fmla="*/ 242962 w 3505200"/>
              <a:gd name="connsiteY79" fmla="*/ 7226746 h 8260080"/>
              <a:gd name="connsiteX80" fmla="*/ 282892 w 3505200"/>
              <a:gd name="connsiteY80" fmla="*/ 7300436 h 8260080"/>
              <a:gd name="connsiteX81" fmla="*/ 334645 w 3505200"/>
              <a:gd name="connsiteY81" fmla="*/ 7194709 h 8260080"/>
              <a:gd name="connsiteX82" fmla="*/ 354881 w 3505200"/>
              <a:gd name="connsiteY82" fmla="*/ 7257702 h 8260080"/>
              <a:gd name="connsiteX83" fmla="*/ 337026 w 3505200"/>
              <a:gd name="connsiteY83" fmla="*/ 7316154 h 8260080"/>
              <a:gd name="connsiteX84" fmla="*/ 370364 w 3505200"/>
              <a:gd name="connsiteY84" fmla="*/ 7360602 h 8260080"/>
              <a:gd name="connsiteX85" fmla="*/ 447040 w 3505200"/>
              <a:gd name="connsiteY85" fmla="*/ 7366000 h 8260080"/>
              <a:gd name="connsiteX86" fmla="*/ 447040 w 3505200"/>
              <a:gd name="connsiteY86" fmla="*/ 7477760 h 8260080"/>
              <a:gd name="connsiteX87" fmla="*/ 558800 w 3505200"/>
              <a:gd name="connsiteY87" fmla="*/ 7528560 h 8260080"/>
              <a:gd name="connsiteX88" fmla="*/ 508000 w 3505200"/>
              <a:gd name="connsiteY88" fmla="*/ 7630160 h 8260080"/>
              <a:gd name="connsiteX89" fmla="*/ 436880 w 3505200"/>
              <a:gd name="connsiteY89" fmla="*/ 7609840 h 8260080"/>
              <a:gd name="connsiteX90" fmla="*/ 447040 w 3505200"/>
              <a:gd name="connsiteY90" fmla="*/ 7691120 h 8260080"/>
              <a:gd name="connsiteX91" fmla="*/ 518160 w 3505200"/>
              <a:gd name="connsiteY91" fmla="*/ 7741920 h 8260080"/>
              <a:gd name="connsiteX92" fmla="*/ 457200 w 3505200"/>
              <a:gd name="connsiteY92" fmla="*/ 7792720 h 8260080"/>
              <a:gd name="connsiteX93" fmla="*/ 396240 w 3505200"/>
              <a:gd name="connsiteY93" fmla="*/ 7701280 h 8260080"/>
              <a:gd name="connsiteX94" fmla="*/ 396240 w 3505200"/>
              <a:gd name="connsiteY94" fmla="*/ 7701280 h 8260080"/>
              <a:gd name="connsiteX95" fmla="*/ 436880 w 3505200"/>
              <a:gd name="connsiteY95" fmla="*/ 7874000 h 8260080"/>
              <a:gd name="connsiteX96" fmla="*/ 436880 w 3505200"/>
              <a:gd name="connsiteY96" fmla="*/ 7924800 h 8260080"/>
              <a:gd name="connsiteX97" fmla="*/ 548640 w 3505200"/>
              <a:gd name="connsiteY97" fmla="*/ 7965440 h 8260080"/>
              <a:gd name="connsiteX98" fmla="*/ 508000 w 3505200"/>
              <a:gd name="connsiteY98" fmla="*/ 8016240 h 8260080"/>
              <a:gd name="connsiteX99" fmla="*/ 589280 w 3505200"/>
              <a:gd name="connsiteY99" fmla="*/ 8056880 h 8260080"/>
              <a:gd name="connsiteX100" fmla="*/ 497840 w 3505200"/>
              <a:gd name="connsiteY100" fmla="*/ 8117840 h 8260080"/>
              <a:gd name="connsiteX101" fmla="*/ 518160 w 3505200"/>
              <a:gd name="connsiteY101" fmla="*/ 8209280 h 8260080"/>
              <a:gd name="connsiteX102" fmla="*/ 640080 w 3505200"/>
              <a:gd name="connsiteY102" fmla="*/ 8260080 h 8260080"/>
              <a:gd name="connsiteX103" fmla="*/ 731520 w 3505200"/>
              <a:gd name="connsiteY103" fmla="*/ 8219440 h 8260080"/>
              <a:gd name="connsiteX104" fmla="*/ 853440 w 3505200"/>
              <a:gd name="connsiteY104" fmla="*/ 8209280 h 8260080"/>
              <a:gd name="connsiteX105" fmla="*/ 955040 w 3505200"/>
              <a:gd name="connsiteY105" fmla="*/ 8260080 h 8260080"/>
              <a:gd name="connsiteX106" fmla="*/ 965200 w 3505200"/>
              <a:gd name="connsiteY106" fmla="*/ 8107680 h 8260080"/>
              <a:gd name="connsiteX107" fmla="*/ 894080 w 3505200"/>
              <a:gd name="connsiteY107" fmla="*/ 8026400 h 8260080"/>
              <a:gd name="connsiteX108" fmla="*/ 1016000 w 3505200"/>
              <a:gd name="connsiteY108" fmla="*/ 7863840 h 8260080"/>
              <a:gd name="connsiteX109" fmla="*/ 1107440 w 3505200"/>
              <a:gd name="connsiteY109" fmla="*/ 7894320 h 8260080"/>
              <a:gd name="connsiteX110" fmla="*/ 1127760 w 3505200"/>
              <a:gd name="connsiteY110" fmla="*/ 7853680 h 8260080"/>
              <a:gd name="connsiteX111" fmla="*/ 1066800 w 3505200"/>
              <a:gd name="connsiteY111" fmla="*/ 7813040 h 8260080"/>
              <a:gd name="connsiteX112" fmla="*/ 1137920 w 3505200"/>
              <a:gd name="connsiteY112" fmla="*/ 7762240 h 8260080"/>
              <a:gd name="connsiteX113" fmla="*/ 1330960 w 3505200"/>
              <a:gd name="connsiteY113" fmla="*/ 7802880 h 8260080"/>
              <a:gd name="connsiteX114" fmla="*/ 1361440 w 3505200"/>
              <a:gd name="connsiteY114" fmla="*/ 7772400 h 8260080"/>
              <a:gd name="connsiteX115" fmla="*/ 1483360 w 3505200"/>
              <a:gd name="connsiteY115" fmla="*/ 7823200 h 8260080"/>
              <a:gd name="connsiteX116" fmla="*/ 1554480 w 3505200"/>
              <a:gd name="connsiteY116" fmla="*/ 7731760 h 8260080"/>
              <a:gd name="connsiteX117" fmla="*/ 1524000 w 3505200"/>
              <a:gd name="connsiteY117" fmla="*/ 7640320 h 8260080"/>
              <a:gd name="connsiteX118" fmla="*/ 1645920 w 3505200"/>
              <a:gd name="connsiteY118" fmla="*/ 7437120 h 8260080"/>
              <a:gd name="connsiteX119" fmla="*/ 1635760 w 3505200"/>
              <a:gd name="connsiteY119" fmla="*/ 7335520 h 8260080"/>
              <a:gd name="connsiteX120" fmla="*/ 1696720 w 3505200"/>
              <a:gd name="connsiteY120" fmla="*/ 7223760 h 8260080"/>
              <a:gd name="connsiteX121" fmla="*/ 1625600 w 3505200"/>
              <a:gd name="connsiteY121" fmla="*/ 7172960 h 8260080"/>
              <a:gd name="connsiteX122" fmla="*/ 1747520 w 3505200"/>
              <a:gd name="connsiteY122" fmla="*/ 6990080 h 8260080"/>
              <a:gd name="connsiteX123" fmla="*/ 1666240 w 3505200"/>
              <a:gd name="connsiteY123" fmla="*/ 6939280 h 8260080"/>
              <a:gd name="connsiteX124" fmla="*/ 1737360 w 3505200"/>
              <a:gd name="connsiteY124" fmla="*/ 6888480 h 8260080"/>
              <a:gd name="connsiteX125" fmla="*/ 1645920 w 3505200"/>
              <a:gd name="connsiteY125" fmla="*/ 6776720 h 8260080"/>
              <a:gd name="connsiteX126" fmla="*/ 1808480 w 3505200"/>
              <a:gd name="connsiteY126" fmla="*/ 6715760 h 8260080"/>
              <a:gd name="connsiteX127" fmla="*/ 1727200 w 3505200"/>
              <a:gd name="connsiteY127" fmla="*/ 6614160 h 8260080"/>
              <a:gd name="connsiteX128" fmla="*/ 1686560 w 3505200"/>
              <a:gd name="connsiteY128" fmla="*/ 6421120 h 8260080"/>
              <a:gd name="connsiteX129" fmla="*/ 1889760 w 3505200"/>
              <a:gd name="connsiteY129" fmla="*/ 6299200 h 8260080"/>
              <a:gd name="connsiteX130" fmla="*/ 1940560 w 3505200"/>
              <a:gd name="connsiteY130" fmla="*/ 6228080 h 8260080"/>
              <a:gd name="connsiteX131" fmla="*/ 2032000 w 3505200"/>
              <a:gd name="connsiteY131" fmla="*/ 6136640 h 8260080"/>
              <a:gd name="connsiteX132" fmla="*/ 2011680 w 3505200"/>
              <a:gd name="connsiteY132" fmla="*/ 6014720 h 8260080"/>
              <a:gd name="connsiteX133" fmla="*/ 2123440 w 3505200"/>
              <a:gd name="connsiteY133" fmla="*/ 6065520 h 8260080"/>
              <a:gd name="connsiteX134" fmla="*/ 2092960 w 3505200"/>
              <a:gd name="connsiteY134" fmla="*/ 6167120 h 8260080"/>
              <a:gd name="connsiteX135" fmla="*/ 2286000 w 3505200"/>
              <a:gd name="connsiteY135" fmla="*/ 5933440 h 8260080"/>
              <a:gd name="connsiteX136" fmla="*/ 2255520 w 3505200"/>
              <a:gd name="connsiteY136" fmla="*/ 5801360 h 8260080"/>
              <a:gd name="connsiteX137" fmla="*/ 2448560 w 3505200"/>
              <a:gd name="connsiteY137" fmla="*/ 5598160 h 8260080"/>
              <a:gd name="connsiteX138" fmla="*/ 2357120 w 3505200"/>
              <a:gd name="connsiteY138" fmla="*/ 5435600 h 8260080"/>
              <a:gd name="connsiteX139" fmla="*/ 2225040 w 3505200"/>
              <a:gd name="connsiteY139" fmla="*/ 5415280 h 8260080"/>
              <a:gd name="connsiteX140" fmla="*/ 2103120 w 3505200"/>
              <a:gd name="connsiteY140" fmla="*/ 5222240 h 8260080"/>
              <a:gd name="connsiteX141" fmla="*/ 2092960 w 3505200"/>
              <a:gd name="connsiteY141" fmla="*/ 5110480 h 8260080"/>
              <a:gd name="connsiteX142" fmla="*/ 2052320 w 3505200"/>
              <a:gd name="connsiteY142" fmla="*/ 5151120 h 8260080"/>
              <a:gd name="connsiteX143" fmla="*/ 2042160 w 3505200"/>
              <a:gd name="connsiteY143" fmla="*/ 5242560 h 8260080"/>
              <a:gd name="connsiteX144" fmla="*/ 1981200 w 3505200"/>
              <a:gd name="connsiteY144" fmla="*/ 5191760 h 8260080"/>
              <a:gd name="connsiteX145" fmla="*/ 2011680 w 3505200"/>
              <a:gd name="connsiteY145" fmla="*/ 5120640 h 8260080"/>
              <a:gd name="connsiteX146" fmla="*/ 1930400 w 3505200"/>
              <a:gd name="connsiteY146" fmla="*/ 5100320 h 8260080"/>
              <a:gd name="connsiteX147" fmla="*/ 1859280 w 3505200"/>
              <a:gd name="connsiteY147" fmla="*/ 4917440 h 8260080"/>
              <a:gd name="connsiteX148" fmla="*/ 1828800 w 3505200"/>
              <a:gd name="connsiteY148" fmla="*/ 4622800 h 8260080"/>
              <a:gd name="connsiteX149" fmla="*/ 1910080 w 3505200"/>
              <a:gd name="connsiteY149" fmla="*/ 4419600 h 8260080"/>
              <a:gd name="connsiteX150" fmla="*/ 1920240 w 3505200"/>
              <a:gd name="connsiteY150" fmla="*/ 4277360 h 8260080"/>
              <a:gd name="connsiteX151" fmla="*/ 1971040 w 3505200"/>
              <a:gd name="connsiteY151" fmla="*/ 4124960 h 8260080"/>
              <a:gd name="connsiteX152" fmla="*/ 1879600 w 3505200"/>
              <a:gd name="connsiteY152" fmla="*/ 4023360 h 8260080"/>
              <a:gd name="connsiteX153" fmla="*/ 2072640 w 3505200"/>
              <a:gd name="connsiteY153" fmla="*/ 4003040 h 8260080"/>
              <a:gd name="connsiteX154" fmla="*/ 2092960 w 3505200"/>
              <a:gd name="connsiteY154" fmla="*/ 3850640 h 8260080"/>
              <a:gd name="connsiteX155" fmla="*/ 2001520 w 3505200"/>
              <a:gd name="connsiteY155" fmla="*/ 3728720 h 8260080"/>
              <a:gd name="connsiteX156" fmla="*/ 2164080 w 3505200"/>
              <a:gd name="connsiteY156" fmla="*/ 3769360 h 8260080"/>
              <a:gd name="connsiteX157" fmla="*/ 2265680 w 3505200"/>
              <a:gd name="connsiteY157" fmla="*/ 3566160 h 8260080"/>
              <a:gd name="connsiteX158" fmla="*/ 2336800 w 3505200"/>
              <a:gd name="connsiteY158" fmla="*/ 3515360 h 8260080"/>
              <a:gd name="connsiteX159" fmla="*/ 2367280 w 3505200"/>
              <a:gd name="connsiteY159" fmla="*/ 3362960 h 8260080"/>
              <a:gd name="connsiteX160" fmla="*/ 2489200 w 3505200"/>
              <a:gd name="connsiteY160" fmla="*/ 3423920 h 8260080"/>
              <a:gd name="connsiteX161" fmla="*/ 2560320 w 3505200"/>
              <a:gd name="connsiteY161" fmla="*/ 3302000 h 8260080"/>
              <a:gd name="connsiteX162" fmla="*/ 2743200 w 3505200"/>
              <a:gd name="connsiteY162" fmla="*/ 3149600 h 8260080"/>
              <a:gd name="connsiteX163" fmla="*/ 2844800 w 3505200"/>
              <a:gd name="connsiteY163" fmla="*/ 3088640 h 8260080"/>
              <a:gd name="connsiteX164" fmla="*/ 2804160 w 3505200"/>
              <a:gd name="connsiteY164" fmla="*/ 2966720 h 8260080"/>
              <a:gd name="connsiteX165" fmla="*/ 2976880 w 3505200"/>
              <a:gd name="connsiteY165" fmla="*/ 2763520 h 8260080"/>
              <a:gd name="connsiteX166" fmla="*/ 2794000 w 3505200"/>
              <a:gd name="connsiteY166" fmla="*/ 2621280 h 8260080"/>
              <a:gd name="connsiteX167" fmla="*/ 2946400 w 3505200"/>
              <a:gd name="connsiteY167" fmla="*/ 2377440 h 8260080"/>
              <a:gd name="connsiteX168" fmla="*/ 2854960 w 3505200"/>
              <a:gd name="connsiteY168" fmla="*/ 2255520 h 8260080"/>
              <a:gd name="connsiteX169" fmla="*/ 3027680 w 3505200"/>
              <a:gd name="connsiteY169" fmla="*/ 2113280 h 8260080"/>
              <a:gd name="connsiteX170" fmla="*/ 3119120 w 3505200"/>
              <a:gd name="connsiteY170" fmla="*/ 2021840 h 8260080"/>
              <a:gd name="connsiteX171" fmla="*/ 3027680 w 3505200"/>
              <a:gd name="connsiteY171" fmla="*/ 1960880 h 8260080"/>
              <a:gd name="connsiteX172" fmla="*/ 3139440 w 3505200"/>
              <a:gd name="connsiteY172" fmla="*/ 1869440 h 8260080"/>
              <a:gd name="connsiteX173" fmla="*/ 3281680 w 3505200"/>
              <a:gd name="connsiteY173" fmla="*/ 1950720 h 8260080"/>
              <a:gd name="connsiteX174" fmla="*/ 3403600 w 3505200"/>
              <a:gd name="connsiteY174" fmla="*/ 1889760 h 8260080"/>
              <a:gd name="connsiteX175" fmla="*/ 3505200 w 3505200"/>
              <a:gd name="connsiteY175" fmla="*/ 1910080 h 8260080"/>
              <a:gd name="connsiteX176" fmla="*/ 3444240 w 3505200"/>
              <a:gd name="connsiteY176" fmla="*/ 1656080 h 8260080"/>
              <a:gd name="connsiteX177" fmla="*/ 3373120 w 3505200"/>
              <a:gd name="connsiteY177" fmla="*/ 1635760 h 8260080"/>
              <a:gd name="connsiteX178" fmla="*/ 3352800 w 3505200"/>
              <a:gd name="connsiteY178" fmla="*/ 1503680 h 8260080"/>
              <a:gd name="connsiteX179" fmla="*/ 3444240 w 3505200"/>
              <a:gd name="connsiteY179" fmla="*/ 1412240 h 8260080"/>
              <a:gd name="connsiteX180" fmla="*/ 3393440 w 3505200"/>
              <a:gd name="connsiteY180" fmla="*/ 1280160 h 8260080"/>
              <a:gd name="connsiteX181" fmla="*/ 3434080 w 3505200"/>
              <a:gd name="connsiteY181" fmla="*/ 1249680 h 8260080"/>
              <a:gd name="connsiteX182" fmla="*/ 3281680 w 3505200"/>
              <a:gd name="connsiteY182" fmla="*/ 1066800 h 8260080"/>
              <a:gd name="connsiteX183" fmla="*/ 3383280 w 3505200"/>
              <a:gd name="connsiteY183" fmla="*/ 975360 h 8260080"/>
              <a:gd name="connsiteX184" fmla="*/ 3302000 w 3505200"/>
              <a:gd name="connsiteY184" fmla="*/ 924560 h 8260080"/>
              <a:gd name="connsiteX185" fmla="*/ 3190240 w 3505200"/>
              <a:gd name="connsiteY185" fmla="*/ 944880 h 8260080"/>
              <a:gd name="connsiteX186" fmla="*/ 3281680 w 3505200"/>
              <a:gd name="connsiteY186" fmla="*/ 792480 h 8260080"/>
              <a:gd name="connsiteX187" fmla="*/ 3210560 w 3505200"/>
              <a:gd name="connsiteY187" fmla="*/ 650240 h 8260080"/>
              <a:gd name="connsiteX188" fmla="*/ 3302000 w 3505200"/>
              <a:gd name="connsiteY188" fmla="*/ 568960 h 8260080"/>
              <a:gd name="connsiteX189" fmla="*/ 3190240 w 3505200"/>
              <a:gd name="connsiteY189" fmla="*/ 487680 h 8260080"/>
              <a:gd name="connsiteX190" fmla="*/ 3108960 w 3505200"/>
              <a:gd name="connsiteY190" fmla="*/ 528320 h 8260080"/>
              <a:gd name="connsiteX191" fmla="*/ 3108960 w 3505200"/>
              <a:gd name="connsiteY191" fmla="*/ 406400 h 8260080"/>
              <a:gd name="connsiteX192" fmla="*/ 2926080 w 3505200"/>
              <a:gd name="connsiteY192" fmla="*/ 314960 h 8260080"/>
              <a:gd name="connsiteX193" fmla="*/ 2834640 w 3505200"/>
              <a:gd name="connsiteY193" fmla="*/ 355600 h 8260080"/>
              <a:gd name="connsiteX194" fmla="*/ 2682240 w 3505200"/>
              <a:gd name="connsiteY194" fmla="*/ 111760 h 8260080"/>
              <a:gd name="connsiteX195" fmla="*/ 2590800 w 3505200"/>
              <a:gd name="connsiteY195" fmla="*/ 121920 h 8260080"/>
              <a:gd name="connsiteX196" fmla="*/ 2611120 w 3505200"/>
              <a:gd name="connsiteY196" fmla="*/ 0 h 8260080"/>
              <a:gd name="connsiteX197" fmla="*/ 2438400 w 3505200"/>
              <a:gd name="connsiteY197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271463 w 3505200"/>
              <a:gd name="connsiteY77" fmla="*/ 7030085 h 8260080"/>
              <a:gd name="connsiteX78" fmla="*/ 280829 w 3505200"/>
              <a:gd name="connsiteY78" fmla="*/ 7148354 h 8260080"/>
              <a:gd name="connsiteX79" fmla="*/ 242962 w 3505200"/>
              <a:gd name="connsiteY79" fmla="*/ 7226746 h 8260080"/>
              <a:gd name="connsiteX80" fmla="*/ 282892 w 3505200"/>
              <a:gd name="connsiteY80" fmla="*/ 7300436 h 8260080"/>
              <a:gd name="connsiteX81" fmla="*/ 334645 w 3505200"/>
              <a:gd name="connsiteY81" fmla="*/ 7194709 h 8260080"/>
              <a:gd name="connsiteX82" fmla="*/ 354881 w 3505200"/>
              <a:gd name="connsiteY82" fmla="*/ 7257702 h 8260080"/>
              <a:gd name="connsiteX83" fmla="*/ 337026 w 3505200"/>
              <a:gd name="connsiteY83" fmla="*/ 7316154 h 8260080"/>
              <a:gd name="connsiteX84" fmla="*/ 370364 w 3505200"/>
              <a:gd name="connsiteY84" fmla="*/ 7360602 h 8260080"/>
              <a:gd name="connsiteX85" fmla="*/ 447040 w 3505200"/>
              <a:gd name="connsiteY85" fmla="*/ 7366000 h 8260080"/>
              <a:gd name="connsiteX86" fmla="*/ 447040 w 3505200"/>
              <a:gd name="connsiteY86" fmla="*/ 7477760 h 8260080"/>
              <a:gd name="connsiteX87" fmla="*/ 558800 w 3505200"/>
              <a:gd name="connsiteY87" fmla="*/ 7528560 h 8260080"/>
              <a:gd name="connsiteX88" fmla="*/ 508000 w 3505200"/>
              <a:gd name="connsiteY88" fmla="*/ 7630160 h 8260080"/>
              <a:gd name="connsiteX89" fmla="*/ 436880 w 3505200"/>
              <a:gd name="connsiteY89" fmla="*/ 7609840 h 8260080"/>
              <a:gd name="connsiteX90" fmla="*/ 447040 w 3505200"/>
              <a:gd name="connsiteY90" fmla="*/ 7691120 h 8260080"/>
              <a:gd name="connsiteX91" fmla="*/ 518160 w 3505200"/>
              <a:gd name="connsiteY91" fmla="*/ 7741920 h 8260080"/>
              <a:gd name="connsiteX92" fmla="*/ 457200 w 3505200"/>
              <a:gd name="connsiteY92" fmla="*/ 7792720 h 8260080"/>
              <a:gd name="connsiteX93" fmla="*/ 396240 w 3505200"/>
              <a:gd name="connsiteY93" fmla="*/ 7701280 h 8260080"/>
              <a:gd name="connsiteX94" fmla="*/ 396240 w 3505200"/>
              <a:gd name="connsiteY94" fmla="*/ 7701280 h 8260080"/>
              <a:gd name="connsiteX95" fmla="*/ 436880 w 3505200"/>
              <a:gd name="connsiteY95" fmla="*/ 7874000 h 8260080"/>
              <a:gd name="connsiteX96" fmla="*/ 436880 w 3505200"/>
              <a:gd name="connsiteY96" fmla="*/ 7924800 h 8260080"/>
              <a:gd name="connsiteX97" fmla="*/ 548640 w 3505200"/>
              <a:gd name="connsiteY97" fmla="*/ 7965440 h 8260080"/>
              <a:gd name="connsiteX98" fmla="*/ 508000 w 3505200"/>
              <a:gd name="connsiteY98" fmla="*/ 8016240 h 8260080"/>
              <a:gd name="connsiteX99" fmla="*/ 589280 w 3505200"/>
              <a:gd name="connsiteY99" fmla="*/ 8056880 h 8260080"/>
              <a:gd name="connsiteX100" fmla="*/ 497840 w 3505200"/>
              <a:gd name="connsiteY100" fmla="*/ 8117840 h 8260080"/>
              <a:gd name="connsiteX101" fmla="*/ 518160 w 3505200"/>
              <a:gd name="connsiteY101" fmla="*/ 8209280 h 8260080"/>
              <a:gd name="connsiteX102" fmla="*/ 640080 w 3505200"/>
              <a:gd name="connsiteY102" fmla="*/ 8260080 h 8260080"/>
              <a:gd name="connsiteX103" fmla="*/ 731520 w 3505200"/>
              <a:gd name="connsiteY103" fmla="*/ 8219440 h 8260080"/>
              <a:gd name="connsiteX104" fmla="*/ 853440 w 3505200"/>
              <a:gd name="connsiteY104" fmla="*/ 8209280 h 8260080"/>
              <a:gd name="connsiteX105" fmla="*/ 955040 w 3505200"/>
              <a:gd name="connsiteY105" fmla="*/ 8260080 h 8260080"/>
              <a:gd name="connsiteX106" fmla="*/ 965200 w 3505200"/>
              <a:gd name="connsiteY106" fmla="*/ 8107680 h 8260080"/>
              <a:gd name="connsiteX107" fmla="*/ 894080 w 3505200"/>
              <a:gd name="connsiteY107" fmla="*/ 8026400 h 8260080"/>
              <a:gd name="connsiteX108" fmla="*/ 1016000 w 3505200"/>
              <a:gd name="connsiteY108" fmla="*/ 7863840 h 8260080"/>
              <a:gd name="connsiteX109" fmla="*/ 1107440 w 3505200"/>
              <a:gd name="connsiteY109" fmla="*/ 7894320 h 8260080"/>
              <a:gd name="connsiteX110" fmla="*/ 1127760 w 3505200"/>
              <a:gd name="connsiteY110" fmla="*/ 7853680 h 8260080"/>
              <a:gd name="connsiteX111" fmla="*/ 1066800 w 3505200"/>
              <a:gd name="connsiteY111" fmla="*/ 7813040 h 8260080"/>
              <a:gd name="connsiteX112" fmla="*/ 1137920 w 3505200"/>
              <a:gd name="connsiteY112" fmla="*/ 7762240 h 8260080"/>
              <a:gd name="connsiteX113" fmla="*/ 1330960 w 3505200"/>
              <a:gd name="connsiteY113" fmla="*/ 7802880 h 8260080"/>
              <a:gd name="connsiteX114" fmla="*/ 1361440 w 3505200"/>
              <a:gd name="connsiteY114" fmla="*/ 7772400 h 8260080"/>
              <a:gd name="connsiteX115" fmla="*/ 1483360 w 3505200"/>
              <a:gd name="connsiteY115" fmla="*/ 7823200 h 8260080"/>
              <a:gd name="connsiteX116" fmla="*/ 1554480 w 3505200"/>
              <a:gd name="connsiteY116" fmla="*/ 7731760 h 8260080"/>
              <a:gd name="connsiteX117" fmla="*/ 1524000 w 3505200"/>
              <a:gd name="connsiteY117" fmla="*/ 7640320 h 8260080"/>
              <a:gd name="connsiteX118" fmla="*/ 1645920 w 3505200"/>
              <a:gd name="connsiteY118" fmla="*/ 7437120 h 8260080"/>
              <a:gd name="connsiteX119" fmla="*/ 1635760 w 3505200"/>
              <a:gd name="connsiteY119" fmla="*/ 7335520 h 8260080"/>
              <a:gd name="connsiteX120" fmla="*/ 1696720 w 3505200"/>
              <a:gd name="connsiteY120" fmla="*/ 7223760 h 8260080"/>
              <a:gd name="connsiteX121" fmla="*/ 1625600 w 3505200"/>
              <a:gd name="connsiteY121" fmla="*/ 7172960 h 8260080"/>
              <a:gd name="connsiteX122" fmla="*/ 1747520 w 3505200"/>
              <a:gd name="connsiteY122" fmla="*/ 6990080 h 8260080"/>
              <a:gd name="connsiteX123" fmla="*/ 1666240 w 3505200"/>
              <a:gd name="connsiteY123" fmla="*/ 6939280 h 8260080"/>
              <a:gd name="connsiteX124" fmla="*/ 1737360 w 3505200"/>
              <a:gd name="connsiteY124" fmla="*/ 6888480 h 8260080"/>
              <a:gd name="connsiteX125" fmla="*/ 1645920 w 3505200"/>
              <a:gd name="connsiteY125" fmla="*/ 6776720 h 8260080"/>
              <a:gd name="connsiteX126" fmla="*/ 1808480 w 3505200"/>
              <a:gd name="connsiteY126" fmla="*/ 6715760 h 8260080"/>
              <a:gd name="connsiteX127" fmla="*/ 1727200 w 3505200"/>
              <a:gd name="connsiteY127" fmla="*/ 6614160 h 8260080"/>
              <a:gd name="connsiteX128" fmla="*/ 1686560 w 3505200"/>
              <a:gd name="connsiteY128" fmla="*/ 6421120 h 8260080"/>
              <a:gd name="connsiteX129" fmla="*/ 1889760 w 3505200"/>
              <a:gd name="connsiteY129" fmla="*/ 6299200 h 8260080"/>
              <a:gd name="connsiteX130" fmla="*/ 1940560 w 3505200"/>
              <a:gd name="connsiteY130" fmla="*/ 6228080 h 8260080"/>
              <a:gd name="connsiteX131" fmla="*/ 2032000 w 3505200"/>
              <a:gd name="connsiteY131" fmla="*/ 6136640 h 8260080"/>
              <a:gd name="connsiteX132" fmla="*/ 2011680 w 3505200"/>
              <a:gd name="connsiteY132" fmla="*/ 6014720 h 8260080"/>
              <a:gd name="connsiteX133" fmla="*/ 2123440 w 3505200"/>
              <a:gd name="connsiteY133" fmla="*/ 6065520 h 8260080"/>
              <a:gd name="connsiteX134" fmla="*/ 2092960 w 3505200"/>
              <a:gd name="connsiteY134" fmla="*/ 6167120 h 8260080"/>
              <a:gd name="connsiteX135" fmla="*/ 2286000 w 3505200"/>
              <a:gd name="connsiteY135" fmla="*/ 5933440 h 8260080"/>
              <a:gd name="connsiteX136" fmla="*/ 2255520 w 3505200"/>
              <a:gd name="connsiteY136" fmla="*/ 5801360 h 8260080"/>
              <a:gd name="connsiteX137" fmla="*/ 2448560 w 3505200"/>
              <a:gd name="connsiteY137" fmla="*/ 5598160 h 8260080"/>
              <a:gd name="connsiteX138" fmla="*/ 2357120 w 3505200"/>
              <a:gd name="connsiteY138" fmla="*/ 5435600 h 8260080"/>
              <a:gd name="connsiteX139" fmla="*/ 2225040 w 3505200"/>
              <a:gd name="connsiteY139" fmla="*/ 5415280 h 8260080"/>
              <a:gd name="connsiteX140" fmla="*/ 2103120 w 3505200"/>
              <a:gd name="connsiteY140" fmla="*/ 5222240 h 8260080"/>
              <a:gd name="connsiteX141" fmla="*/ 2092960 w 3505200"/>
              <a:gd name="connsiteY141" fmla="*/ 5110480 h 8260080"/>
              <a:gd name="connsiteX142" fmla="*/ 2052320 w 3505200"/>
              <a:gd name="connsiteY142" fmla="*/ 5151120 h 8260080"/>
              <a:gd name="connsiteX143" fmla="*/ 2042160 w 3505200"/>
              <a:gd name="connsiteY143" fmla="*/ 5242560 h 8260080"/>
              <a:gd name="connsiteX144" fmla="*/ 1981200 w 3505200"/>
              <a:gd name="connsiteY144" fmla="*/ 5191760 h 8260080"/>
              <a:gd name="connsiteX145" fmla="*/ 2011680 w 3505200"/>
              <a:gd name="connsiteY145" fmla="*/ 5120640 h 8260080"/>
              <a:gd name="connsiteX146" fmla="*/ 1930400 w 3505200"/>
              <a:gd name="connsiteY146" fmla="*/ 5100320 h 8260080"/>
              <a:gd name="connsiteX147" fmla="*/ 1859280 w 3505200"/>
              <a:gd name="connsiteY147" fmla="*/ 4917440 h 8260080"/>
              <a:gd name="connsiteX148" fmla="*/ 1828800 w 3505200"/>
              <a:gd name="connsiteY148" fmla="*/ 4622800 h 8260080"/>
              <a:gd name="connsiteX149" fmla="*/ 1910080 w 3505200"/>
              <a:gd name="connsiteY149" fmla="*/ 4419600 h 8260080"/>
              <a:gd name="connsiteX150" fmla="*/ 1920240 w 3505200"/>
              <a:gd name="connsiteY150" fmla="*/ 4277360 h 8260080"/>
              <a:gd name="connsiteX151" fmla="*/ 1971040 w 3505200"/>
              <a:gd name="connsiteY151" fmla="*/ 4124960 h 8260080"/>
              <a:gd name="connsiteX152" fmla="*/ 1879600 w 3505200"/>
              <a:gd name="connsiteY152" fmla="*/ 4023360 h 8260080"/>
              <a:gd name="connsiteX153" fmla="*/ 2072640 w 3505200"/>
              <a:gd name="connsiteY153" fmla="*/ 4003040 h 8260080"/>
              <a:gd name="connsiteX154" fmla="*/ 2092960 w 3505200"/>
              <a:gd name="connsiteY154" fmla="*/ 3850640 h 8260080"/>
              <a:gd name="connsiteX155" fmla="*/ 2001520 w 3505200"/>
              <a:gd name="connsiteY155" fmla="*/ 3728720 h 8260080"/>
              <a:gd name="connsiteX156" fmla="*/ 2164080 w 3505200"/>
              <a:gd name="connsiteY156" fmla="*/ 3769360 h 8260080"/>
              <a:gd name="connsiteX157" fmla="*/ 2265680 w 3505200"/>
              <a:gd name="connsiteY157" fmla="*/ 3566160 h 8260080"/>
              <a:gd name="connsiteX158" fmla="*/ 2336800 w 3505200"/>
              <a:gd name="connsiteY158" fmla="*/ 3515360 h 8260080"/>
              <a:gd name="connsiteX159" fmla="*/ 2367280 w 3505200"/>
              <a:gd name="connsiteY159" fmla="*/ 3362960 h 8260080"/>
              <a:gd name="connsiteX160" fmla="*/ 2489200 w 3505200"/>
              <a:gd name="connsiteY160" fmla="*/ 3423920 h 8260080"/>
              <a:gd name="connsiteX161" fmla="*/ 2560320 w 3505200"/>
              <a:gd name="connsiteY161" fmla="*/ 3302000 h 8260080"/>
              <a:gd name="connsiteX162" fmla="*/ 2743200 w 3505200"/>
              <a:gd name="connsiteY162" fmla="*/ 3149600 h 8260080"/>
              <a:gd name="connsiteX163" fmla="*/ 2844800 w 3505200"/>
              <a:gd name="connsiteY163" fmla="*/ 3088640 h 8260080"/>
              <a:gd name="connsiteX164" fmla="*/ 2804160 w 3505200"/>
              <a:gd name="connsiteY164" fmla="*/ 2966720 h 8260080"/>
              <a:gd name="connsiteX165" fmla="*/ 2976880 w 3505200"/>
              <a:gd name="connsiteY165" fmla="*/ 2763520 h 8260080"/>
              <a:gd name="connsiteX166" fmla="*/ 2794000 w 3505200"/>
              <a:gd name="connsiteY166" fmla="*/ 2621280 h 8260080"/>
              <a:gd name="connsiteX167" fmla="*/ 2946400 w 3505200"/>
              <a:gd name="connsiteY167" fmla="*/ 2377440 h 8260080"/>
              <a:gd name="connsiteX168" fmla="*/ 2854960 w 3505200"/>
              <a:gd name="connsiteY168" fmla="*/ 2255520 h 8260080"/>
              <a:gd name="connsiteX169" fmla="*/ 3027680 w 3505200"/>
              <a:gd name="connsiteY169" fmla="*/ 2113280 h 8260080"/>
              <a:gd name="connsiteX170" fmla="*/ 3119120 w 3505200"/>
              <a:gd name="connsiteY170" fmla="*/ 2021840 h 8260080"/>
              <a:gd name="connsiteX171" fmla="*/ 3027680 w 3505200"/>
              <a:gd name="connsiteY171" fmla="*/ 1960880 h 8260080"/>
              <a:gd name="connsiteX172" fmla="*/ 3139440 w 3505200"/>
              <a:gd name="connsiteY172" fmla="*/ 1869440 h 8260080"/>
              <a:gd name="connsiteX173" fmla="*/ 3281680 w 3505200"/>
              <a:gd name="connsiteY173" fmla="*/ 1950720 h 8260080"/>
              <a:gd name="connsiteX174" fmla="*/ 3403600 w 3505200"/>
              <a:gd name="connsiteY174" fmla="*/ 1889760 h 8260080"/>
              <a:gd name="connsiteX175" fmla="*/ 3505200 w 3505200"/>
              <a:gd name="connsiteY175" fmla="*/ 1910080 h 8260080"/>
              <a:gd name="connsiteX176" fmla="*/ 3444240 w 3505200"/>
              <a:gd name="connsiteY176" fmla="*/ 1656080 h 8260080"/>
              <a:gd name="connsiteX177" fmla="*/ 3373120 w 3505200"/>
              <a:gd name="connsiteY177" fmla="*/ 1635760 h 8260080"/>
              <a:gd name="connsiteX178" fmla="*/ 3352800 w 3505200"/>
              <a:gd name="connsiteY178" fmla="*/ 1503680 h 8260080"/>
              <a:gd name="connsiteX179" fmla="*/ 3444240 w 3505200"/>
              <a:gd name="connsiteY179" fmla="*/ 1412240 h 8260080"/>
              <a:gd name="connsiteX180" fmla="*/ 3393440 w 3505200"/>
              <a:gd name="connsiteY180" fmla="*/ 1280160 h 8260080"/>
              <a:gd name="connsiteX181" fmla="*/ 3434080 w 3505200"/>
              <a:gd name="connsiteY181" fmla="*/ 1249680 h 8260080"/>
              <a:gd name="connsiteX182" fmla="*/ 3281680 w 3505200"/>
              <a:gd name="connsiteY182" fmla="*/ 1066800 h 8260080"/>
              <a:gd name="connsiteX183" fmla="*/ 3383280 w 3505200"/>
              <a:gd name="connsiteY183" fmla="*/ 975360 h 8260080"/>
              <a:gd name="connsiteX184" fmla="*/ 3302000 w 3505200"/>
              <a:gd name="connsiteY184" fmla="*/ 924560 h 8260080"/>
              <a:gd name="connsiteX185" fmla="*/ 3190240 w 3505200"/>
              <a:gd name="connsiteY185" fmla="*/ 944880 h 8260080"/>
              <a:gd name="connsiteX186" fmla="*/ 3281680 w 3505200"/>
              <a:gd name="connsiteY186" fmla="*/ 792480 h 8260080"/>
              <a:gd name="connsiteX187" fmla="*/ 3210560 w 3505200"/>
              <a:gd name="connsiteY187" fmla="*/ 650240 h 8260080"/>
              <a:gd name="connsiteX188" fmla="*/ 3302000 w 3505200"/>
              <a:gd name="connsiteY188" fmla="*/ 568960 h 8260080"/>
              <a:gd name="connsiteX189" fmla="*/ 3190240 w 3505200"/>
              <a:gd name="connsiteY189" fmla="*/ 487680 h 8260080"/>
              <a:gd name="connsiteX190" fmla="*/ 3108960 w 3505200"/>
              <a:gd name="connsiteY190" fmla="*/ 528320 h 8260080"/>
              <a:gd name="connsiteX191" fmla="*/ 3108960 w 3505200"/>
              <a:gd name="connsiteY191" fmla="*/ 406400 h 8260080"/>
              <a:gd name="connsiteX192" fmla="*/ 2926080 w 3505200"/>
              <a:gd name="connsiteY192" fmla="*/ 314960 h 8260080"/>
              <a:gd name="connsiteX193" fmla="*/ 2834640 w 3505200"/>
              <a:gd name="connsiteY193" fmla="*/ 355600 h 8260080"/>
              <a:gd name="connsiteX194" fmla="*/ 2682240 w 3505200"/>
              <a:gd name="connsiteY194" fmla="*/ 111760 h 8260080"/>
              <a:gd name="connsiteX195" fmla="*/ 2590800 w 3505200"/>
              <a:gd name="connsiteY195" fmla="*/ 121920 h 8260080"/>
              <a:gd name="connsiteX196" fmla="*/ 2611120 w 3505200"/>
              <a:gd name="connsiteY196" fmla="*/ 0 h 8260080"/>
              <a:gd name="connsiteX197" fmla="*/ 2438400 w 3505200"/>
              <a:gd name="connsiteY197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80829 w 3505200"/>
              <a:gd name="connsiteY78" fmla="*/ 7148354 h 8260080"/>
              <a:gd name="connsiteX79" fmla="*/ 242962 w 3505200"/>
              <a:gd name="connsiteY79" fmla="*/ 7226746 h 8260080"/>
              <a:gd name="connsiteX80" fmla="*/ 282892 w 3505200"/>
              <a:gd name="connsiteY80" fmla="*/ 7300436 h 8260080"/>
              <a:gd name="connsiteX81" fmla="*/ 334645 w 3505200"/>
              <a:gd name="connsiteY81" fmla="*/ 7194709 h 8260080"/>
              <a:gd name="connsiteX82" fmla="*/ 354881 w 3505200"/>
              <a:gd name="connsiteY82" fmla="*/ 7257702 h 8260080"/>
              <a:gd name="connsiteX83" fmla="*/ 337026 w 3505200"/>
              <a:gd name="connsiteY83" fmla="*/ 7316154 h 8260080"/>
              <a:gd name="connsiteX84" fmla="*/ 370364 w 3505200"/>
              <a:gd name="connsiteY84" fmla="*/ 7360602 h 8260080"/>
              <a:gd name="connsiteX85" fmla="*/ 447040 w 3505200"/>
              <a:gd name="connsiteY85" fmla="*/ 7366000 h 8260080"/>
              <a:gd name="connsiteX86" fmla="*/ 447040 w 3505200"/>
              <a:gd name="connsiteY86" fmla="*/ 7477760 h 8260080"/>
              <a:gd name="connsiteX87" fmla="*/ 558800 w 3505200"/>
              <a:gd name="connsiteY87" fmla="*/ 7528560 h 8260080"/>
              <a:gd name="connsiteX88" fmla="*/ 508000 w 3505200"/>
              <a:gd name="connsiteY88" fmla="*/ 7630160 h 8260080"/>
              <a:gd name="connsiteX89" fmla="*/ 436880 w 3505200"/>
              <a:gd name="connsiteY89" fmla="*/ 7609840 h 8260080"/>
              <a:gd name="connsiteX90" fmla="*/ 447040 w 3505200"/>
              <a:gd name="connsiteY90" fmla="*/ 7691120 h 8260080"/>
              <a:gd name="connsiteX91" fmla="*/ 518160 w 3505200"/>
              <a:gd name="connsiteY91" fmla="*/ 7741920 h 8260080"/>
              <a:gd name="connsiteX92" fmla="*/ 457200 w 3505200"/>
              <a:gd name="connsiteY92" fmla="*/ 7792720 h 8260080"/>
              <a:gd name="connsiteX93" fmla="*/ 396240 w 3505200"/>
              <a:gd name="connsiteY93" fmla="*/ 7701280 h 8260080"/>
              <a:gd name="connsiteX94" fmla="*/ 396240 w 3505200"/>
              <a:gd name="connsiteY94" fmla="*/ 7701280 h 8260080"/>
              <a:gd name="connsiteX95" fmla="*/ 436880 w 3505200"/>
              <a:gd name="connsiteY95" fmla="*/ 7874000 h 8260080"/>
              <a:gd name="connsiteX96" fmla="*/ 436880 w 3505200"/>
              <a:gd name="connsiteY96" fmla="*/ 7924800 h 8260080"/>
              <a:gd name="connsiteX97" fmla="*/ 548640 w 3505200"/>
              <a:gd name="connsiteY97" fmla="*/ 7965440 h 8260080"/>
              <a:gd name="connsiteX98" fmla="*/ 508000 w 3505200"/>
              <a:gd name="connsiteY98" fmla="*/ 8016240 h 8260080"/>
              <a:gd name="connsiteX99" fmla="*/ 589280 w 3505200"/>
              <a:gd name="connsiteY99" fmla="*/ 8056880 h 8260080"/>
              <a:gd name="connsiteX100" fmla="*/ 497840 w 3505200"/>
              <a:gd name="connsiteY100" fmla="*/ 8117840 h 8260080"/>
              <a:gd name="connsiteX101" fmla="*/ 518160 w 3505200"/>
              <a:gd name="connsiteY101" fmla="*/ 8209280 h 8260080"/>
              <a:gd name="connsiteX102" fmla="*/ 640080 w 3505200"/>
              <a:gd name="connsiteY102" fmla="*/ 8260080 h 8260080"/>
              <a:gd name="connsiteX103" fmla="*/ 731520 w 3505200"/>
              <a:gd name="connsiteY103" fmla="*/ 8219440 h 8260080"/>
              <a:gd name="connsiteX104" fmla="*/ 853440 w 3505200"/>
              <a:gd name="connsiteY104" fmla="*/ 8209280 h 8260080"/>
              <a:gd name="connsiteX105" fmla="*/ 955040 w 3505200"/>
              <a:gd name="connsiteY105" fmla="*/ 8260080 h 8260080"/>
              <a:gd name="connsiteX106" fmla="*/ 965200 w 3505200"/>
              <a:gd name="connsiteY106" fmla="*/ 8107680 h 8260080"/>
              <a:gd name="connsiteX107" fmla="*/ 894080 w 3505200"/>
              <a:gd name="connsiteY107" fmla="*/ 8026400 h 8260080"/>
              <a:gd name="connsiteX108" fmla="*/ 1016000 w 3505200"/>
              <a:gd name="connsiteY108" fmla="*/ 7863840 h 8260080"/>
              <a:gd name="connsiteX109" fmla="*/ 1107440 w 3505200"/>
              <a:gd name="connsiteY109" fmla="*/ 7894320 h 8260080"/>
              <a:gd name="connsiteX110" fmla="*/ 1127760 w 3505200"/>
              <a:gd name="connsiteY110" fmla="*/ 7853680 h 8260080"/>
              <a:gd name="connsiteX111" fmla="*/ 1066800 w 3505200"/>
              <a:gd name="connsiteY111" fmla="*/ 7813040 h 8260080"/>
              <a:gd name="connsiteX112" fmla="*/ 1137920 w 3505200"/>
              <a:gd name="connsiteY112" fmla="*/ 7762240 h 8260080"/>
              <a:gd name="connsiteX113" fmla="*/ 1330960 w 3505200"/>
              <a:gd name="connsiteY113" fmla="*/ 7802880 h 8260080"/>
              <a:gd name="connsiteX114" fmla="*/ 1361440 w 3505200"/>
              <a:gd name="connsiteY114" fmla="*/ 7772400 h 8260080"/>
              <a:gd name="connsiteX115" fmla="*/ 1483360 w 3505200"/>
              <a:gd name="connsiteY115" fmla="*/ 7823200 h 8260080"/>
              <a:gd name="connsiteX116" fmla="*/ 1554480 w 3505200"/>
              <a:gd name="connsiteY116" fmla="*/ 7731760 h 8260080"/>
              <a:gd name="connsiteX117" fmla="*/ 1524000 w 3505200"/>
              <a:gd name="connsiteY117" fmla="*/ 7640320 h 8260080"/>
              <a:gd name="connsiteX118" fmla="*/ 1645920 w 3505200"/>
              <a:gd name="connsiteY118" fmla="*/ 7437120 h 8260080"/>
              <a:gd name="connsiteX119" fmla="*/ 1635760 w 3505200"/>
              <a:gd name="connsiteY119" fmla="*/ 7335520 h 8260080"/>
              <a:gd name="connsiteX120" fmla="*/ 1696720 w 3505200"/>
              <a:gd name="connsiteY120" fmla="*/ 7223760 h 8260080"/>
              <a:gd name="connsiteX121" fmla="*/ 1625600 w 3505200"/>
              <a:gd name="connsiteY121" fmla="*/ 7172960 h 8260080"/>
              <a:gd name="connsiteX122" fmla="*/ 1747520 w 3505200"/>
              <a:gd name="connsiteY122" fmla="*/ 6990080 h 8260080"/>
              <a:gd name="connsiteX123" fmla="*/ 1666240 w 3505200"/>
              <a:gd name="connsiteY123" fmla="*/ 6939280 h 8260080"/>
              <a:gd name="connsiteX124" fmla="*/ 1737360 w 3505200"/>
              <a:gd name="connsiteY124" fmla="*/ 6888480 h 8260080"/>
              <a:gd name="connsiteX125" fmla="*/ 1645920 w 3505200"/>
              <a:gd name="connsiteY125" fmla="*/ 6776720 h 8260080"/>
              <a:gd name="connsiteX126" fmla="*/ 1808480 w 3505200"/>
              <a:gd name="connsiteY126" fmla="*/ 6715760 h 8260080"/>
              <a:gd name="connsiteX127" fmla="*/ 1727200 w 3505200"/>
              <a:gd name="connsiteY127" fmla="*/ 6614160 h 8260080"/>
              <a:gd name="connsiteX128" fmla="*/ 1686560 w 3505200"/>
              <a:gd name="connsiteY128" fmla="*/ 6421120 h 8260080"/>
              <a:gd name="connsiteX129" fmla="*/ 1889760 w 3505200"/>
              <a:gd name="connsiteY129" fmla="*/ 6299200 h 8260080"/>
              <a:gd name="connsiteX130" fmla="*/ 1940560 w 3505200"/>
              <a:gd name="connsiteY130" fmla="*/ 6228080 h 8260080"/>
              <a:gd name="connsiteX131" fmla="*/ 2032000 w 3505200"/>
              <a:gd name="connsiteY131" fmla="*/ 6136640 h 8260080"/>
              <a:gd name="connsiteX132" fmla="*/ 2011680 w 3505200"/>
              <a:gd name="connsiteY132" fmla="*/ 6014720 h 8260080"/>
              <a:gd name="connsiteX133" fmla="*/ 2123440 w 3505200"/>
              <a:gd name="connsiteY133" fmla="*/ 6065520 h 8260080"/>
              <a:gd name="connsiteX134" fmla="*/ 2092960 w 3505200"/>
              <a:gd name="connsiteY134" fmla="*/ 6167120 h 8260080"/>
              <a:gd name="connsiteX135" fmla="*/ 2286000 w 3505200"/>
              <a:gd name="connsiteY135" fmla="*/ 5933440 h 8260080"/>
              <a:gd name="connsiteX136" fmla="*/ 2255520 w 3505200"/>
              <a:gd name="connsiteY136" fmla="*/ 5801360 h 8260080"/>
              <a:gd name="connsiteX137" fmla="*/ 2448560 w 3505200"/>
              <a:gd name="connsiteY137" fmla="*/ 5598160 h 8260080"/>
              <a:gd name="connsiteX138" fmla="*/ 2357120 w 3505200"/>
              <a:gd name="connsiteY138" fmla="*/ 5435600 h 8260080"/>
              <a:gd name="connsiteX139" fmla="*/ 2225040 w 3505200"/>
              <a:gd name="connsiteY139" fmla="*/ 5415280 h 8260080"/>
              <a:gd name="connsiteX140" fmla="*/ 2103120 w 3505200"/>
              <a:gd name="connsiteY140" fmla="*/ 5222240 h 8260080"/>
              <a:gd name="connsiteX141" fmla="*/ 2092960 w 3505200"/>
              <a:gd name="connsiteY141" fmla="*/ 5110480 h 8260080"/>
              <a:gd name="connsiteX142" fmla="*/ 2052320 w 3505200"/>
              <a:gd name="connsiteY142" fmla="*/ 5151120 h 8260080"/>
              <a:gd name="connsiteX143" fmla="*/ 2042160 w 3505200"/>
              <a:gd name="connsiteY143" fmla="*/ 5242560 h 8260080"/>
              <a:gd name="connsiteX144" fmla="*/ 1981200 w 3505200"/>
              <a:gd name="connsiteY144" fmla="*/ 5191760 h 8260080"/>
              <a:gd name="connsiteX145" fmla="*/ 2011680 w 3505200"/>
              <a:gd name="connsiteY145" fmla="*/ 5120640 h 8260080"/>
              <a:gd name="connsiteX146" fmla="*/ 1930400 w 3505200"/>
              <a:gd name="connsiteY146" fmla="*/ 5100320 h 8260080"/>
              <a:gd name="connsiteX147" fmla="*/ 1859280 w 3505200"/>
              <a:gd name="connsiteY147" fmla="*/ 4917440 h 8260080"/>
              <a:gd name="connsiteX148" fmla="*/ 1828800 w 3505200"/>
              <a:gd name="connsiteY148" fmla="*/ 4622800 h 8260080"/>
              <a:gd name="connsiteX149" fmla="*/ 1910080 w 3505200"/>
              <a:gd name="connsiteY149" fmla="*/ 4419600 h 8260080"/>
              <a:gd name="connsiteX150" fmla="*/ 1920240 w 3505200"/>
              <a:gd name="connsiteY150" fmla="*/ 4277360 h 8260080"/>
              <a:gd name="connsiteX151" fmla="*/ 1971040 w 3505200"/>
              <a:gd name="connsiteY151" fmla="*/ 4124960 h 8260080"/>
              <a:gd name="connsiteX152" fmla="*/ 1879600 w 3505200"/>
              <a:gd name="connsiteY152" fmla="*/ 4023360 h 8260080"/>
              <a:gd name="connsiteX153" fmla="*/ 2072640 w 3505200"/>
              <a:gd name="connsiteY153" fmla="*/ 4003040 h 8260080"/>
              <a:gd name="connsiteX154" fmla="*/ 2092960 w 3505200"/>
              <a:gd name="connsiteY154" fmla="*/ 3850640 h 8260080"/>
              <a:gd name="connsiteX155" fmla="*/ 2001520 w 3505200"/>
              <a:gd name="connsiteY155" fmla="*/ 3728720 h 8260080"/>
              <a:gd name="connsiteX156" fmla="*/ 2164080 w 3505200"/>
              <a:gd name="connsiteY156" fmla="*/ 3769360 h 8260080"/>
              <a:gd name="connsiteX157" fmla="*/ 2265680 w 3505200"/>
              <a:gd name="connsiteY157" fmla="*/ 3566160 h 8260080"/>
              <a:gd name="connsiteX158" fmla="*/ 2336800 w 3505200"/>
              <a:gd name="connsiteY158" fmla="*/ 3515360 h 8260080"/>
              <a:gd name="connsiteX159" fmla="*/ 2367280 w 3505200"/>
              <a:gd name="connsiteY159" fmla="*/ 3362960 h 8260080"/>
              <a:gd name="connsiteX160" fmla="*/ 2489200 w 3505200"/>
              <a:gd name="connsiteY160" fmla="*/ 3423920 h 8260080"/>
              <a:gd name="connsiteX161" fmla="*/ 2560320 w 3505200"/>
              <a:gd name="connsiteY161" fmla="*/ 3302000 h 8260080"/>
              <a:gd name="connsiteX162" fmla="*/ 2743200 w 3505200"/>
              <a:gd name="connsiteY162" fmla="*/ 3149600 h 8260080"/>
              <a:gd name="connsiteX163" fmla="*/ 2844800 w 3505200"/>
              <a:gd name="connsiteY163" fmla="*/ 3088640 h 8260080"/>
              <a:gd name="connsiteX164" fmla="*/ 2804160 w 3505200"/>
              <a:gd name="connsiteY164" fmla="*/ 2966720 h 8260080"/>
              <a:gd name="connsiteX165" fmla="*/ 2976880 w 3505200"/>
              <a:gd name="connsiteY165" fmla="*/ 2763520 h 8260080"/>
              <a:gd name="connsiteX166" fmla="*/ 2794000 w 3505200"/>
              <a:gd name="connsiteY166" fmla="*/ 2621280 h 8260080"/>
              <a:gd name="connsiteX167" fmla="*/ 2946400 w 3505200"/>
              <a:gd name="connsiteY167" fmla="*/ 2377440 h 8260080"/>
              <a:gd name="connsiteX168" fmla="*/ 2854960 w 3505200"/>
              <a:gd name="connsiteY168" fmla="*/ 2255520 h 8260080"/>
              <a:gd name="connsiteX169" fmla="*/ 3027680 w 3505200"/>
              <a:gd name="connsiteY169" fmla="*/ 2113280 h 8260080"/>
              <a:gd name="connsiteX170" fmla="*/ 3119120 w 3505200"/>
              <a:gd name="connsiteY170" fmla="*/ 2021840 h 8260080"/>
              <a:gd name="connsiteX171" fmla="*/ 3027680 w 3505200"/>
              <a:gd name="connsiteY171" fmla="*/ 1960880 h 8260080"/>
              <a:gd name="connsiteX172" fmla="*/ 3139440 w 3505200"/>
              <a:gd name="connsiteY172" fmla="*/ 1869440 h 8260080"/>
              <a:gd name="connsiteX173" fmla="*/ 3281680 w 3505200"/>
              <a:gd name="connsiteY173" fmla="*/ 1950720 h 8260080"/>
              <a:gd name="connsiteX174" fmla="*/ 3403600 w 3505200"/>
              <a:gd name="connsiteY174" fmla="*/ 1889760 h 8260080"/>
              <a:gd name="connsiteX175" fmla="*/ 3505200 w 3505200"/>
              <a:gd name="connsiteY175" fmla="*/ 1910080 h 8260080"/>
              <a:gd name="connsiteX176" fmla="*/ 3444240 w 3505200"/>
              <a:gd name="connsiteY176" fmla="*/ 1656080 h 8260080"/>
              <a:gd name="connsiteX177" fmla="*/ 3373120 w 3505200"/>
              <a:gd name="connsiteY177" fmla="*/ 1635760 h 8260080"/>
              <a:gd name="connsiteX178" fmla="*/ 3352800 w 3505200"/>
              <a:gd name="connsiteY178" fmla="*/ 1503680 h 8260080"/>
              <a:gd name="connsiteX179" fmla="*/ 3444240 w 3505200"/>
              <a:gd name="connsiteY179" fmla="*/ 1412240 h 8260080"/>
              <a:gd name="connsiteX180" fmla="*/ 3393440 w 3505200"/>
              <a:gd name="connsiteY180" fmla="*/ 1280160 h 8260080"/>
              <a:gd name="connsiteX181" fmla="*/ 3434080 w 3505200"/>
              <a:gd name="connsiteY181" fmla="*/ 1249680 h 8260080"/>
              <a:gd name="connsiteX182" fmla="*/ 3281680 w 3505200"/>
              <a:gd name="connsiteY182" fmla="*/ 1066800 h 8260080"/>
              <a:gd name="connsiteX183" fmla="*/ 3383280 w 3505200"/>
              <a:gd name="connsiteY183" fmla="*/ 975360 h 8260080"/>
              <a:gd name="connsiteX184" fmla="*/ 3302000 w 3505200"/>
              <a:gd name="connsiteY184" fmla="*/ 924560 h 8260080"/>
              <a:gd name="connsiteX185" fmla="*/ 3190240 w 3505200"/>
              <a:gd name="connsiteY185" fmla="*/ 944880 h 8260080"/>
              <a:gd name="connsiteX186" fmla="*/ 3281680 w 3505200"/>
              <a:gd name="connsiteY186" fmla="*/ 792480 h 8260080"/>
              <a:gd name="connsiteX187" fmla="*/ 3210560 w 3505200"/>
              <a:gd name="connsiteY187" fmla="*/ 650240 h 8260080"/>
              <a:gd name="connsiteX188" fmla="*/ 3302000 w 3505200"/>
              <a:gd name="connsiteY188" fmla="*/ 568960 h 8260080"/>
              <a:gd name="connsiteX189" fmla="*/ 3190240 w 3505200"/>
              <a:gd name="connsiteY189" fmla="*/ 487680 h 8260080"/>
              <a:gd name="connsiteX190" fmla="*/ 3108960 w 3505200"/>
              <a:gd name="connsiteY190" fmla="*/ 528320 h 8260080"/>
              <a:gd name="connsiteX191" fmla="*/ 3108960 w 3505200"/>
              <a:gd name="connsiteY191" fmla="*/ 406400 h 8260080"/>
              <a:gd name="connsiteX192" fmla="*/ 2926080 w 3505200"/>
              <a:gd name="connsiteY192" fmla="*/ 314960 h 8260080"/>
              <a:gd name="connsiteX193" fmla="*/ 2834640 w 3505200"/>
              <a:gd name="connsiteY193" fmla="*/ 355600 h 8260080"/>
              <a:gd name="connsiteX194" fmla="*/ 2682240 w 3505200"/>
              <a:gd name="connsiteY194" fmla="*/ 111760 h 8260080"/>
              <a:gd name="connsiteX195" fmla="*/ 2590800 w 3505200"/>
              <a:gd name="connsiteY195" fmla="*/ 121920 h 8260080"/>
              <a:gd name="connsiteX196" fmla="*/ 2611120 w 3505200"/>
              <a:gd name="connsiteY196" fmla="*/ 0 h 8260080"/>
              <a:gd name="connsiteX197" fmla="*/ 2438400 w 3505200"/>
              <a:gd name="connsiteY197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80829 w 3505200"/>
              <a:gd name="connsiteY79" fmla="*/ 7148354 h 8260080"/>
              <a:gd name="connsiteX80" fmla="*/ 242962 w 3505200"/>
              <a:gd name="connsiteY80" fmla="*/ 7226746 h 8260080"/>
              <a:gd name="connsiteX81" fmla="*/ 282892 w 3505200"/>
              <a:gd name="connsiteY81" fmla="*/ 7300436 h 8260080"/>
              <a:gd name="connsiteX82" fmla="*/ 334645 w 3505200"/>
              <a:gd name="connsiteY82" fmla="*/ 7194709 h 8260080"/>
              <a:gd name="connsiteX83" fmla="*/ 354881 w 3505200"/>
              <a:gd name="connsiteY83" fmla="*/ 7257702 h 8260080"/>
              <a:gd name="connsiteX84" fmla="*/ 337026 w 3505200"/>
              <a:gd name="connsiteY84" fmla="*/ 7316154 h 8260080"/>
              <a:gd name="connsiteX85" fmla="*/ 370364 w 3505200"/>
              <a:gd name="connsiteY85" fmla="*/ 7360602 h 8260080"/>
              <a:gd name="connsiteX86" fmla="*/ 447040 w 3505200"/>
              <a:gd name="connsiteY86" fmla="*/ 7366000 h 8260080"/>
              <a:gd name="connsiteX87" fmla="*/ 447040 w 3505200"/>
              <a:gd name="connsiteY87" fmla="*/ 7477760 h 8260080"/>
              <a:gd name="connsiteX88" fmla="*/ 558800 w 3505200"/>
              <a:gd name="connsiteY88" fmla="*/ 7528560 h 8260080"/>
              <a:gd name="connsiteX89" fmla="*/ 508000 w 3505200"/>
              <a:gd name="connsiteY89" fmla="*/ 7630160 h 8260080"/>
              <a:gd name="connsiteX90" fmla="*/ 436880 w 3505200"/>
              <a:gd name="connsiteY90" fmla="*/ 7609840 h 8260080"/>
              <a:gd name="connsiteX91" fmla="*/ 447040 w 3505200"/>
              <a:gd name="connsiteY91" fmla="*/ 7691120 h 8260080"/>
              <a:gd name="connsiteX92" fmla="*/ 518160 w 3505200"/>
              <a:gd name="connsiteY92" fmla="*/ 7741920 h 8260080"/>
              <a:gd name="connsiteX93" fmla="*/ 457200 w 3505200"/>
              <a:gd name="connsiteY93" fmla="*/ 7792720 h 8260080"/>
              <a:gd name="connsiteX94" fmla="*/ 396240 w 3505200"/>
              <a:gd name="connsiteY94" fmla="*/ 7701280 h 8260080"/>
              <a:gd name="connsiteX95" fmla="*/ 396240 w 3505200"/>
              <a:gd name="connsiteY95" fmla="*/ 7701280 h 8260080"/>
              <a:gd name="connsiteX96" fmla="*/ 436880 w 3505200"/>
              <a:gd name="connsiteY96" fmla="*/ 7874000 h 8260080"/>
              <a:gd name="connsiteX97" fmla="*/ 436880 w 3505200"/>
              <a:gd name="connsiteY97" fmla="*/ 7924800 h 8260080"/>
              <a:gd name="connsiteX98" fmla="*/ 548640 w 3505200"/>
              <a:gd name="connsiteY98" fmla="*/ 7965440 h 8260080"/>
              <a:gd name="connsiteX99" fmla="*/ 508000 w 3505200"/>
              <a:gd name="connsiteY99" fmla="*/ 8016240 h 8260080"/>
              <a:gd name="connsiteX100" fmla="*/ 589280 w 3505200"/>
              <a:gd name="connsiteY100" fmla="*/ 8056880 h 8260080"/>
              <a:gd name="connsiteX101" fmla="*/ 497840 w 3505200"/>
              <a:gd name="connsiteY101" fmla="*/ 8117840 h 8260080"/>
              <a:gd name="connsiteX102" fmla="*/ 518160 w 3505200"/>
              <a:gd name="connsiteY102" fmla="*/ 8209280 h 8260080"/>
              <a:gd name="connsiteX103" fmla="*/ 640080 w 3505200"/>
              <a:gd name="connsiteY103" fmla="*/ 8260080 h 8260080"/>
              <a:gd name="connsiteX104" fmla="*/ 731520 w 3505200"/>
              <a:gd name="connsiteY104" fmla="*/ 8219440 h 8260080"/>
              <a:gd name="connsiteX105" fmla="*/ 853440 w 3505200"/>
              <a:gd name="connsiteY105" fmla="*/ 8209280 h 8260080"/>
              <a:gd name="connsiteX106" fmla="*/ 955040 w 3505200"/>
              <a:gd name="connsiteY106" fmla="*/ 8260080 h 8260080"/>
              <a:gd name="connsiteX107" fmla="*/ 965200 w 3505200"/>
              <a:gd name="connsiteY107" fmla="*/ 8107680 h 8260080"/>
              <a:gd name="connsiteX108" fmla="*/ 894080 w 3505200"/>
              <a:gd name="connsiteY108" fmla="*/ 8026400 h 8260080"/>
              <a:gd name="connsiteX109" fmla="*/ 1016000 w 3505200"/>
              <a:gd name="connsiteY109" fmla="*/ 7863840 h 8260080"/>
              <a:gd name="connsiteX110" fmla="*/ 1107440 w 3505200"/>
              <a:gd name="connsiteY110" fmla="*/ 7894320 h 8260080"/>
              <a:gd name="connsiteX111" fmla="*/ 1127760 w 3505200"/>
              <a:gd name="connsiteY111" fmla="*/ 7853680 h 8260080"/>
              <a:gd name="connsiteX112" fmla="*/ 1066800 w 3505200"/>
              <a:gd name="connsiteY112" fmla="*/ 7813040 h 8260080"/>
              <a:gd name="connsiteX113" fmla="*/ 1137920 w 3505200"/>
              <a:gd name="connsiteY113" fmla="*/ 7762240 h 8260080"/>
              <a:gd name="connsiteX114" fmla="*/ 1330960 w 3505200"/>
              <a:gd name="connsiteY114" fmla="*/ 7802880 h 8260080"/>
              <a:gd name="connsiteX115" fmla="*/ 1361440 w 3505200"/>
              <a:gd name="connsiteY115" fmla="*/ 7772400 h 8260080"/>
              <a:gd name="connsiteX116" fmla="*/ 1483360 w 3505200"/>
              <a:gd name="connsiteY116" fmla="*/ 7823200 h 8260080"/>
              <a:gd name="connsiteX117" fmla="*/ 1554480 w 3505200"/>
              <a:gd name="connsiteY117" fmla="*/ 7731760 h 8260080"/>
              <a:gd name="connsiteX118" fmla="*/ 1524000 w 3505200"/>
              <a:gd name="connsiteY118" fmla="*/ 7640320 h 8260080"/>
              <a:gd name="connsiteX119" fmla="*/ 1645920 w 3505200"/>
              <a:gd name="connsiteY119" fmla="*/ 7437120 h 8260080"/>
              <a:gd name="connsiteX120" fmla="*/ 1635760 w 3505200"/>
              <a:gd name="connsiteY120" fmla="*/ 7335520 h 8260080"/>
              <a:gd name="connsiteX121" fmla="*/ 1696720 w 3505200"/>
              <a:gd name="connsiteY121" fmla="*/ 7223760 h 8260080"/>
              <a:gd name="connsiteX122" fmla="*/ 1625600 w 3505200"/>
              <a:gd name="connsiteY122" fmla="*/ 7172960 h 8260080"/>
              <a:gd name="connsiteX123" fmla="*/ 1747520 w 3505200"/>
              <a:gd name="connsiteY123" fmla="*/ 6990080 h 8260080"/>
              <a:gd name="connsiteX124" fmla="*/ 1666240 w 3505200"/>
              <a:gd name="connsiteY124" fmla="*/ 6939280 h 8260080"/>
              <a:gd name="connsiteX125" fmla="*/ 1737360 w 3505200"/>
              <a:gd name="connsiteY125" fmla="*/ 6888480 h 8260080"/>
              <a:gd name="connsiteX126" fmla="*/ 1645920 w 3505200"/>
              <a:gd name="connsiteY126" fmla="*/ 6776720 h 8260080"/>
              <a:gd name="connsiteX127" fmla="*/ 1808480 w 3505200"/>
              <a:gd name="connsiteY127" fmla="*/ 6715760 h 8260080"/>
              <a:gd name="connsiteX128" fmla="*/ 1727200 w 3505200"/>
              <a:gd name="connsiteY128" fmla="*/ 6614160 h 8260080"/>
              <a:gd name="connsiteX129" fmla="*/ 1686560 w 3505200"/>
              <a:gd name="connsiteY129" fmla="*/ 6421120 h 8260080"/>
              <a:gd name="connsiteX130" fmla="*/ 1889760 w 3505200"/>
              <a:gd name="connsiteY130" fmla="*/ 6299200 h 8260080"/>
              <a:gd name="connsiteX131" fmla="*/ 1940560 w 3505200"/>
              <a:gd name="connsiteY131" fmla="*/ 6228080 h 8260080"/>
              <a:gd name="connsiteX132" fmla="*/ 2032000 w 3505200"/>
              <a:gd name="connsiteY132" fmla="*/ 6136640 h 8260080"/>
              <a:gd name="connsiteX133" fmla="*/ 2011680 w 3505200"/>
              <a:gd name="connsiteY133" fmla="*/ 6014720 h 8260080"/>
              <a:gd name="connsiteX134" fmla="*/ 2123440 w 3505200"/>
              <a:gd name="connsiteY134" fmla="*/ 6065520 h 8260080"/>
              <a:gd name="connsiteX135" fmla="*/ 2092960 w 3505200"/>
              <a:gd name="connsiteY135" fmla="*/ 6167120 h 8260080"/>
              <a:gd name="connsiteX136" fmla="*/ 2286000 w 3505200"/>
              <a:gd name="connsiteY136" fmla="*/ 5933440 h 8260080"/>
              <a:gd name="connsiteX137" fmla="*/ 2255520 w 3505200"/>
              <a:gd name="connsiteY137" fmla="*/ 5801360 h 8260080"/>
              <a:gd name="connsiteX138" fmla="*/ 2448560 w 3505200"/>
              <a:gd name="connsiteY138" fmla="*/ 5598160 h 8260080"/>
              <a:gd name="connsiteX139" fmla="*/ 2357120 w 3505200"/>
              <a:gd name="connsiteY139" fmla="*/ 5435600 h 8260080"/>
              <a:gd name="connsiteX140" fmla="*/ 2225040 w 3505200"/>
              <a:gd name="connsiteY140" fmla="*/ 5415280 h 8260080"/>
              <a:gd name="connsiteX141" fmla="*/ 2103120 w 3505200"/>
              <a:gd name="connsiteY141" fmla="*/ 5222240 h 8260080"/>
              <a:gd name="connsiteX142" fmla="*/ 2092960 w 3505200"/>
              <a:gd name="connsiteY142" fmla="*/ 5110480 h 8260080"/>
              <a:gd name="connsiteX143" fmla="*/ 2052320 w 3505200"/>
              <a:gd name="connsiteY143" fmla="*/ 5151120 h 8260080"/>
              <a:gd name="connsiteX144" fmla="*/ 2042160 w 3505200"/>
              <a:gd name="connsiteY144" fmla="*/ 5242560 h 8260080"/>
              <a:gd name="connsiteX145" fmla="*/ 1981200 w 3505200"/>
              <a:gd name="connsiteY145" fmla="*/ 5191760 h 8260080"/>
              <a:gd name="connsiteX146" fmla="*/ 2011680 w 3505200"/>
              <a:gd name="connsiteY146" fmla="*/ 5120640 h 8260080"/>
              <a:gd name="connsiteX147" fmla="*/ 1930400 w 3505200"/>
              <a:gd name="connsiteY147" fmla="*/ 5100320 h 8260080"/>
              <a:gd name="connsiteX148" fmla="*/ 1859280 w 3505200"/>
              <a:gd name="connsiteY148" fmla="*/ 4917440 h 8260080"/>
              <a:gd name="connsiteX149" fmla="*/ 1828800 w 3505200"/>
              <a:gd name="connsiteY149" fmla="*/ 4622800 h 8260080"/>
              <a:gd name="connsiteX150" fmla="*/ 1910080 w 3505200"/>
              <a:gd name="connsiteY150" fmla="*/ 4419600 h 8260080"/>
              <a:gd name="connsiteX151" fmla="*/ 1920240 w 3505200"/>
              <a:gd name="connsiteY151" fmla="*/ 4277360 h 8260080"/>
              <a:gd name="connsiteX152" fmla="*/ 1971040 w 3505200"/>
              <a:gd name="connsiteY152" fmla="*/ 4124960 h 8260080"/>
              <a:gd name="connsiteX153" fmla="*/ 1879600 w 3505200"/>
              <a:gd name="connsiteY153" fmla="*/ 4023360 h 8260080"/>
              <a:gd name="connsiteX154" fmla="*/ 2072640 w 3505200"/>
              <a:gd name="connsiteY154" fmla="*/ 4003040 h 8260080"/>
              <a:gd name="connsiteX155" fmla="*/ 2092960 w 3505200"/>
              <a:gd name="connsiteY155" fmla="*/ 3850640 h 8260080"/>
              <a:gd name="connsiteX156" fmla="*/ 2001520 w 3505200"/>
              <a:gd name="connsiteY156" fmla="*/ 3728720 h 8260080"/>
              <a:gd name="connsiteX157" fmla="*/ 2164080 w 3505200"/>
              <a:gd name="connsiteY157" fmla="*/ 3769360 h 8260080"/>
              <a:gd name="connsiteX158" fmla="*/ 2265680 w 3505200"/>
              <a:gd name="connsiteY158" fmla="*/ 3566160 h 8260080"/>
              <a:gd name="connsiteX159" fmla="*/ 2336800 w 3505200"/>
              <a:gd name="connsiteY159" fmla="*/ 3515360 h 8260080"/>
              <a:gd name="connsiteX160" fmla="*/ 2367280 w 3505200"/>
              <a:gd name="connsiteY160" fmla="*/ 3362960 h 8260080"/>
              <a:gd name="connsiteX161" fmla="*/ 2489200 w 3505200"/>
              <a:gd name="connsiteY161" fmla="*/ 3423920 h 8260080"/>
              <a:gd name="connsiteX162" fmla="*/ 2560320 w 3505200"/>
              <a:gd name="connsiteY162" fmla="*/ 3302000 h 8260080"/>
              <a:gd name="connsiteX163" fmla="*/ 2743200 w 3505200"/>
              <a:gd name="connsiteY163" fmla="*/ 3149600 h 8260080"/>
              <a:gd name="connsiteX164" fmla="*/ 2844800 w 3505200"/>
              <a:gd name="connsiteY164" fmla="*/ 3088640 h 8260080"/>
              <a:gd name="connsiteX165" fmla="*/ 2804160 w 3505200"/>
              <a:gd name="connsiteY165" fmla="*/ 2966720 h 8260080"/>
              <a:gd name="connsiteX166" fmla="*/ 2976880 w 3505200"/>
              <a:gd name="connsiteY166" fmla="*/ 2763520 h 8260080"/>
              <a:gd name="connsiteX167" fmla="*/ 2794000 w 3505200"/>
              <a:gd name="connsiteY167" fmla="*/ 2621280 h 8260080"/>
              <a:gd name="connsiteX168" fmla="*/ 2946400 w 3505200"/>
              <a:gd name="connsiteY168" fmla="*/ 2377440 h 8260080"/>
              <a:gd name="connsiteX169" fmla="*/ 2854960 w 3505200"/>
              <a:gd name="connsiteY169" fmla="*/ 2255520 h 8260080"/>
              <a:gd name="connsiteX170" fmla="*/ 3027680 w 3505200"/>
              <a:gd name="connsiteY170" fmla="*/ 2113280 h 8260080"/>
              <a:gd name="connsiteX171" fmla="*/ 3119120 w 3505200"/>
              <a:gd name="connsiteY171" fmla="*/ 2021840 h 8260080"/>
              <a:gd name="connsiteX172" fmla="*/ 3027680 w 3505200"/>
              <a:gd name="connsiteY172" fmla="*/ 1960880 h 8260080"/>
              <a:gd name="connsiteX173" fmla="*/ 3139440 w 3505200"/>
              <a:gd name="connsiteY173" fmla="*/ 1869440 h 8260080"/>
              <a:gd name="connsiteX174" fmla="*/ 3281680 w 3505200"/>
              <a:gd name="connsiteY174" fmla="*/ 1950720 h 8260080"/>
              <a:gd name="connsiteX175" fmla="*/ 3403600 w 3505200"/>
              <a:gd name="connsiteY175" fmla="*/ 1889760 h 8260080"/>
              <a:gd name="connsiteX176" fmla="*/ 3505200 w 3505200"/>
              <a:gd name="connsiteY176" fmla="*/ 1910080 h 8260080"/>
              <a:gd name="connsiteX177" fmla="*/ 3444240 w 3505200"/>
              <a:gd name="connsiteY177" fmla="*/ 1656080 h 8260080"/>
              <a:gd name="connsiteX178" fmla="*/ 3373120 w 3505200"/>
              <a:gd name="connsiteY178" fmla="*/ 1635760 h 8260080"/>
              <a:gd name="connsiteX179" fmla="*/ 3352800 w 3505200"/>
              <a:gd name="connsiteY179" fmla="*/ 1503680 h 8260080"/>
              <a:gd name="connsiteX180" fmla="*/ 3444240 w 3505200"/>
              <a:gd name="connsiteY180" fmla="*/ 1412240 h 8260080"/>
              <a:gd name="connsiteX181" fmla="*/ 3393440 w 3505200"/>
              <a:gd name="connsiteY181" fmla="*/ 1280160 h 8260080"/>
              <a:gd name="connsiteX182" fmla="*/ 3434080 w 3505200"/>
              <a:gd name="connsiteY182" fmla="*/ 1249680 h 8260080"/>
              <a:gd name="connsiteX183" fmla="*/ 3281680 w 3505200"/>
              <a:gd name="connsiteY183" fmla="*/ 1066800 h 8260080"/>
              <a:gd name="connsiteX184" fmla="*/ 3383280 w 3505200"/>
              <a:gd name="connsiteY184" fmla="*/ 975360 h 8260080"/>
              <a:gd name="connsiteX185" fmla="*/ 3302000 w 3505200"/>
              <a:gd name="connsiteY185" fmla="*/ 924560 h 8260080"/>
              <a:gd name="connsiteX186" fmla="*/ 3190240 w 3505200"/>
              <a:gd name="connsiteY186" fmla="*/ 944880 h 8260080"/>
              <a:gd name="connsiteX187" fmla="*/ 3281680 w 3505200"/>
              <a:gd name="connsiteY187" fmla="*/ 792480 h 8260080"/>
              <a:gd name="connsiteX188" fmla="*/ 3210560 w 3505200"/>
              <a:gd name="connsiteY188" fmla="*/ 650240 h 8260080"/>
              <a:gd name="connsiteX189" fmla="*/ 3302000 w 3505200"/>
              <a:gd name="connsiteY189" fmla="*/ 568960 h 8260080"/>
              <a:gd name="connsiteX190" fmla="*/ 3190240 w 3505200"/>
              <a:gd name="connsiteY190" fmla="*/ 487680 h 8260080"/>
              <a:gd name="connsiteX191" fmla="*/ 3108960 w 3505200"/>
              <a:gd name="connsiteY191" fmla="*/ 528320 h 8260080"/>
              <a:gd name="connsiteX192" fmla="*/ 3108960 w 3505200"/>
              <a:gd name="connsiteY192" fmla="*/ 406400 h 8260080"/>
              <a:gd name="connsiteX193" fmla="*/ 2926080 w 3505200"/>
              <a:gd name="connsiteY193" fmla="*/ 314960 h 8260080"/>
              <a:gd name="connsiteX194" fmla="*/ 2834640 w 3505200"/>
              <a:gd name="connsiteY194" fmla="*/ 355600 h 8260080"/>
              <a:gd name="connsiteX195" fmla="*/ 2682240 w 3505200"/>
              <a:gd name="connsiteY195" fmla="*/ 111760 h 8260080"/>
              <a:gd name="connsiteX196" fmla="*/ 2590800 w 3505200"/>
              <a:gd name="connsiteY196" fmla="*/ 121920 h 8260080"/>
              <a:gd name="connsiteX197" fmla="*/ 2611120 w 3505200"/>
              <a:gd name="connsiteY197" fmla="*/ 0 h 8260080"/>
              <a:gd name="connsiteX198" fmla="*/ 2438400 w 3505200"/>
              <a:gd name="connsiteY198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80829 w 3505200"/>
              <a:gd name="connsiteY79" fmla="*/ 7148354 h 8260080"/>
              <a:gd name="connsiteX80" fmla="*/ 242962 w 3505200"/>
              <a:gd name="connsiteY80" fmla="*/ 7226746 h 8260080"/>
              <a:gd name="connsiteX81" fmla="*/ 282892 w 3505200"/>
              <a:gd name="connsiteY81" fmla="*/ 7300436 h 8260080"/>
              <a:gd name="connsiteX82" fmla="*/ 334645 w 3505200"/>
              <a:gd name="connsiteY82" fmla="*/ 7194709 h 8260080"/>
              <a:gd name="connsiteX83" fmla="*/ 354881 w 3505200"/>
              <a:gd name="connsiteY83" fmla="*/ 7257702 h 8260080"/>
              <a:gd name="connsiteX84" fmla="*/ 337026 w 3505200"/>
              <a:gd name="connsiteY84" fmla="*/ 7316154 h 8260080"/>
              <a:gd name="connsiteX85" fmla="*/ 370364 w 3505200"/>
              <a:gd name="connsiteY85" fmla="*/ 7360602 h 8260080"/>
              <a:gd name="connsiteX86" fmla="*/ 447040 w 3505200"/>
              <a:gd name="connsiteY86" fmla="*/ 7366000 h 8260080"/>
              <a:gd name="connsiteX87" fmla="*/ 447040 w 3505200"/>
              <a:gd name="connsiteY87" fmla="*/ 7477760 h 8260080"/>
              <a:gd name="connsiteX88" fmla="*/ 558800 w 3505200"/>
              <a:gd name="connsiteY88" fmla="*/ 7528560 h 8260080"/>
              <a:gd name="connsiteX89" fmla="*/ 508000 w 3505200"/>
              <a:gd name="connsiteY89" fmla="*/ 7630160 h 8260080"/>
              <a:gd name="connsiteX90" fmla="*/ 436880 w 3505200"/>
              <a:gd name="connsiteY90" fmla="*/ 7609840 h 8260080"/>
              <a:gd name="connsiteX91" fmla="*/ 447040 w 3505200"/>
              <a:gd name="connsiteY91" fmla="*/ 7691120 h 8260080"/>
              <a:gd name="connsiteX92" fmla="*/ 518160 w 3505200"/>
              <a:gd name="connsiteY92" fmla="*/ 7741920 h 8260080"/>
              <a:gd name="connsiteX93" fmla="*/ 457200 w 3505200"/>
              <a:gd name="connsiteY93" fmla="*/ 7792720 h 8260080"/>
              <a:gd name="connsiteX94" fmla="*/ 396240 w 3505200"/>
              <a:gd name="connsiteY94" fmla="*/ 7701280 h 8260080"/>
              <a:gd name="connsiteX95" fmla="*/ 396240 w 3505200"/>
              <a:gd name="connsiteY95" fmla="*/ 7701280 h 8260080"/>
              <a:gd name="connsiteX96" fmla="*/ 436880 w 3505200"/>
              <a:gd name="connsiteY96" fmla="*/ 7874000 h 8260080"/>
              <a:gd name="connsiteX97" fmla="*/ 436880 w 3505200"/>
              <a:gd name="connsiteY97" fmla="*/ 7924800 h 8260080"/>
              <a:gd name="connsiteX98" fmla="*/ 548640 w 3505200"/>
              <a:gd name="connsiteY98" fmla="*/ 7965440 h 8260080"/>
              <a:gd name="connsiteX99" fmla="*/ 508000 w 3505200"/>
              <a:gd name="connsiteY99" fmla="*/ 8016240 h 8260080"/>
              <a:gd name="connsiteX100" fmla="*/ 589280 w 3505200"/>
              <a:gd name="connsiteY100" fmla="*/ 8056880 h 8260080"/>
              <a:gd name="connsiteX101" fmla="*/ 497840 w 3505200"/>
              <a:gd name="connsiteY101" fmla="*/ 8117840 h 8260080"/>
              <a:gd name="connsiteX102" fmla="*/ 518160 w 3505200"/>
              <a:gd name="connsiteY102" fmla="*/ 8209280 h 8260080"/>
              <a:gd name="connsiteX103" fmla="*/ 640080 w 3505200"/>
              <a:gd name="connsiteY103" fmla="*/ 8260080 h 8260080"/>
              <a:gd name="connsiteX104" fmla="*/ 731520 w 3505200"/>
              <a:gd name="connsiteY104" fmla="*/ 8219440 h 8260080"/>
              <a:gd name="connsiteX105" fmla="*/ 853440 w 3505200"/>
              <a:gd name="connsiteY105" fmla="*/ 8209280 h 8260080"/>
              <a:gd name="connsiteX106" fmla="*/ 955040 w 3505200"/>
              <a:gd name="connsiteY106" fmla="*/ 8260080 h 8260080"/>
              <a:gd name="connsiteX107" fmla="*/ 965200 w 3505200"/>
              <a:gd name="connsiteY107" fmla="*/ 8107680 h 8260080"/>
              <a:gd name="connsiteX108" fmla="*/ 894080 w 3505200"/>
              <a:gd name="connsiteY108" fmla="*/ 8026400 h 8260080"/>
              <a:gd name="connsiteX109" fmla="*/ 1016000 w 3505200"/>
              <a:gd name="connsiteY109" fmla="*/ 7863840 h 8260080"/>
              <a:gd name="connsiteX110" fmla="*/ 1107440 w 3505200"/>
              <a:gd name="connsiteY110" fmla="*/ 7894320 h 8260080"/>
              <a:gd name="connsiteX111" fmla="*/ 1127760 w 3505200"/>
              <a:gd name="connsiteY111" fmla="*/ 7853680 h 8260080"/>
              <a:gd name="connsiteX112" fmla="*/ 1066800 w 3505200"/>
              <a:gd name="connsiteY112" fmla="*/ 7813040 h 8260080"/>
              <a:gd name="connsiteX113" fmla="*/ 1137920 w 3505200"/>
              <a:gd name="connsiteY113" fmla="*/ 7762240 h 8260080"/>
              <a:gd name="connsiteX114" fmla="*/ 1330960 w 3505200"/>
              <a:gd name="connsiteY114" fmla="*/ 7802880 h 8260080"/>
              <a:gd name="connsiteX115" fmla="*/ 1361440 w 3505200"/>
              <a:gd name="connsiteY115" fmla="*/ 7772400 h 8260080"/>
              <a:gd name="connsiteX116" fmla="*/ 1483360 w 3505200"/>
              <a:gd name="connsiteY116" fmla="*/ 7823200 h 8260080"/>
              <a:gd name="connsiteX117" fmla="*/ 1554480 w 3505200"/>
              <a:gd name="connsiteY117" fmla="*/ 7731760 h 8260080"/>
              <a:gd name="connsiteX118" fmla="*/ 1524000 w 3505200"/>
              <a:gd name="connsiteY118" fmla="*/ 7640320 h 8260080"/>
              <a:gd name="connsiteX119" fmla="*/ 1645920 w 3505200"/>
              <a:gd name="connsiteY119" fmla="*/ 7437120 h 8260080"/>
              <a:gd name="connsiteX120" fmla="*/ 1635760 w 3505200"/>
              <a:gd name="connsiteY120" fmla="*/ 7335520 h 8260080"/>
              <a:gd name="connsiteX121" fmla="*/ 1696720 w 3505200"/>
              <a:gd name="connsiteY121" fmla="*/ 7223760 h 8260080"/>
              <a:gd name="connsiteX122" fmla="*/ 1625600 w 3505200"/>
              <a:gd name="connsiteY122" fmla="*/ 7172960 h 8260080"/>
              <a:gd name="connsiteX123" fmla="*/ 1747520 w 3505200"/>
              <a:gd name="connsiteY123" fmla="*/ 6990080 h 8260080"/>
              <a:gd name="connsiteX124" fmla="*/ 1666240 w 3505200"/>
              <a:gd name="connsiteY124" fmla="*/ 6939280 h 8260080"/>
              <a:gd name="connsiteX125" fmla="*/ 1737360 w 3505200"/>
              <a:gd name="connsiteY125" fmla="*/ 6888480 h 8260080"/>
              <a:gd name="connsiteX126" fmla="*/ 1645920 w 3505200"/>
              <a:gd name="connsiteY126" fmla="*/ 6776720 h 8260080"/>
              <a:gd name="connsiteX127" fmla="*/ 1808480 w 3505200"/>
              <a:gd name="connsiteY127" fmla="*/ 6715760 h 8260080"/>
              <a:gd name="connsiteX128" fmla="*/ 1727200 w 3505200"/>
              <a:gd name="connsiteY128" fmla="*/ 6614160 h 8260080"/>
              <a:gd name="connsiteX129" fmla="*/ 1686560 w 3505200"/>
              <a:gd name="connsiteY129" fmla="*/ 6421120 h 8260080"/>
              <a:gd name="connsiteX130" fmla="*/ 1889760 w 3505200"/>
              <a:gd name="connsiteY130" fmla="*/ 6299200 h 8260080"/>
              <a:gd name="connsiteX131" fmla="*/ 1940560 w 3505200"/>
              <a:gd name="connsiteY131" fmla="*/ 6228080 h 8260080"/>
              <a:gd name="connsiteX132" fmla="*/ 2032000 w 3505200"/>
              <a:gd name="connsiteY132" fmla="*/ 6136640 h 8260080"/>
              <a:gd name="connsiteX133" fmla="*/ 2011680 w 3505200"/>
              <a:gd name="connsiteY133" fmla="*/ 6014720 h 8260080"/>
              <a:gd name="connsiteX134" fmla="*/ 2123440 w 3505200"/>
              <a:gd name="connsiteY134" fmla="*/ 6065520 h 8260080"/>
              <a:gd name="connsiteX135" fmla="*/ 2092960 w 3505200"/>
              <a:gd name="connsiteY135" fmla="*/ 6167120 h 8260080"/>
              <a:gd name="connsiteX136" fmla="*/ 2286000 w 3505200"/>
              <a:gd name="connsiteY136" fmla="*/ 5933440 h 8260080"/>
              <a:gd name="connsiteX137" fmla="*/ 2255520 w 3505200"/>
              <a:gd name="connsiteY137" fmla="*/ 5801360 h 8260080"/>
              <a:gd name="connsiteX138" fmla="*/ 2448560 w 3505200"/>
              <a:gd name="connsiteY138" fmla="*/ 5598160 h 8260080"/>
              <a:gd name="connsiteX139" fmla="*/ 2357120 w 3505200"/>
              <a:gd name="connsiteY139" fmla="*/ 5435600 h 8260080"/>
              <a:gd name="connsiteX140" fmla="*/ 2225040 w 3505200"/>
              <a:gd name="connsiteY140" fmla="*/ 5415280 h 8260080"/>
              <a:gd name="connsiteX141" fmla="*/ 2103120 w 3505200"/>
              <a:gd name="connsiteY141" fmla="*/ 5222240 h 8260080"/>
              <a:gd name="connsiteX142" fmla="*/ 2092960 w 3505200"/>
              <a:gd name="connsiteY142" fmla="*/ 5110480 h 8260080"/>
              <a:gd name="connsiteX143" fmla="*/ 2052320 w 3505200"/>
              <a:gd name="connsiteY143" fmla="*/ 5151120 h 8260080"/>
              <a:gd name="connsiteX144" fmla="*/ 2042160 w 3505200"/>
              <a:gd name="connsiteY144" fmla="*/ 5242560 h 8260080"/>
              <a:gd name="connsiteX145" fmla="*/ 1981200 w 3505200"/>
              <a:gd name="connsiteY145" fmla="*/ 5191760 h 8260080"/>
              <a:gd name="connsiteX146" fmla="*/ 2011680 w 3505200"/>
              <a:gd name="connsiteY146" fmla="*/ 5120640 h 8260080"/>
              <a:gd name="connsiteX147" fmla="*/ 1930400 w 3505200"/>
              <a:gd name="connsiteY147" fmla="*/ 5100320 h 8260080"/>
              <a:gd name="connsiteX148" fmla="*/ 1859280 w 3505200"/>
              <a:gd name="connsiteY148" fmla="*/ 4917440 h 8260080"/>
              <a:gd name="connsiteX149" fmla="*/ 1828800 w 3505200"/>
              <a:gd name="connsiteY149" fmla="*/ 4622800 h 8260080"/>
              <a:gd name="connsiteX150" fmla="*/ 1910080 w 3505200"/>
              <a:gd name="connsiteY150" fmla="*/ 4419600 h 8260080"/>
              <a:gd name="connsiteX151" fmla="*/ 1920240 w 3505200"/>
              <a:gd name="connsiteY151" fmla="*/ 4277360 h 8260080"/>
              <a:gd name="connsiteX152" fmla="*/ 1971040 w 3505200"/>
              <a:gd name="connsiteY152" fmla="*/ 4124960 h 8260080"/>
              <a:gd name="connsiteX153" fmla="*/ 1879600 w 3505200"/>
              <a:gd name="connsiteY153" fmla="*/ 4023360 h 8260080"/>
              <a:gd name="connsiteX154" fmla="*/ 2072640 w 3505200"/>
              <a:gd name="connsiteY154" fmla="*/ 4003040 h 8260080"/>
              <a:gd name="connsiteX155" fmla="*/ 2092960 w 3505200"/>
              <a:gd name="connsiteY155" fmla="*/ 3850640 h 8260080"/>
              <a:gd name="connsiteX156" fmla="*/ 2001520 w 3505200"/>
              <a:gd name="connsiteY156" fmla="*/ 3728720 h 8260080"/>
              <a:gd name="connsiteX157" fmla="*/ 2164080 w 3505200"/>
              <a:gd name="connsiteY157" fmla="*/ 3769360 h 8260080"/>
              <a:gd name="connsiteX158" fmla="*/ 2265680 w 3505200"/>
              <a:gd name="connsiteY158" fmla="*/ 3566160 h 8260080"/>
              <a:gd name="connsiteX159" fmla="*/ 2336800 w 3505200"/>
              <a:gd name="connsiteY159" fmla="*/ 3515360 h 8260080"/>
              <a:gd name="connsiteX160" fmla="*/ 2367280 w 3505200"/>
              <a:gd name="connsiteY160" fmla="*/ 3362960 h 8260080"/>
              <a:gd name="connsiteX161" fmla="*/ 2489200 w 3505200"/>
              <a:gd name="connsiteY161" fmla="*/ 3423920 h 8260080"/>
              <a:gd name="connsiteX162" fmla="*/ 2560320 w 3505200"/>
              <a:gd name="connsiteY162" fmla="*/ 3302000 h 8260080"/>
              <a:gd name="connsiteX163" fmla="*/ 2743200 w 3505200"/>
              <a:gd name="connsiteY163" fmla="*/ 3149600 h 8260080"/>
              <a:gd name="connsiteX164" fmla="*/ 2844800 w 3505200"/>
              <a:gd name="connsiteY164" fmla="*/ 3088640 h 8260080"/>
              <a:gd name="connsiteX165" fmla="*/ 2804160 w 3505200"/>
              <a:gd name="connsiteY165" fmla="*/ 2966720 h 8260080"/>
              <a:gd name="connsiteX166" fmla="*/ 2976880 w 3505200"/>
              <a:gd name="connsiteY166" fmla="*/ 2763520 h 8260080"/>
              <a:gd name="connsiteX167" fmla="*/ 2794000 w 3505200"/>
              <a:gd name="connsiteY167" fmla="*/ 2621280 h 8260080"/>
              <a:gd name="connsiteX168" fmla="*/ 2946400 w 3505200"/>
              <a:gd name="connsiteY168" fmla="*/ 2377440 h 8260080"/>
              <a:gd name="connsiteX169" fmla="*/ 2854960 w 3505200"/>
              <a:gd name="connsiteY169" fmla="*/ 2255520 h 8260080"/>
              <a:gd name="connsiteX170" fmla="*/ 3027680 w 3505200"/>
              <a:gd name="connsiteY170" fmla="*/ 2113280 h 8260080"/>
              <a:gd name="connsiteX171" fmla="*/ 3119120 w 3505200"/>
              <a:gd name="connsiteY171" fmla="*/ 2021840 h 8260080"/>
              <a:gd name="connsiteX172" fmla="*/ 3027680 w 3505200"/>
              <a:gd name="connsiteY172" fmla="*/ 1960880 h 8260080"/>
              <a:gd name="connsiteX173" fmla="*/ 3139440 w 3505200"/>
              <a:gd name="connsiteY173" fmla="*/ 1869440 h 8260080"/>
              <a:gd name="connsiteX174" fmla="*/ 3281680 w 3505200"/>
              <a:gd name="connsiteY174" fmla="*/ 1950720 h 8260080"/>
              <a:gd name="connsiteX175" fmla="*/ 3403600 w 3505200"/>
              <a:gd name="connsiteY175" fmla="*/ 1889760 h 8260080"/>
              <a:gd name="connsiteX176" fmla="*/ 3505200 w 3505200"/>
              <a:gd name="connsiteY176" fmla="*/ 1910080 h 8260080"/>
              <a:gd name="connsiteX177" fmla="*/ 3444240 w 3505200"/>
              <a:gd name="connsiteY177" fmla="*/ 1656080 h 8260080"/>
              <a:gd name="connsiteX178" fmla="*/ 3373120 w 3505200"/>
              <a:gd name="connsiteY178" fmla="*/ 1635760 h 8260080"/>
              <a:gd name="connsiteX179" fmla="*/ 3352800 w 3505200"/>
              <a:gd name="connsiteY179" fmla="*/ 1503680 h 8260080"/>
              <a:gd name="connsiteX180" fmla="*/ 3444240 w 3505200"/>
              <a:gd name="connsiteY180" fmla="*/ 1412240 h 8260080"/>
              <a:gd name="connsiteX181" fmla="*/ 3393440 w 3505200"/>
              <a:gd name="connsiteY181" fmla="*/ 1280160 h 8260080"/>
              <a:gd name="connsiteX182" fmla="*/ 3434080 w 3505200"/>
              <a:gd name="connsiteY182" fmla="*/ 1249680 h 8260080"/>
              <a:gd name="connsiteX183" fmla="*/ 3281680 w 3505200"/>
              <a:gd name="connsiteY183" fmla="*/ 1066800 h 8260080"/>
              <a:gd name="connsiteX184" fmla="*/ 3383280 w 3505200"/>
              <a:gd name="connsiteY184" fmla="*/ 975360 h 8260080"/>
              <a:gd name="connsiteX185" fmla="*/ 3302000 w 3505200"/>
              <a:gd name="connsiteY185" fmla="*/ 924560 h 8260080"/>
              <a:gd name="connsiteX186" fmla="*/ 3190240 w 3505200"/>
              <a:gd name="connsiteY186" fmla="*/ 944880 h 8260080"/>
              <a:gd name="connsiteX187" fmla="*/ 3281680 w 3505200"/>
              <a:gd name="connsiteY187" fmla="*/ 792480 h 8260080"/>
              <a:gd name="connsiteX188" fmla="*/ 3210560 w 3505200"/>
              <a:gd name="connsiteY188" fmla="*/ 650240 h 8260080"/>
              <a:gd name="connsiteX189" fmla="*/ 3302000 w 3505200"/>
              <a:gd name="connsiteY189" fmla="*/ 568960 h 8260080"/>
              <a:gd name="connsiteX190" fmla="*/ 3190240 w 3505200"/>
              <a:gd name="connsiteY190" fmla="*/ 487680 h 8260080"/>
              <a:gd name="connsiteX191" fmla="*/ 3108960 w 3505200"/>
              <a:gd name="connsiteY191" fmla="*/ 528320 h 8260080"/>
              <a:gd name="connsiteX192" fmla="*/ 3108960 w 3505200"/>
              <a:gd name="connsiteY192" fmla="*/ 406400 h 8260080"/>
              <a:gd name="connsiteX193" fmla="*/ 2926080 w 3505200"/>
              <a:gd name="connsiteY193" fmla="*/ 314960 h 8260080"/>
              <a:gd name="connsiteX194" fmla="*/ 2834640 w 3505200"/>
              <a:gd name="connsiteY194" fmla="*/ 355600 h 8260080"/>
              <a:gd name="connsiteX195" fmla="*/ 2682240 w 3505200"/>
              <a:gd name="connsiteY195" fmla="*/ 111760 h 8260080"/>
              <a:gd name="connsiteX196" fmla="*/ 2590800 w 3505200"/>
              <a:gd name="connsiteY196" fmla="*/ 121920 h 8260080"/>
              <a:gd name="connsiteX197" fmla="*/ 2611120 w 3505200"/>
              <a:gd name="connsiteY197" fmla="*/ 0 h 8260080"/>
              <a:gd name="connsiteX198" fmla="*/ 2438400 w 3505200"/>
              <a:gd name="connsiteY198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80829 w 3505200"/>
              <a:gd name="connsiteY79" fmla="*/ 7148354 h 8260080"/>
              <a:gd name="connsiteX80" fmla="*/ 242962 w 3505200"/>
              <a:gd name="connsiteY80" fmla="*/ 7226746 h 8260080"/>
              <a:gd name="connsiteX81" fmla="*/ 282892 w 3505200"/>
              <a:gd name="connsiteY81" fmla="*/ 7300436 h 8260080"/>
              <a:gd name="connsiteX82" fmla="*/ 310833 w 3505200"/>
              <a:gd name="connsiteY82" fmla="*/ 7299484 h 8260080"/>
              <a:gd name="connsiteX83" fmla="*/ 354881 w 3505200"/>
              <a:gd name="connsiteY83" fmla="*/ 7257702 h 8260080"/>
              <a:gd name="connsiteX84" fmla="*/ 337026 w 3505200"/>
              <a:gd name="connsiteY84" fmla="*/ 7316154 h 8260080"/>
              <a:gd name="connsiteX85" fmla="*/ 370364 w 3505200"/>
              <a:gd name="connsiteY85" fmla="*/ 7360602 h 8260080"/>
              <a:gd name="connsiteX86" fmla="*/ 447040 w 3505200"/>
              <a:gd name="connsiteY86" fmla="*/ 7366000 h 8260080"/>
              <a:gd name="connsiteX87" fmla="*/ 447040 w 3505200"/>
              <a:gd name="connsiteY87" fmla="*/ 7477760 h 8260080"/>
              <a:gd name="connsiteX88" fmla="*/ 558800 w 3505200"/>
              <a:gd name="connsiteY88" fmla="*/ 7528560 h 8260080"/>
              <a:gd name="connsiteX89" fmla="*/ 508000 w 3505200"/>
              <a:gd name="connsiteY89" fmla="*/ 7630160 h 8260080"/>
              <a:gd name="connsiteX90" fmla="*/ 436880 w 3505200"/>
              <a:gd name="connsiteY90" fmla="*/ 7609840 h 8260080"/>
              <a:gd name="connsiteX91" fmla="*/ 447040 w 3505200"/>
              <a:gd name="connsiteY91" fmla="*/ 7691120 h 8260080"/>
              <a:gd name="connsiteX92" fmla="*/ 518160 w 3505200"/>
              <a:gd name="connsiteY92" fmla="*/ 7741920 h 8260080"/>
              <a:gd name="connsiteX93" fmla="*/ 457200 w 3505200"/>
              <a:gd name="connsiteY93" fmla="*/ 7792720 h 8260080"/>
              <a:gd name="connsiteX94" fmla="*/ 396240 w 3505200"/>
              <a:gd name="connsiteY94" fmla="*/ 7701280 h 8260080"/>
              <a:gd name="connsiteX95" fmla="*/ 396240 w 3505200"/>
              <a:gd name="connsiteY95" fmla="*/ 7701280 h 8260080"/>
              <a:gd name="connsiteX96" fmla="*/ 436880 w 3505200"/>
              <a:gd name="connsiteY96" fmla="*/ 7874000 h 8260080"/>
              <a:gd name="connsiteX97" fmla="*/ 436880 w 3505200"/>
              <a:gd name="connsiteY97" fmla="*/ 7924800 h 8260080"/>
              <a:gd name="connsiteX98" fmla="*/ 548640 w 3505200"/>
              <a:gd name="connsiteY98" fmla="*/ 7965440 h 8260080"/>
              <a:gd name="connsiteX99" fmla="*/ 508000 w 3505200"/>
              <a:gd name="connsiteY99" fmla="*/ 8016240 h 8260080"/>
              <a:gd name="connsiteX100" fmla="*/ 589280 w 3505200"/>
              <a:gd name="connsiteY100" fmla="*/ 8056880 h 8260080"/>
              <a:gd name="connsiteX101" fmla="*/ 497840 w 3505200"/>
              <a:gd name="connsiteY101" fmla="*/ 8117840 h 8260080"/>
              <a:gd name="connsiteX102" fmla="*/ 518160 w 3505200"/>
              <a:gd name="connsiteY102" fmla="*/ 8209280 h 8260080"/>
              <a:gd name="connsiteX103" fmla="*/ 640080 w 3505200"/>
              <a:gd name="connsiteY103" fmla="*/ 8260080 h 8260080"/>
              <a:gd name="connsiteX104" fmla="*/ 731520 w 3505200"/>
              <a:gd name="connsiteY104" fmla="*/ 8219440 h 8260080"/>
              <a:gd name="connsiteX105" fmla="*/ 853440 w 3505200"/>
              <a:gd name="connsiteY105" fmla="*/ 8209280 h 8260080"/>
              <a:gd name="connsiteX106" fmla="*/ 955040 w 3505200"/>
              <a:gd name="connsiteY106" fmla="*/ 8260080 h 8260080"/>
              <a:gd name="connsiteX107" fmla="*/ 965200 w 3505200"/>
              <a:gd name="connsiteY107" fmla="*/ 8107680 h 8260080"/>
              <a:gd name="connsiteX108" fmla="*/ 894080 w 3505200"/>
              <a:gd name="connsiteY108" fmla="*/ 8026400 h 8260080"/>
              <a:gd name="connsiteX109" fmla="*/ 1016000 w 3505200"/>
              <a:gd name="connsiteY109" fmla="*/ 7863840 h 8260080"/>
              <a:gd name="connsiteX110" fmla="*/ 1107440 w 3505200"/>
              <a:gd name="connsiteY110" fmla="*/ 7894320 h 8260080"/>
              <a:gd name="connsiteX111" fmla="*/ 1127760 w 3505200"/>
              <a:gd name="connsiteY111" fmla="*/ 7853680 h 8260080"/>
              <a:gd name="connsiteX112" fmla="*/ 1066800 w 3505200"/>
              <a:gd name="connsiteY112" fmla="*/ 7813040 h 8260080"/>
              <a:gd name="connsiteX113" fmla="*/ 1137920 w 3505200"/>
              <a:gd name="connsiteY113" fmla="*/ 7762240 h 8260080"/>
              <a:gd name="connsiteX114" fmla="*/ 1330960 w 3505200"/>
              <a:gd name="connsiteY114" fmla="*/ 7802880 h 8260080"/>
              <a:gd name="connsiteX115" fmla="*/ 1361440 w 3505200"/>
              <a:gd name="connsiteY115" fmla="*/ 7772400 h 8260080"/>
              <a:gd name="connsiteX116" fmla="*/ 1483360 w 3505200"/>
              <a:gd name="connsiteY116" fmla="*/ 7823200 h 8260080"/>
              <a:gd name="connsiteX117" fmla="*/ 1554480 w 3505200"/>
              <a:gd name="connsiteY117" fmla="*/ 7731760 h 8260080"/>
              <a:gd name="connsiteX118" fmla="*/ 1524000 w 3505200"/>
              <a:gd name="connsiteY118" fmla="*/ 7640320 h 8260080"/>
              <a:gd name="connsiteX119" fmla="*/ 1645920 w 3505200"/>
              <a:gd name="connsiteY119" fmla="*/ 7437120 h 8260080"/>
              <a:gd name="connsiteX120" fmla="*/ 1635760 w 3505200"/>
              <a:gd name="connsiteY120" fmla="*/ 7335520 h 8260080"/>
              <a:gd name="connsiteX121" fmla="*/ 1696720 w 3505200"/>
              <a:gd name="connsiteY121" fmla="*/ 7223760 h 8260080"/>
              <a:gd name="connsiteX122" fmla="*/ 1625600 w 3505200"/>
              <a:gd name="connsiteY122" fmla="*/ 7172960 h 8260080"/>
              <a:gd name="connsiteX123" fmla="*/ 1747520 w 3505200"/>
              <a:gd name="connsiteY123" fmla="*/ 6990080 h 8260080"/>
              <a:gd name="connsiteX124" fmla="*/ 1666240 w 3505200"/>
              <a:gd name="connsiteY124" fmla="*/ 6939280 h 8260080"/>
              <a:gd name="connsiteX125" fmla="*/ 1737360 w 3505200"/>
              <a:gd name="connsiteY125" fmla="*/ 6888480 h 8260080"/>
              <a:gd name="connsiteX126" fmla="*/ 1645920 w 3505200"/>
              <a:gd name="connsiteY126" fmla="*/ 6776720 h 8260080"/>
              <a:gd name="connsiteX127" fmla="*/ 1808480 w 3505200"/>
              <a:gd name="connsiteY127" fmla="*/ 6715760 h 8260080"/>
              <a:gd name="connsiteX128" fmla="*/ 1727200 w 3505200"/>
              <a:gd name="connsiteY128" fmla="*/ 6614160 h 8260080"/>
              <a:gd name="connsiteX129" fmla="*/ 1686560 w 3505200"/>
              <a:gd name="connsiteY129" fmla="*/ 6421120 h 8260080"/>
              <a:gd name="connsiteX130" fmla="*/ 1889760 w 3505200"/>
              <a:gd name="connsiteY130" fmla="*/ 6299200 h 8260080"/>
              <a:gd name="connsiteX131" fmla="*/ 1940560 w 3505200"/>
              <a:gd name="connsiteY131" fmla="*/ 6228080 h 8260080"/>
              <a:gd name="connsiteX132" fmla="*/ 2032000 w 3505200"/>
              <a:gd name="connsiteY132" fmla="*/ 6136640 h 8260080"/>
              <a:gd name="connsiteX133" fmla="*/ 2011680 w 3505200"/>
              <a:gd name="connsiteY133" fmla="*/ 6014720 h 8260080"/>
              <a:gd name="connsiteX134" fmla="*/ 2123440 w 3505200"/>
              <a:gd name="connsiteY134" fmla="*/ 6065520 h 8260080"/>
              <a:gd name="connsiteX135" fmla="*/ 2092960 w 3505200"/>
              <a:gd name="connsiteY135" fmla="*/ 6167120 h 8260080"/>
              <a:gd name="connsiteX136" fmla="*/ 2286000 w 3505200"/>
              <a:gd name="connsiteY136" fmla="*/ 5933440 h 8260080"/>
              <a:gd name="connsiteX137" fmla="*/ 2255520 w 3505200"/>
              <a:gd name="connsiteY137" fmla="*/ 5801360 h 8260080"/>
              <a:gd name="connsiteX138" fmla="*/ 2448560 w 3505200"/>
              <a:gd name="connsiteY138" fmla="*/ 5598160 h 8260080"/>
              <a:gd name="connsiteX139" fmla="*/ 2357120 w 3505200"/>
              <a:gd name="connsiteY139" fmla="*/ 5435600 h 8260080"/>
              <a:gd name="connsiteX140" fmla="*/ 2225040 w 3505200"/>
              <a:gd name="connsiteY140" fmla="*/ 5415280 h 8260080"/>
              <a:gd name="connsiteX141" fmla="*/ 2103120 w 3505200"/>
              <a:gd name="connsiteY141" fmla="*/ 5222240 h 8260080"/>
              <a:gd name="connsiteX142" fmla="*/ 2092960 w 3505200"/>
              <a:gd name="connsiteY142" fmla="*/ 5110480 h 8260080"/>
              <a:gd name="connsiteX143" fmla="*/ 2052320 w 3505200"/>
              <a:gd name="connsiteY143" fmla="*/ 5151120 h 8260080"/>
              <a:gd name="connsiteX144" fmla="*/ 2042160 w 3505200"/>
              <a:gd name="connsiteY144" fmla="*/ 5242560 h 8260080"/>
              <a:gd name="connsiteX145" fmla="*/ 1981200 w 3505200"/>
              <a:gd name="connsiteY145" fmla="*/ 5191760 h 8260080"/>
              <a:gd name="connsiteX146" fmla="*/ 2011680 w 3505200"/>
              <a:gd name="connsiteY146" fmla="*/ 5120640 h 8260080"/>
              <a:gd name="connsiteX147" fmla="*/ 1930400 w 3505200"/>
              <a:gd name="connsiteY147" fmla="*/ 5100320 h 8260080"/>
              <a:gd name="connsiteX148" fmla="*/ 1859280 w 3505200"/>
              <a:gd name="connsiteY148" fmla="*/ 4917440 h 8260080"/>
              <a:gd name="connsiteX149" fmla="*/ 1828800 w 3505200"/>
              <a:gd name="connsiteY149" fmla="*/ 4622800 h 8260080"/>
              <a:gd name="connsiteX150" fmla="*/ 1910080 w 3505200"/>
              <a:gd name="connsiteY150" fmla="*/ 4419600 h 8260080"/>
              <a:gd name="connsiteX151" fmla="*/ 1920240 w 3505200"/>
              <a:gd name="connsiteY151" fmla="*/ 4277360 h 8260080"/>
              <a:gd name="connsiteX152" fmla="*/ 1971040 w 3505200"/>
              <a:gd name="connsiteY152" fmla="*/ 4124960 h 8260080"/>
              <a:gd name="connsiteX153" fmla="*/ 1879600 w 3505200"/>
              <a:gd name="connsiteY153" fmla="*/ 4023360 h 8260080"/>
              <a:gd name="connsiteX154" fmla="*/ 2072640 w 3505200"/>
              <a:gd name="connsiteY154" fmla="*/ 4003040 h 8260080"/>
              <a:gd name="connsiteX155" fmla="*/ 2092960 w 3505200"/>
              <a:gd name="connsiteY155" fmla="*/ 3850640 h 8260080"/>
              <a:gd name="connsiteX156" fmla="*/ 2001520 w 3505200"/>
              <a:gd name="connsiteY156" fmla="*/ 3728720 h 8260080"/>
              <a:gd name="connsiteX157" fmla="*/ 2164080 w 3505200"/>
              <a:gd name="connsiteY157" fmla="*/ 3769360 h 8260080"/>
              <a:gd name="connsiteX158" fmla="*/ 2265680 w 3505200"/>
              <a:gd name="connsiteY158" fmla="*/ 3566160 h 8260080"/>
              <a:gd name="connsiteX159" fmla="*/ 2336800 w 3505200"/>
              <a:gd name="connsiteY159" fmla="*/ 3515360 h 8260080"/>
              <a:gd name="connsiteX160" fmla="*/ 2367280 w 3505200"/>
              <a:gd name="connsiteY160" fmla="*/ 3362960 h 8260080"/>
              <a:gd name="connsiteX161" fmla="*/ 2489200 w 3505200"/>
              <a:gd name="connsiteY161" fmla="*/ 3423920 h 8260080"/>
              <a:gd name="connsiteX162" fmla="*/ 2560320 w 3505200"/>
              <a:gd name="connsiteY162" fmla="*/ 3302000 h 8260080"/>
              <a:gd name="connsiteX163" fmla="*/ 2743200 w 3505200"/>
              <a:gd name="connsiteY163" fmla="*/ 3149600 h 8260080"/>
              <a:gd name="connsiteX164" fmla="*/ 2844800 w 3505200"/>
              <a:gd name="connsiteY164" fmla="*/ 3088640 h 8260080"/>
              <a:gd name="connsiteX165" fmla="*/ 2804160 w 3505200"/>
              <a:gd name="connsiteY165" fmla="*/ 2966720 h 8260080"/>
              <a:gd name="connsiteX166" fmla="*/ 2976880 w 3505200"/>
              <a:gd name="connsiteY166" fmla="*/ 2763520 h 8260080"/>
              <a:gd name="connsiteX167" fmla="*/ 2794000 w 3505200"/>
              <a:gd name="connsiteY167" fmla="*/ 2621280 h 8260080"/>
              <a:gd name="connsiteX168" fmla="*/ 2946400 w 3505200"/>
              <a:gd name="connsiteY168" fmla="*/ 2377440 h 8260080"/>
              <a:gd name="connsiteX169" fmla="*/ 2854960 w 3505200"/>
              <a:gd name="connsiteY169" fmla="*/ 2255520 h 8260080"/>
              <a:gd name="connsiteX170" fmla="*/ 3027680 w 3505200"/>
              <a:gd name="connsiteY170" fmla="*/ 2113280 h 8260080"/>
              <a:gd name="connsiteX171" fmla="*/ 3119120 w 3505200"/>
              <a:gd name="connsiteY171" fmla="*/ 2021840 h 8260080"/>
              <a:gd name="connsiteX172" fmla="*/ 3027680 w 3505200"/>
              <a:gd name="connsiteY172" fmla="*/ 1960880 h 8260080"/>
              <a:gd name="connsiteX173" fmla="*/ 3139440 w 3505200"/>
              <a:gd name="connsiteY173" fmla="*/ 1869440 h 8260080"/>
              <a:gd name="connsiteX174" fmla="*/ 3281680 w 3505200"/>
              <a:gd name="connsiteY174" fmla="*/ 1950720 h 8260080"/>
              <a:gd name="connsiteX175" fmla="*/ 3403600 w 3505200"/>
              <a:gd name="connsiteY175" fmla="*/ 1889760 h 8260080"/>
              <a:gd name="connsiteX176" fmla="*/ 3505200 w 3505200"/>
              <a:gd name="connsiteY176" fmla="*/ 1910080 h 8260080"/>
              <a:gd name="connsiteX177" fmla="*/ 3444240 w 3505200"/>
              <a:gd name="connsiteY177" fmla="*/ 1656080 h 8260080"/>
              <a:gd name="connsiteX178" fmla="*/ 3373120 w 3505200"/>
              <a:gd name="connsiteY178" fmla="*/ 1635760 h 8260080"/>
              <a:gd name="connsiteX179" fmla="*/ 3352800 w 3505200"/>
              <a:gd name="connsiteY179" fmla="*/ 1503680 h 8260080"/>
              <a:gd name="connsiteX180" fmla="*/ 3444240 w 3505200"/>
              <a:gd name="connsiteY180" fmla="*/ 1412240 h 8260080"/>
              <a:gd name="connsiteX181" fmla="*/ 3393440 w 3505200"/>
              <a:gd name="connsiteY181" fmla="*/ 1280160 h 8260080"/>
              <a:gd name="connsiteX182" fmla="*/ 3434080 w 3505200"/>
              <a:gd name="connsiteY182" fmla="*/ 1249680 h 8260080"/>
              <a:gd name="connsiteX183" fmla="*/ 3281680 w 3505200"/>
              <a:gd name="connsiteY183" fmla="*/ 1066800 h 8260080"/>
              <a:gd name="connsiteX184" fmla="*/ 3383280 w 3505200"/>
              <a:gd name="connsiteY184" fmla="*/ 975360 h 8260080"/>
              <a:gd name="connsiteX185" fmla="*/ 3302000 w 3505200"/>
              <a:gd name="connsiteY185" fmla="*/ 924560 h 8260080"/>
              <a:gd name="connsiteX186" fmla="*/ 3190240 w 3505200"/>
              <a:gd name="connsiteY186" fmla="*/ 944880 h 8260080"/>
              <a:gd name="connsiteX187" fmla="*/ 3281680 w 3505200"/>
              <a:gd name="connsiteY187" fmla="*/ 792480 h 8260080"/>
              <a:gd name="connsiteX188" fmla="*/ 3210560 w 3505200"/>
              <a:gd name="connsiteY188" fmla="*/ 650240 h 8260080"/>
              <a:gd name="connsiteX189" fmla="*/ 3302000 w 3505200"/>
              <a:gd name="connsiteY189" fmla="*/ 568960 h 8260080"/>
              <a:gd name="connsiteX190" fmla="*/ 3190240 w 3505200"/>
              <a:gd name="connsiteY190" fmla="*/ 487680 h 8260080"/>
              <a:gd name="connsiteX191" fmla="*/ 3108960 w 3505200"/>
              <a:gd name="connsiteY191" fmla="*/ 528320 h 8260080"/>
              <a:gd name="connsiteX192" fmla="*/ 3108960 w 3505200"/>
              <a:gd name="connsiteY192" fmla="*/ 406400 h 8260080"/>
              <a:gd name="connsiteX193" fmla="*/ 2926080 w 3505200"/>
              <a:gd name="connsiteY193" fmla="*/ 314960 h 8260080"/>
              <a:gd name="connsiteX194" fmla="*/ 2834640 w 3505200"/>
              <a:gd name="connsiteY194" fmla="*/ 355600 h 8260080"/>
              <a:gd name="connsiteX195" fmla="*/ 2682240 w 3505200"/>
              <a:gd name="connsiteY195" fmla="*/ 111760 h 8260080"/>
              <a:gd name="connsiteX196" fmla="*/ 2590800 w 3505200"/>
              <a:gd name="connsiteY196" fmla="*/ 121920 h 8260080"/>
              <a:gd name="connsiteX197" fmla="*/ 2611120 w 3505200"/>
              <a:gd name="connsiteY197" fmla="*/ 0 h 8260080"/>
              <a:gd name="connsiteX198" fmla="*/ 2438400 w 3505200"/>
              <a:gd name="connsiteY198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80829 w 3505200"/>
              <a:gd name="connsiteY79" fmla="*/ 7148354 h 8260080"/>
              <a:gd name="connsiteX80" fmla="*/ 242962 w 3505200"/>
              <a:gd name="connsiteY80" fmla="*/ 7226746 h 8260080"/>
              <a:gd name="connsiteX81" fmla="*/ 282892 w 3505200"/>
              <a:gd name="connsiteY81" fmla="*/ 7300436 h 8260080"/>
              <a:gd name="connsiteX82" fmla="*/ 310833 w 3505200"/>
              <a:gd name="connsiteY82" fmla="*/ 7299484 h 8260080"/>
              <a:gd name="connsiteX83" fmla="*/ 319162 w 3505200"/>
              <a:gd name="connsiteY83" fmla="*/ 7310089 h 8260080"/>
              <a:gd name="connsiteX84" fmla="*/ 337026 w 3505200"/>
              <a:gd name="connsiteY84" fmla="*/ 7316154 h 8260080"/>
              <a:gd name="connsiteX85" fmla="*/ 370364 w 3505200"/>
              <a:gd name="connsiteY85" fmla="*/ 7360602 h 8260080"/>
              <a:gd name="connsiteX86" fmla="*/ 447040 w 3505200"/>
              <a:gd name="connsiteY86" fmla="*/ 7366000 h 8260080"/>
              <a:gd name="connsiteX87" fmla="*/ 447040 w 3505200"/>
              <a:gd name="connsiteY87" fmla="*/ 7477760 h 8260080"/>
              <a:gd name="connsiteX88" fmla="*/ 558800 w 3505200"/>
              <a:gd name="connsiteY88" fmla="*/ 7528560 h 8260080"/>
              <a:gd name="connsiteX89" fmla="*/ 508000 w 3505200"/>
              <a:gd name="connsiteY89" fmla="*/ 7630160 h 8260080"/>
              <a:gd name="connsiteX90" fmla="*/ 436880 w 3505200"/>
              <a:gd name="connsiteY90" fmla="*/ 7609840 h 8260080"/>
              <a:gd name="connsiteX91" fmla="*/ 447040 w 3505200"/>
              <a:gd name="connsiteY91" fmla="*/ 7691120 h 8260080"/>
              <a:gd name="connsiteX92" fmla="*/ 518160 w 3505200"/>
              <a:gd name="connsiteY92" fmla="*/ 7741920 h 8260080"/>
              <a:gd name="connsiteX93" fmla="*/ 457200 w 3505200"/>
              <a:gd name="connsiteY93" fmla="*/ 7792720 h 8260080"/>
              <a:gd name="connsiteX94" fmla="*/ 396240 w 3505200"/>
              <a:gd name="connsiteY94" fmla="*/ 7701280 h 8260080"/>
              <a:gd name="connsiteX95" fmla="*/ 396240 w 3505200"/>
              <a:gd name="connsiteY95" fmla="*/ 7701280 h 8260080"/>
              <a:gd name="connsiteX96" fmla="*/ 436880 w 3505200"/>
              <a:gd name="connsiteY96" fmla="*/ 7874000 h 8260080"/>
              <a:gd name="connsiteX97" fmla="*/ 436880 w 3505200"/>
              <a:gd name="connsiteY97" fmla="*/ 7924800 h 8260080"/>
              <a:gd name="connsiteX98" fmla="*/ 548640 w 3505200"/>
              <a:gd name="connsiteY98" fmla="*/ 7965440 h 8260080"/>
              <a:gd name="connsiteX99" fmla="*/ 508000 w 3505200"/>
              <a:gd name="connsiteY99" fmla="*/ 8016240 h 8260080"/>
              <a:gd name="connsiteX100" fmla="*/ 589280 w 3505200"/>
              <a:gd name="connsiteY100" fmla="*/ 8056880 h 8260080"/>
              <a:gd name="connsiteX101" fmla="*/ 497840 w 3505200"/>
              <a:gd name="connsiteY101" fmla="*/ 8117840 h 8260080"/>
              <a:gd name="connsiteX102" fmla="*/ 518160 w 3505200"/>
              <a:gd name="connsiteY102" fmla="*/ 8209280 h 8260080"/>
              <a:gd name="connsiteX103" fmla="*/ 640080 w 3505200"/>
              <a:gd name="connsiteY103" fmla="*/ 8260080 h 8260080"/>
              <a:gd name="connsiteX104" fmla="*/ 731520 w 3505200"/>
              <a:gd name="connsiteY104" fmla="*/ 8219440 h 8260080"/>
              <a:gd name="connsiteX105" fmla="*/ 853440 w 3505200"/>
              <a:gd name="connsiteY105" fmla="*/ 8209280 h 8260080"/>
              <a:gd name="connsiteX106" fmla="*/ 955040 w 3505200"/>
              <a:gd name="connsiteY106" fmla="*/ 8260080 h 8260080"/>
              <a:gd name="connsiteX107" fmla="*/ 965200 w 3505200"/>
              <a:gd name="connsiteY107" fmla="*/ 8107680 h 8260080"/>
              <a:gd name="connsiteX108" fmla="*/ 894080 w 3505200"/>
              <a:gd name="connsiteY108" fmla="*/ 8026400 h 8260080"/>
              <a:gd name="connsiteX109" fmla="*/ 1016000 w 3505200"/>
              <a:gd name="connsiteY109" fmla="*/ 7863840 h 8260080"/>
              <a:gd name="connsiteX110" fmla="*/ 1107440 w 3505200"/>
              <a:gd name="connsiteY110" fmla="*/ 7894320 h 8260080"/>
              <a:gd name="connsiteX111" fmla="*/ 1127760 w 3505200"/>
              <a:gd name="connsiteY111" fmla="*/ 7853680 h 8260080"/>
              <a:gd name="connsiteX112" fmla="*/ 1066800 w 3505200"/>
              <a:gd name="connsiteY112" fmla="*/ 7813040 h 8260080"/>
              <a:gd name="connsiteX113" fmla="*/ 1137920 w 3505200"/>
              <a:gd name="connsiteY113" fmla="*/ 7762240 h 8260080"/>
              <a:gd name="connsiteX114" fmla="*/ 1330960 w 3505200"/>
              <a:gd name="connsiteY114" fmla="*/ 7802880 h 8260080"/>
              <a:gd name="connsiteX115" fmla="*/ 1361440 w 3505200"/>
              <a:gd name="connsiteY115" fmla="*/ 7772400 h 8260080"/>
              <a:gd name="connsiteX116" fmla="*/ 1483360 w 3505200"/>
              <a:gd name="connsiteY116" fmla="*/ 7823200 h 8260080"/>
              <a:gd name="connsiteX117" fmla="*/ 1554480 w 3505200"/>
              <a:gd name="connsiteY117" fmla="*/ 7731760 h 8260080"/>
              <a:gd name="connsiteX118" fmla="*/ 1524000 w 3505200"/>
              <a:gd name="connsiteY118" fmla="*/ 7640320 h 8260080"/>
              <a:gd name="connsiteX119" fmla="*/ 1645920 w 3505200"/>
              <a:gd name="connsiteY119" fmla="*/ 7437120 h 8260080"/>
              <a:gd name="connsiteX120" fmla="*/ 1635760 w 3505200"/>
              <a:gd name="connsiteY120" fmla="*/ 7335520 h 8260080"/>
              <a:gd name="connsiteX121" fmla="*/ 1696720 w 3505200"/>
              <a:gd name="connsiteY121" fmla="*/ 7223760 h 8260080"/>
              <a:gd name="connsiteX122" fmla="*/ 1625600 w 3505200"/>
              <a:gd name="connsiteY122" fmla="*/ 7172960 h 8260080"/>
              <a:gd name="connsiteX123" fmla="*/ 1747520 w 3505200"/>
              <a:gd name="connsiteY123" fmla="*/ 6990080 h 8260080"/>
              <a:gd name="connsiteX124" fmla="*/ 1666240 w 3505200"/>
              <a:gd name="connsiteY124" fmla="*/ 6939280 h 8260080"/>
              <a:gd name="connsiteX125" fmla="*/ 1737360 w 3505200"/>
              <a:gd name="connsiteY125" fmla="*/ 6888480 h 8260080"/>
              <a:gd name="connsiteX126" fmla="*/ 1645920 w 3505200"/>
              <a:gd name="connsiteY126" fmla="*/ 6776720 h 8260080"/>
              <a:gd name="connsiteX127" fmla="*/ 1808480 w 3505200"/>
              <a:gd name="connsiteY127" fmla="*/ 6715760 h 8260080"/>
              <a:gd name="connsiteX128" fmla="*/ 1727200 w 3505200"/>
              <a:gd name="connsiteY128" fmla="*/ 6614160 h 8260080"/>
              <a:gd name="connsiteX129" fmla="*/ 1686560 w 3505200"/>
              <a:gd name="connsiteY129" fmla="*/ 6421120 h 8260080"/>
              <a:gd name="connsiteX130" fmla="*/ 1889760 w 3505200"/>
              <a:gd name="connsiteY130" fmla="*/ 6299200 h 8260080"/>
              <a:gd name="connsiteX131" fmla="*/ 1940560 w 3505200"/>
              <a:gd name="connsiteY131" fmla="*/ 6228080 h 8260080"/>
              <a:gd name="connsiteX132" fmla="*/ 2032000 w 3505200"/>
              <a:gd name="connsiteY132" fmla="*/ 6136640 h 8260080"/>
              <a:gd name="connsiteX133" fmla="*/ 2011680 w 3505200"/>
              <a:gd name="connsiteY133" fmla="*/ 6014720 h 8260080"/>
              <a:gd name="connsiteX134" fmla="*/ 2123440 w 3505200"/>
              <a:gd name="connsiteY134" fmla="*/ 6065520 h 8260080"/>
              <a:gd name="connsiteX135" fmla="*/ 2092960 w 3505200"/>
              <a:gd name="connsiteY135" fmla="*/ 6167120 h 8260080"/>
              <a:gd name="connsiteX136" fmla="*/ 2286000 w 3505200"/>
              <a:gd name="connsiteY136" fmla="*/ 5933440 h 8260080"/>
              <a:gd name="connsiteX137" fmla="*/ 2255520 w 3505200"/>
              <a:gd name="connsiteY137" fmla="*/ 5801360 h 8260080"/>
              <a:gd name="connsiteX138" fmla="*/ 2448560 w 3505200"/>
              <a:gd name="connsiteY138" fmla="*/ 5598160 h 8260080"/>
              <a:gd name="connsiteX139" fmla="*/ 2357120 w 3505200"/>
              <a:gd name="connsiteY139" fmla="*/ 5435600 h 8260080"/>
              <a:gd name="connsiteX140" fmla="*/ 2225040 w 3505200"/>
              <a:gd name="connsiteY140" fmla="*/ 5415280 h 8260080"/>
              <a:gd name="connsiteX141" fmla="*/ 2103120 w 3505200"/>
              <a:gd name="connsiteY141" fmla="*/ 5222240 h 8260080"/>
              <a:gd name="connsiteX142" fmla="*/ 2092960 w 3505200"/>
              <a:gd name="connsiteY142" fmla="*/ 5110480 h 8260080"/>
              <a:gd name="connsiteX143" fmla="*/ 2052320 w 3505200"/>
              <a:gd name="connsiteY143" fmla="*/ 5151120 h 8260080"/>
              <a:gd name="connsiteX144" fmla="*/ 2042160 w 3505200"/>
              <a:gd name="connsiteY144" fmla="*/ 5242560 h 8260080"/>
              <a:gd name="connsiteX145" fmla="*/ 1981200 w 3505200"/>
              <a:gd name="connsiteY145" fmla="*/ 5191760 h 8260080"/>
              <a:gd name="connsiteX146" fmla="*/ 2011680 w 3505200"/>
              <a:gd name="connsiteY146" fmla="*/ 5120640 h 8260080"/>
              <a:gd name="connsiteX147" fmla="*/ 1930400 w 3505200"/>
              <a:gd name="connsiteY147" fmla="*/ 5100320 h 8260080"/>
              <a:gd name="connsiteX148" fmla="*/ 1859280 w 3505200"/>
              <a:gd name="connsiteY148" fmla="*/ 4917440 h 8260080"/>
              <a:gd name="connsiteX149" fmla="*/ 1828800 w 3505200"/>
              <a:gd name="connsiteY149" fmla="*/ 4622800 h 8260080"/>
              <a:gd name="connsiteX150" fmla="*/ 1910080 w 3505200"/>
              <a:gd name="connsiteY150" fmla="*/ 4419600 h 8260080"/>
              <a:gd name="connsiteX151" fmla="*/ 1920240 w 3505200"/>
              <a:gd name="connsiteY151" fmla="*/ 4277360 h 8260080"/>
              <a:gd name="connsiteX152" fmla="*/ 1971040 w 3505200"/>
              <a:gd name="connsiteY152" fmla="*/ 4124960 h 8260080"/>
              <a:gd name="connsiteX153" fmla="*/ 1879600 w 3505200"/>
              <a:gd name="connsiteY153" fmla="*/ 4023360 h 8260080"/>
              <a:gd name="connsiteX154" fmla="*/ 2072640 w 3505200"/>
              <a:gd name="connsiteY154" fmla="*/ 4003040 h 8260080"/>
              <a:gd name="connsiteX155" fmla="*/ 2092960 w 3505200"/>
              <a:gd name="connsiteY155" fmla="*/ 3850640 h 8260080"/>
              <a:gd name="connsiteX156" fmla="*/ 2001520 w 3505200"/>
              <a:gd name="connsiteY156" fmla="*/ 3728720 h 8260080"/>
              <a:gd name="connsiteX157" fmla="*/ 2164080 w 3505200"/>
              <a:gd name="connsiteY157" fmla="*/ 3769360 h 8260080"/>
              <a:gd name="connsiteX158" fmla="*/ 2265680 w 3505200"/>
              <a:gd name="connsiteY158" fmla="*/ 3566160 h 8260080"/>
              <a:gd name="connsiteX159" fmla="*/ 2336800 w 3505200"/>
              <a:gd name="connsiteY159" fmla="*/ 3515360 h 8260080"/>
              <a:gd name="connsiteX160" fmla="*/ 2367280 w 3505200"/>
              <a:gd name="connsiteY160" fmla="*/ 3362960 h 8260080"/>
              <a:gd name="connsiteX161" fmla="*/ 2489200 w 3505200"/>
              <a:gd name="connsiteY161" fmla="*/ 3423920 h 8260080"/>
              <a:gd name="connsiteX162" fmla="*/ 2560320 w 3505200"/>
              <a:gd name="connsiteY162" fmla="*/ 3302000 h 8260080"/>
              <a:gd name="connsiteX163" fmla="*/ 2743200 w 3505200"/>
              <a:gd name="connsiteY163" fmla="*/ 3149600 h 8260080"/>
              <a:gd name="connsiteX164" fmla="*/ 2844800 w 3505200"/>
              <a:gd name="connsiteY164" fmla="*/ 3088640 h 8260080"/>
              <a:gd name="connsiteX165" fmla="*/ 2804160 w 3505200"/>
              <a:gd name="connsiteY165" fmla="*/ 2966720 h 8260080"/>
              <a:gd name="connsiteX166" fmla="*/ 2976880 w 3505200"/>
              <a:gd name="connsiteY166" fmla="*/ 2763520 h 8260080"/>
              <a:gd name="connsiteX167" fmla="*/ 2794000 w 3505200"/>
              <a:gd name="connsiteY167" fmla="*/ 2621280 h 8260080"/>
              <a:gd name="connsiteX168" fmla="*/ 2946400 w 3505200"/>
              <a:gd name="connsiteY168" fmla="*/ 2377440 h 8260080"/>
              <a:gd name="connsiteX169" fmla="*/ 2854960 w 3505200"/>
              <a:gd name="connsiteY169" fmla="*/ 2255520 h 8260080"/>
              <a:gd name="connsiteX170" fmla="*/ 3027680 w 3505200"/>
              <a:gd name="connsiteY170" fmla="*/ 2113280 h 8260080"/>
              <a:gd name="connsiteX171" fmla="*/ 3119120 w 3505200"/>
              <a:gd name="connsiteY171" fmla="*/ 2021840 h 8260080"/>
              <a:gd name="connsiteX172" fmla="*/ 3027680 w 3505200"/>
              <a:gd name="connsiteY172" fmla="*/ 1960880 h 8260080"/>
              <a:gd name="connsiteX173" fmla="*/ 3139440 w 3505200"/>
              <a:gd name="connsiteY173" fmla="*/ 1869440 h 8260080"/>
              <a:gd name="connsiteX174" fmla="*/ 3281680 w 3505200"/>
              <a:gd name="connsiteY174" fmla="*/ 1950720 h 8260080"/>
              <a:gd name="connsiteX175" fmla="*/ 3403600 w 3505200"/>
              <a:gd name="connsiteY175" fmla="*/ 1889760 h 8260080"/>
              <a:gd name="connsiteX176" fmla="*/ 3505200 w 3505200"/>
              <a:gd name="connsiteY176" fmla="*/ 1910080 h 8260080"/>
              <a:gd name="connsiteX177" fmla="*/ 3444240 w 3505200"/>
              <a:gd name="connsiteY177" fmla="*/ 1656080 h 8260080"/>
              <a:gd name="connsiteX178" fmla="*/ 3373120 w 3505200"/>
              <a:gd name="connsiteY178" fmla="*/ 1635760 h 8260080"/>
              <a:gd name="connsiteX179" fmla="*/ 3352800 w 3505200"/>
              <a:gd name="connsiteY179" fmla="*/ 1503680 h 8260080"/>
              <a:gd name="connsiteX180" fmla="*/ 3444240 w 3505200"/>
              <a:gd name="connsiteY180" fmla="*/ 1412240 h 8260080"/>
              <a:gd name="connsiteX181" fmla="*/ 3393440 w 3505200"/>
              <a:gd name="connsiteY181" fmla="*/ 1280160 h 8260080"/>
              <a:gd name="connsiteX182" fmla="*/ 3434080 w 3505200"/>
              <a:gd name="connsiteY182" fmla="*/ 1249680 h 8260080"/>
              <a:gd name="connsiteX183" fmla="*/ 3281680 w 3505200"/>
              <a:gd name="connsiteY183" fmla="*/ 1066800 h 8260080"/>
              <a:gd name="connsiteX184" fmla="*/ 3383280 w 3505200"/>
              <a:gd name="connsiteY184" fmla="*/ 975360 h 8260080"/>
              <a:gd name="connsiteX185" fmla="*/ 3302000 w 3505200"/>
              <a:gd name="connsiteY185" fmla="*/ 924560 h 8260080"/>
              <a:gd name="connsiteX186" fmla="*/ 3190240 w 3505200"/>
              <a:gd name="connsiteY186" fmla="*/ 944880 h 8260080"/>
              <a:gd name="connsiteX187" fmla="*/ 3281680 w 3505200"/>
              <a:gd name="connsiteY187" fmla="*/ 792480 h 8260080"/>
              <a:gd name="connsiteX188" fmla="*/ 3210560 w 3505200"/>
              <a:gd name="connsiteY188" fmla="*/ 650240 h 8260080"/>
              <a:gd name="connsiteX189" fmla="*/ 3302000 w 3505200"/>
              <a:gd name="connsiteY189" fmla="*/ 568960 h 8260080"/>
              <a:gd name="connsiteX190" fmla="*/ 3190240 w 3505200"/>
              <a:gd name="connsiteY190" fmla="*/ 487680 h 8260080"/>
              <a:gd name="connsiteX191" fmla="*/ 3108960 w 3505200"/>
              <a:gd name="connsiteY191" fmla="*/ 528320 h 8260080"/>
              <a:gd name="connsiteX192" fmla="*/ 3108960 w 3505200"/>
              <a:gd name="connsiteY192" fmla="*/ 406400 h 8260080"/>
              <a:gd name="connsiteX193" fmla="*/ 2926080 w 3505200"/>
              <a:gd name="connsiteY193" fmla="*/ 314960 h 8260080"/>
              <a:gd name="connsiteX194" fmla="*/ 2834640 w 3505200"/>
              <a:gd name="connsiteY194" fmla="*/ 355600 h 8260080"/>
              <a:gd name="connsiteX195" fmla="*/ 2682240 w 3505200"/>
              <a:gd name="connsiteY195" fmla="*/ 111760 h 8260080"/>
              <a:gd name="connsiteX196" fmla="*/ 2590800 w 3505200"/>
              <a:gd name="connsiteY196" fmla="*/ 121920 h 8260080"/>
              <a:gd name="connsiteX197" fmla="*/ 2611120 w 3505200"/>
              <a:gd name="connsiteY197" fmla="*/ 0 h 8260080"/>
              <a:gd name="connsiteX198" fmla="*/ 2438400 w 3505200"/>
              <a:gd name="connsiteY198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50106 w 3505200"/>
              <a:gd name="connsiteY79" fmla="*/ 7088634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50106 w 3505200"/>
              <a:gd name="connsiteY79" fmla="*/ 7088634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50106 w 3505200"/>
              <a:gd name="connsiteY79" fmla="*/ 7088634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47725 w 3505200"/>
              <a:gd name="connsiteY79" fmla="*/ 7088634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7242 w 3505200"/>
              <a:gd name="connsiteY78" fmla="*/ 7055296 h 8260080"/>
              <a:gd name="connsiteX79" fmla="*/ 247725 w 3505200"/>
              <a:gd name="connsiteY79" fmla="*/ 7088634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7242 w 3505200"/>
              <a:gd name="connsiteY78" fmla="*/ 7055296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7242 w 3505200"/>
              <a:gd name="connsiteY78" fmla="*/ 7055296 h 8260080"/>
              <a:gd name="connsiteX79" fmla="*/ 240581 w 3505200"/>
              <a:gd name="connsiteY79" fmla="*/ 6983859 h 8260080"/>
              <a:gd name="connsiteX80" fmla="*/ 240582 w 3505200"/>
              <a:gd name="connsiteY80" fmla="*/ 7079109 h 8260080"/>
              <a:gd name="connsiteX81" fmla="*/ 280829 w 3505200"/>
              <a:gd name="connsiteY81" fmla="*/ 7148354 h 8260080"/>
              <a:gd name="connsiteX82" fmla="*/ 242962 w 3505200"/>
              <a:gd name="connsiteY82" fmla="*/ 7226746 h 8260080"/>
              <a:gd name="connsiteX83" fmla="*/ 282892 w 3505200"/>
              <a:gd name="connsiteY83" fmla="*/ 7300436 h 8260080"/>
              <a:gd name="connsiteX84" fmla="*/ 310833 w 3505200"/>
              <a:gd name="connsiteY84" fmla="*/ 7299484 h 8260080"/>
              <a:gd name="connsiteX85" fmla="*/ 319162 w 3505200"/>
              <a:gd name="connsiteY85" fmla="*/ 7310089 h 8260080"/>
              <a:gd name="connsiteX86" fmla="*/ 337026 w 3505200"/>
              <a:gd name="connsiteY86" fmla="*/ 7316154 h 8260080"/>
              <a:gd name="connsiteX87" fmla="*/ 370364 w 3505200"/>
              <a:gd name="connsiteY87" fmla="*/ 7360602 h 8260080"/>
              <a:gd name="connsiteX88" fmla="*/ 447040 w 3505200"/>
              <a:gd name="connsiteY88" fmla="*/ 7366000 h 8260080"/>
              <a:gd name="connsiteX89" fmla="*/ 447040 w 3505200"/>
              <a:gd name="connsiteY89" fmla="*/ 7477760 h 8260080"/>
              <a:gd name="connsiteX90" fmla="*/ 558800 w 3505200"/>
              <a:gd name="connsiteY90" fmla="*/ 7528560 h 8260080"/>
              <a:gd name="connsiteX91" fmla="*/ 508000 w 3505200"/>
              <a:gd name="connsiteY91" fmla="*/ 7630160 h 8260080"/>
              <a:gd name="connsiteX92" fmla="*/ 436880 w 3505200"/>
              <a:gd name="connsiteY92" fmla="*/ 7609840 h 8260080"/>
              <a:gd name="connsiteX93" fmla="*/ 447040 w 3505200"/>
              <a:gd name="connsiteY93" fmla="*/ 7691120 h 8260080"/>
              <a:gd name="connsiteX94" fmla="*/ 518160 w 3505200"/>
              <a:gd name="connsiteY94" fmla="*/ 7741920 h 8260080"/>
              <a:gd name="connsiteX95" fmla="*/ 457200 w 3505200"/>
              <a:gd name="connsiteY95" fmla="*/ 7792720 h 8260080"/>
              <a:gd name="connsiteX96" fmla="*/ 396240 w 3505200"/>
              <a:gd name="connsiteY96" fmla="*/ 7701280 h 8260080"/>
              <a:gd name="connsiteX97" fmla="*/ 396240 w 3505200"/>
              <a:gd name="connsiteY97" fmla="*/ 7701280 h 8260080"/>
              <a:gd name="connsiteX98" fmla="*/ 436880 w 3505200"/>
              <a:gd name="connsiteY98" fmla="*/ 7874000 h 8260080"/>
              <a:gd name="connsiteX99" fmla="*/ 436880 w 3505200"/>
              <a:gd name="connsiteY99" fmla="*/ 7924800 h 8260080"/>
              <a:gd name="connsiteX100" fmla="*/ 548640 w 3505200"/>
              <a:gd name="connsiteY100" fmla="*/ 7965440 h 8260080"/>
              <a:gd name="connsiteX101" fmla="*/ 508000 w 3505200"/>
              <a:gd name="connsiteY101" fmla="*/ 8016240 h 8260080"/>
              <a:gd name="connsiteX102" fmla="*/ 589280 w 3505200"/>
              <a:gd name="connsiteY102" fmla="*/ 8056880 h 8260080"/>
              <a:gd name="connsiteX103" fmla="*/ 497840 w 3505200"/>
              <a:gd name="connsiteY103" fmla="*/ 8117840 h 8260080"/>
              <a:gd name="connsiteX104" fmla="*/ 518160 w 3505200"/>
              <a:gd name="connsiteY104" fmla="*/ 8209280 h 8260080"/>
              <a:gd name="connsiteX105" fmla="*/ 640080 w 3505200"/>
              <a:gd name="connsiteY105" fmla="*/ 8260080 h 8260080"/>
              <a:gd name="connsiteX106" fmla="*/ 731520 w 3505200"/>
              <a:gd name="connsiteY106" fmla="*/ 8219440 h 8260080"/>
              <a:gd name="connsiteX107" fmla="*/ 853440 w 3505200"/>
              <a:gd name="connsiteY107" fmla="*/ 8209280 h 8260080"/>
              <a:gd name="connsiteX108" fmla="*/ 955040 w 3505200"/>
              <a:gd name="connsiteY108" fmla="*/ 8260080 h 8260080"/>
              <a:gd name="connsiteX109" fmla="*/ 965200 w 3505200"/>
              <a:gd name="connsiteY109" fmla="*/ 8107680 h 8260080"/>
              <a:gd name="connsiteX110" fmla="*/ 894080 w 3505200"/>
              <a:gd name="connsiteY110" fmla="*/ 8026400 h 8260080"/>
              <a:gd name="connsiteX111" fmla="*/ 1016000 w 3505200"/>
              <a:gd name="connsiteY111" fmla="*/ 7863840 h 8260080"/>
              <a:gd name="connsiteX112" fmla="*/ 1107440 w 3505200"/>
              <a:gd name="connsiteY112" fmla="*/ 7894320 h 8260080"/>
              <a:gd name="connsiteX113" fmla="*/ 1127760 w 3505200"/>
              <a:gd name="connsiteY113" fmla="*/ 7853680 h 8260080"/>
              <a:gd name="connsiteX114" fmla="*/ 1066800 w 3505200"/>
              <a:gd name="connsiteY114" fmla="*/ 7813040 h 8260080"/>
              <a:gd name="connsiteX115" fmla="*/ 1137920 w 3505200"/>
              <a:gd name="connsiteY115" fmla="*/ 7762240 h 8260080"/>
              <a:gd name="connsiteX116" fmla="*/ 1330960 w 3505200"/>
              <a:gd name="connsiteY116" fmla="*/ 7802880 h 8260080"/>
              <a:gd name="connsiteX117" fmla="*/ 1361440 w 3505200"/>
              <a:gd name="connsiteY117" fmla="*/ 7772400 h 8260080"/>
              <a:gd name="connsiteX118" fmla="*/ 1483360 w 3505200"/>
              <a:gd name="connsiteY118" fmla="*/ 7823200 h 8260080"/>
              <a:gd name="connsiteX119" fmla="*/ 1554480 w 3505200"/>
              <a:gd name="connsiteY119" fmla="*/ 7731760 h 8260080"/>
              <a:gd name="connsiteX120" fmla="*/ 1524000 w 3505200"/>
              <a:gd name="connsiteY120" fmla="*/ 7640320 h 8260080"/>
              <a:gd name="connsiteX121" fmla="*/ 1645920 w 3505200"/>
              <a:gd name="connsiteY121" fmla="*/ 7437120 h 8260080"/>
              <a:gd name="connsiteX122" fmla="*/ 1635760 w 3505200"/>
              <a:gd name="connsiteY122" fmla="*/ 7335520 h 8260080"/>
              <a:gd name="connsiteX123" fmla="*/ 1696720 w 3505200"/>
              <a:gd name="connsiteY123" fmla="*/ 7223760 h 8260080"/>
              <a:gd name="connsiteX124" fmla="*/ 1625600 w 3505200"/>
              <a:gd name="connsiteY124" fmla="*/ 7172960 h 8260080"/>
              <a:gd name="connsiteX125" fmla="*/ 1747520 w 3505200"/>
              <a:gd name="connsiteY125" fmla="*/ 6990080 h 8260080"/>
              <a:gd name="connsiteX126" fmla="*/ 1666240 w 3505200"/>
              <a:gd name="connsiteY126" fmla="*/ 6939280 h 8260080"/>
              <a:gd name="connsiteX127" fmla="*/ 1737360 w 3505200"/>
              <a:gd name="connsiteY127" fmla="*/ 6888480 h 8260080"/>
              <a:gd name="connsiteX128" fmla="*/ 1645920 w 3505200"/>
              <a:gd name="connsiteY128" fmla="*/ 6776720 h 8260080"/>
              <a:gd name="connsiteX129" fmla="*/ 1808480 w 3505200"/>
              <a:gd name="connsiteY129" fmla="*/ 6715760 h 8260080"/>
              <a:gd name="connsiteX130" fmla="*/ 1727200 w 3505200"/>
              <a:gd name="connsiteY130" fmla="*/ 6614160 h 8260080"/>
              <a:gd name="connsiteX131" fmla="*/ 1686560 w 3505200"/>
              <a:gd name="connsiteY131" fmla="*/ 6421120 h 8260080"/>
              <a:gd name="connsiteX132" fmla="*/ 1889760 w 3505200"/>
              <a:gd name="connsiteY132" fmla="*/ 6299200 h 8260080"/>
              <a:gd name="connsiteX133" fmla="*/ 1940560 w 3505200"/>
              <a:gd name="connsiteY133" fmla="*/ 6228080 h 8260080"/>
              <a:gd name="connsiteX134" fmla="*/ 2032000 w 3505200"/>
              <a:gd name="connsiteY134" fmla="*/ 6136640 h 8260080"/>
              <a:gd name="connsiteX135" fmla="*/ 2011680 w 3505200"/>
              <a:gd name="connsiteY135" fmla="*/ 6014720 h 8260080"/>
              <a:gd name="connsiteX136" fmla="*/ 2123440 w 3505200"/>
              <a:gd name="connsiteY136" fmla="*/ 6065520 h 8260080"/>
              <a:gd name="connsiteX137" fmla="*/ 2092960 w 3505200"/>
              <a:gd name="connsiteY137" fmla="*/ 6167120 h 8260080"/>
              <a:gd name="connsiteX138" fmla="*/ 2286000 w 3505200"/>
              <a:gd name="connsiteY138" fmla="*/ 5933440 h 8260080"/>
              <a:gd name="connsiteX139" fmla="*/ 2255520 w 3505200"/>
              <a:gd name="connsiteY139" fmla="*/ 5801360 h 8260080"/>
              <a:gd name="connsiteX140" fmla="*/ 2448560 w 3505200"/>
              <a:gd name="connsiteY140" fmla="*/ 5598160 h 8260080"/>
              <a:gd name="connsiteX141" fmla="*/ 2357120 w 3505200"/>
              <a:gd name="connsiteY141" fmla="*/ 5435600 h 8260080"/>
              <a:gd name="connsiteX142" fmla="*/ 2225040 w 3505200"/>
              <a:gd name="connsiteY142" fmla="*/ 5415280 h 8260080"/>
              <a:gd name="connsiteX143" fmla="*/ 2103120 w 3505200"/>
              <a:gd name="connsiteY143" fmla="*/ 5222240 h 8260080"/>
              <a:gd name="connsiteX144" fmla="*/ 2092960 w 3505200"/>
              <a:gd name="connsiteY144" fmla="*/ 5110480 h 8260080"/>
              <a:gd name="connsiteX145" fmla="*/ 2052320 w 3505200"/>
              <a:gd name="connsiteY145" fmla="*/ 5151120 h 8260080"/>
              <a:gd name="connsiteX146" fmla="*/ 2042160 w 3505200"/>
              <a:gd name="connsiteY146" fmla="*/ 5242560 h 8260080"/>
              <a:gd name="connsiteX147" fmla="*/ 1981200 w 3505200"/>
              <a:gd name="connsiteY147" fmla="*/ 5191760 h 8260080"/>
              <a:gd name="connsiteX148" fmla="*/ 2011680 w 3505200"/>
              <a:gd name="connsiteY148" fmla="*/ 5120640 h 8260080"/>
              <a:gd name="connsiteX149" fmla="*/ 1930400 w 3505200"/>
              <a:gd name="connsiteY149" fmla="*/ 5100320 h 8260080"/>
              <a:gd name="connsiteX150" fmla="*/ 1859280 w 3505200"/>
              <a:gd name="connsiteY150" fmla="*/ 4917440 h 8260080"/>
              <a:gd name="connsiteX151" fmla="*/ 1828800 w 3505200"/>
              <a:gd name="connsiteY151" fmla="*/ 4622800 h 8260080"/>
              <a:gd name="connsiteX152" fmla="*/ 1910080 w 3505200"/>
              <a:gd name="connsiteY152" fmla="*/ 4419600 h 8260080"/>
              <a:gd name="connsiteX153" fmla="*/ 1920240 w 3505200"/>
              <a:gd name="connsiteY153" fmla="*/ 4277360 h 8260080"/>
              <a:gd name="connsiteX154" fmla="*/ 1971040 w 3505200"/>
              <a:gd name="connsiteY154" fmla="*/ 4124960 h 8260080"/>
              <a:gd name="connsiteX155" fmla="*/ 1879600 w 3505200"/>
              <a:gd name="connsiteY155" fmla="*/ 4023360 h 8260080"/>
              <a:gd name="connsiteX156" fmla="*/ 2072640 w 3505200"/>
              <a:gd name="connsiteY156" fmla="*/ 4003040 h 8260080"/>
              <a:gd name="connsiteX157" fmla="*/ 2092960 w 3505200"/>
              <a:gd name="connsiteY157" fmla="*/ 3850640 h 8260080"/>
              <a:gd name="connsiteX158" fmla="*/ 2001520 w 3505200"/>
              <a:gd name="connsiteY158" fmla="*/ 3728720 h 8260080"/>
              <a:gd name="connsiteX159" fmla="*/ 2164080 w 3505200"/>
              <a:gd name="connsiteY159" fmla="*/ 3769360 h 8260080"/>
              <a:gd name="connsiteX160" fmla="*/ 2265680 w 3505200"/>
              <a:gd name="connsiteY160" fmla="*/ 3566160 h 8260080"/>
              <a:gd name="connsiteX161" fmla="*/ 2336800 w 3505200"/>
              <a:gd name="connsiteY161" fmla="*/ 3515360 h 8260080"/>
              <a:gd name="connsiteX162" fmla="*/ 2367280 w 3505200"/>
              <a:gd name="connsiteY162" fmla="*/ 3362960 h 8260080"/>
              <a:gd name="connsiteX163" fmla="*/ 2489200 w 3505200"/>
              <a:gd name="connsiteY163" fmla="*/ 3423920 h 8260080"/>
              <a:gd name="connsiteX164" fmla="*/ 2560320 w 3505200"/>
              <a:gd name="connsiteY164" fmla="*/ 3302000 h 8260080"/>
              <a:gd name="connsiteX165" fmla="*/ 2743200 w 3505200"/>
              <a:gd name="connsiteY165" fmla="*/ 3149600 h 8260080"/>
              <a:gd name="connsiteX166" fmla="*/ 2844800 w 3505200"/>
              <a:gd name="connsiteY166" fmla="*/ 3088640 h 8260080"/>
              <a:gd name="connsiteX167" fmla="*/ 2804160 w 3505200"/>
              <a:gd name="connsiteY167" fmla="*/ 2966720 h 8260080"/>
              <a:gd name="connsiteX168" fmla="*/ 2976880 w 3505200"/>
              <a:gd name="connsiteY168" fmla="*/ 2763520 h 8260080"/>
              <a:gd name="connsiteX169" fmla="*/ 2794000 w 3505200"/>
              <a:gd name="connsiteY169" fmla="*/ 2621280 h 8260080"/>
              <a:gd name="connsiteX170" fmla="*/ 2946400 w 3505200"/>
              <a:gd name="connsiteY170" fmla="*/ 2377440 h 8260080"/>
              <a:gd name="connsiteX171" fmla="*/ 2854960 w 3505200"/>
              <a:gd name="connsiteY171" fmla="*/ 2255520 h 8260080"/>
              <a:gd name="connsiteX172" fmla="*/ 3027680 w 3505200"/>
              <a:gd name="connsiteY172" fmla="*/ 2113280 h 8260080"/>
              <a:gd name="connsiteX173" fmla="*/ 3119120 w 3505200"/>
              <a:gd name="connsiteY173" fmla="*/ 2021840 h 8260080"/>
              <a:gd name="connsiteX174" fmla="*/ 3027680 w 3505200"/>
              <a:gd name="connsiteY174" fmla="*/ 1960880 h 8260080"/>
              <a:gd name="connsiteX175" fmla="*/ 3139440 w 3505200"/>
              <a:gd name="connsiteY175" fmla="*/ 1869440 h 8260080"/>
              <a:gd name="connsiteX176" fmla="*/ 3281680 w 3505200"/>
              <a:gd name="connsiteY176" fmla="*/ 1950720 h 8260080"/>
              <a:gd name="connsiteX177" fmla="*/ 3403600 w 3505200"/>
              <a:gd name="connsiteY177" fmla="*/ 1889760 h 8260080"/>
              <a:gd name="connsiteX178" fmla="*/ 3505200 w 3505200"/>
              <a:gd name="connsiteY178" fmla="*/ 1910080 h 8260080"/>
              <a:gd name="connsiteX179" fmla="*/ 3444240 w 3505200"/>
              <a:gd name="connsiteY179" fmla="*/ 1656080 h 8260080"/>
              <a:gd name="connsiteX180" fmla="*/ 3373120 w 3505200"/>
              <a:gd name="connsiteY180" fmla="*/ 1635760 h 8260080"/>
              <a:gd name="connsiteX181" fmla="*/ 3352800 w 3505200"/>
              <a:gd name="connsiteY181" fmla="*/ 1503680 h 8260080"/>
              <a:gd name="connsiteX182" fmla="*/ 3444240 w 3505200"/>
              <a:gd name="connsiteY182" fmla="*/ 1412240 h 8260080"/>
              <a:gd name="connsiteX183" fmla="*/ 3393440 w 3505200"/>
              <a:gd name="connsiteY183" fmla="*/ 1280160 h 8260080"/>
              <a:gd name="connsiteX184" fmla="*/ 3434080 w 3505200"/>
              <a:gd name="connsiteY184" fmla="*/ 1249680 h 8260080"/>
              <a:gd name="connsiteX185" fmla="*/ 3281680 w 3505200"/>
              <a:gd name="connsiteY185" fmla="*/ 1066800 h 8260080"/>
              <a:gd name="connsiteX186" fmla="*/ 3383280 w 3505200"/>
              <a:gd name="connsiteY186" fmla="*/ 975360 h 8260080"/>
              <a:gd name="connsiteX187" fmla="*/ 3302000 w 3505200"/>
              <a:gd name="connsiteY187" fmla="*/ 924560 h 8260080"/>
              <a:gd name="connsiteX188" fmla="*/ 3190240 w 3505200"/>
              <a:gd name="connsiteY188" fmla="*/ 944880 h 8260080"/>
              <a:gd name="connsiteX189" fmla="*/ 3281680 w 3505200"/>
              <a:gd name="connsiteY189" fmla="*/ 792480 h 8260080"/>
              <a:gd name="connsiteX190" fmla="*/ 3210560 w 3505200"/>
              <a:gd name="connsiteY190" fmla="*/ 650240 h 8260080"/>
              <a:gd name="connsiteX191" fmla="*/ 3302000 w 3505200"/>
              <a:gd name="connsiteY191" fmla="*/ 568960 h 8260080"/>
              <a:gd name="connsiteX192" fmla="*/ 3190240 w 3505200"/>
              <a:gd name="connsiteY192" fmla="*/ 487680 h 8260080"/>
              <a:gd name="connsiteX193" fmla="*/ 3108960 w 3505200"/>
              <a:gd name="connsiteY193" fmla="*/ 528320 h 8260080"/>
              <a:gd name="connsiteX194" fmla="*/ 3108960 w 3505200"/>
              <a:gd name="connsiteY194" fmla="*/ 406400 h 8260080"/>
              <a:gd name="connsiteX195" fmla="*/ 2926080 w 3505200"/>
              <a:gd name="connsiteY195" fmla="*/ 314960 h 8260080"/>
              <a:gd name="connsiteX196" fmla="*/ 2834640 w 3505200"/>
              <a:gd name="connsiteY196" fmla="*/ 355600 h 8260080"/>
              <a:gd name="connsiteX197" fmla="*/ 2682240 w 3505200"/>
              <a:gd name="connsiteY197" fmla="*/ 111760 h 8260080"/>
              <a:gd name="connsiteX198" fmla="*/ 2590800 w 3505200"/>
              <a:gd name="connsiteY198" fmla="*/ 121920 h 8260080"/>
              <a:gd name="connsiteX199" fmla="*/ 2611120 w 3505200"/>
              <a:gd name="connsiteY199" fmla="*/ 0 h 8260080"/>
              <a:gd name="connsiteX200" fmla="*/ 2438400 w 3505200"/>
              <a:gd name="connsiteY20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7242 w 3505200"/>
              <a:gd name="connsiteY78" fmla="*/ 7055296 h 8260080"/>
              <a:gd name="connsiteX79" fmla="*/ 240581 w 3505200"/>
              <a:gd name="connsiteY79" fmla="*/ 6983859 h 8260080"/>
              <a:gd name="connsiteX80" fmla="*/ 247724 w 3505200"/>
              <a:gd name="connsiteY80" fmla="*/ 7031484 h 8260080"/>
              <a:gd name="connsiteX81" fmla="*/ 240582 w 3505200"/>
              <a:gd name="connsiteY81" fmla="*/ 7079109 h 8260080"/>
              <a:gd name="connsiteX82" fmla="*/ 280829 w 3505200"/>
              <a:gd name="connsiteY82" fmla="*/ 7148354 h 8260080"/>
              <a:gd name="connsiteX83" fmla="*/ 242962 w 3505200"/>
              <a:gd name="connsiteY83" fmla="*/ 7226746 h 8260080"/>
              <a:gd name="connsiteX84" fmla="*/ 282892 w 3505200"/>
              <a:gd name="connsiteY84" fmla="*/ 7300436 h 8260080"/>
              <a:gd name="connsiteX85" fmla="*/ 310833 w 3505200"/>
              <a:gd name="connsiteY85" fmla="*/ 7299484 h 8260080"/>
              <a:gd name="connsiteX86" fmla="*/ 319162 w 3505200"/>
              <a:gd name="connsiteY86" fmla="*/ 7310089 h 8260080"/>
              <a:gd name="connsiteX87" fmla="*/ 337026 w 3505200"/>
              <a:gd name="connsiteY87" fmla="*/ 7316154 h 8260080"/>
              <a:gd name="connsiteX88" fmla="*/ 370364 w 3505200"/>
              <a:gd name="connsiteY88" fmla="*/ 7360602 h 8260080"/>
              <a:gd name="connsiteX89" fmla="*/ 447040 w 3505200"/>
              <a:gd name="connsiteY89" fmla="*/ 7366000 h 8260080"/>
              <a:gd name="connsiteX90" fmla="*/ 447040 w 3505200"/>
              <a:gd name="connsiteY90" fmla="*/ 7477760 h 8260080"/>
              <a:gd name="connsiteX91" fmla="*/ 558800 w 3505200"/>
              <a:gd name="connsiteY91" fmla="*/ 7528560 h 8260080"/>
              <a:gd name="connsiteX92" fmla="*/ 508000 w 3505200"/>
              <a:gd name="connsiteY92" fmla="*/ 7630160 h 8260080"/>
              <a:gd name="connsiteX93" fmla="*/ 436880 w 3505200"/>
              <a:gd name="connsiteY93" fmla="*/ 7609840 h 8260080"/>
              <a:gd name="connsiteX94" fmla="*/ 447040 w 3505200"/>
              <a:gd name="connsiteY94" fmla="*/ 7691120 h 8260080"/>
              <a:gd name="connsiteX95" fmla="*/ 518160 w 3505200"/>
              <a:gd name="connsiteY95" fmla="*/ 7741920 h 8260080"/>
              <a:gd name="connsiteX96" fmla="*/ 457200 w 3505200"/>
              <a:gd name="connsiteY96" fmla="*/ 7792720 h 8260080"/>
              <a:gd name="connsiteX97" fmla="*/ 396240 w 3505200"/>
              <a:gd name="connsiteY97" fmla="*/ 7701280 h 8260080"/>
              <a:gd name="connsiteX98" fmla="*/ 396240 w 3505200"/>
              <a:gd name="connsiteY98" fmla="*/ 7701280 h 8260080"/>
              <a:gd name="connsiteX99" fmla="*/ 436880 w 3505200"/>
              <a:gd name="connsiteY99" fmla="*/ 7874000 h 8260080"/>
              <a:gd name="connsiteX100" fmla="*/ 436880 w 3505200"/>
              <a:gd name="connsiteY100" fmla="*/ 7924800 h 8260080"/>
              <a:gd name="connsiteX101" fmla="*/ 548640 w 3505200"/>
              <a:gd name="connsiteY101" fmla="*/ 7965440 h 8260080"/>
              <a:gd name="connsiteX102" fmla="*/ 508000 w 3505200"/>
              <a:gd name="connsiteY102" fmla="*/ 8016240 h 8260080"/>
              <a:gd name="connsiteX103" fmla="*/ 589280 w 3505200"/>
              <a:gd name="connsiteY103" fmla="*/ 8056880 h 8260080"/>
              <a:gd name="connsiteX104" fmla="*/ 497840 w 3505200"/>
              <a:gd name="connsiteY104" fmla="*/ 8117840 h 8260080"/>
              <a:gd name="connsiteX105" fmla="*/ 518160 w 3505200"/>
              <a:gd name="connsiteY105" fmla="*/ 8209280 h 8260080"/>
              <a:gd name="connsiteX106" fmla="*/ 640080 w 3505200"/>
              <a:gd name="connsiteY106" fmla="*/ 8260080 h 8260080"/>
              <a:gd name="connsiteX107" fmla="*/ 731520 w 3505200"/>
              <a:gd name="connsiteY107" fmla="*/ 8219440 h 8260080"/>
              <a:gd name="connsiteX108" fmla="*/ 853440 w 3505200"/>
              <a:gd name="connsiteY108" fmla="*/ 8209280 h 8260080"/>
              <a:gd name="connsiteX109" fmla="*/ 955040 w 3505200"/>
              <a:gd name="connsiteY109" fmla="*/ 8260080 h 8260080"/>
              <a:gd name="connsiteX110" fmla="*/ 965200 w 3505200"/>
              <a:gd name="connsiteY110" fmla="*/ 8107680 h 8260080"/>
              <a:gd name="connsiteX111" fmla="*/ 894080 w 3505200"/>
              <a:gd name="connsiteY111" fmla="*/ 8026400 h 8260080"/>
              <a:gd name="connsiteX112" fmla="*/ 1016000 w 3505200"/>
              <a:gd name="connsiteY112" fmla="*/ 7863840 h 8260080"/>
              <a:gd name="connsiteX113" fmla="*/ 1107440 w 3505200"/>
              <a:gd name="connsiteY113" fmla="*/ 7894320 h 8260080"/>
              <a:gd name="connsiteX114" fmla="*/ 1127760 w 3505200"/>
              <a:gd name="connsiteY114" fmla="*/ 7853680 h 8260080"/>
              <a:gd name="connsiteX115" fmla="*/ 1066800 w 3505200"/>
              <a:gd name="connsiteY115" fmla="*/ 7813040 h 8260080"/>
              <a:gd name="connsiteX116" fmla="*/ 1137920 w 3505200"/>
              <a:gd name="connsiteY116" fmla="*/ 7762240 h 8260080"/>
              <a:gd name="connsiteX117" fmla="*/ 1330960 w 3505200"/>
              <a:gd name="connsiteY117" fmla="*/ 7802880 h 8260080"/>
              <a:gd name="connsiteX118" fmla="*/ 1361440 w 3505200"/>
              <a:gd name="connsiteY118" fmla="*/ 7772400 h 8260080"/>
              <a:gd name="connsiteX119" fmla="*/ 1483360 w 3505200"/>
              <a:gd name="connsiteY119" fmla="*/ 7823200 h 8260080"/>
              <a:gd name="connsiteX120" fmla="*/ 1554480 w 3505200"/>
              <a:gd name="connsiteY120" fmla="*/ 7731760 h 8260080"/>
              <a:gd name="connsiteX121" fmla="*/ 1524000 w 3505200"/>
              <a:gd name="connsiteY121" fmla="*/ 7640320 h 8260080"/>
              <a:gd name="connsiteX122" fmla="*/ 1645920 w 3505200"/>
              <a:gd name="connsiteY122" fmla="*/ 7437120 h 8260080"/>
              <a:gd name="connsiteX123" fmla="*/ 1635760 w 3505200"/>
              <a:gd name="connsiteY123" fmla="*/ 7335520 h 8260080"/>
              <a:gd name="connsiteX124" fmla="*/ 1696720 w 3505200"/>
              <a:gd name="connsiteY124" fmla="*/ 7223760 h 8260080"/>
              <a:gd name="connsiteX125" fmla="*/ 1625600 w 3505200"/>
              <a:gd name="connsiteY125" fmla="*/ 7172960 h 8260080"/>
              <a:gd name="connsiteX126" fmla="*/ 1747520 w 3505200"/>
              <a:gd name="connsiteY126" fmla="*/ 6990080 h 8260080"/>
              <a:gd name="connsiteX127" fmla="*/ 1666240 w 3505200"/>
              <a:gd name="connsiteY127" fmla="*/ 6939280 h 8260080"/>
              <a:gd name="connsiteX128" fmla="*/ 1737360 w 3505200"/>
              <a:gd name="connsiteY128" fmla="*/ 6888480 h 8260080"/>
              <a:gd name="connsiteX129" fmla="*/ 1645920 w 3505200"/>
              <a:gd name="connsiteY129" fmla="*/ 6776720 h 8260080"/>
              <a:gd name="connsiteX130" fmla="*/ 1808480 w 3505200"/>
              <a:gd name="connsiteY130" fmla="*/ 6715760 h 8260080"/>
              <a:gd name="connsiteX131" fmla="*/ 1727200 w 3505200"/>
              <a:gd name="connsiteY131" fmla="*/ 6614160 h 8260080"/>
              <a:gd name="connsiteX132" fmla="*/ 1686560 w 3505200"/>
              <a:gd name="connsiteY132" fmla="*/ 6421120 h 8260080"/>
              <a:gd name="connsiteX133" fmla="*/ 1889760 w 3505200"/>
              <a:gd name="connsiteY133" fmla="*/ 6299200 h 8260080"/>
              <a:gd name="connsiteX134" fmla="*/ 1940560 w 3505200"/>
              <a:gd name="connsiteY134" fmla="*/ 6228080 h 8260080"/>
              <a:gd name="connsiteX135" fmla="*/ 2032000 w 3505200"/>
              <a:gd name="connsiteY135" fmla="*/ 6136640 h 8260080"/>
              <a:gd name="connsiteX136" fmla="*/ 2011680 w 3505200"/>
              <a:gd name="connsiteY136" fmla="*/ 6014720 h 8260080"/>
              <a:gd name="connsiteX137" fmla="*/ 2123440 w 3505200"/>
              <a:gd name="connsiteY137" fmla="*/ 6065520 h 8260080"/>
              <a:gd name="connsiteX138" fmla="*/ 2092960 w 3505200"/>
              <a:gd name="connsiteY138" fmla="*/ 6167120 h 8260080"/>
              <a:gd name="connsiteX139" fmla="*/ 2286000 w 3505200"/>
              <a:gd name="connsiteY139" fmla="*/ 5933440 h 8260080"/>
              <a:gd name="connsiteX140" fmla="*/ 2255520 w 3505200"/>
              <a:gd name="connsiteY140" fmla="*/ 5801360 h 8260080"/>
              <a:gd name="connsiteX141" fmla="*/ 2448560 w 3505200"/>
              <a:gd name="connsiteY141" fmla="*/ 5598160 h 8260080"/>
              <a:gd name="connsiteX142" fmla="*/ 2357120 w 3505200"/>
              <a:gd name="connsiteY142" fmla="*/ 5435600 h 8260080"/>
              <a:gd name="connsiteX143" fmla="*/ 2225040 w 3505200"/>
              <a:gd name="connsiteY143" fmla="*/ 5415280 h 8260080"/>
              <a:gd name="connsiteX144" fmla="*/ 2103120 w 3505200"/>
              <a:gd name="connsiteY144" fmla="*/ 5222240 h 8260080"/>
              <a:gd name="connsiteX145" fmla="*/ 2092960 w 3505200"/>
              <a:gd name="connsiteY145" fmla="*/ 5110480 h 8260080"/>
              <a:gd name="connsiteX146" fmla="*/ 2052320 w 3505200"/>
              <a:gd name="connsiteY146" fmla="*/ 5151120 h 8260080"/>
              <a:gd name="connsiteX147" fmla="*/ 2042160 w 3505200"/>
              <a:gd name="connsiteY147" fmla="*/ 5242560 h 8260080"/>
              <a:gd name="connsiteX148" fmla="*/ 1981200 w 3505200"/>
              <a:gd name="connsiteY148" fmla="*/ 5191760 h 8260080"/>
              <a:gd name="connsiteX149" fmla="*/ 2011680 w 3505200"/>
              <a:gd name="connsiteY149" fmla="*/ 5120640 h 8260080"/>
              <a:gd name="connsiteX150" fmla="*/ 1930400 w 3505200"/>
              <a:gd name="connsiteY150" fmla="*/ 5100320 h 8260080"/>
              <a:gd name="connsiteX151" fmla="*/ 1859280 w 3505200"/>
              <a:gd name="connsiteY151" fmla="*/ 4917440 h 8260080"/>
              <a:gd name="connsiteX152" fmla="*/ 1828800 w 3505200"/>
              <a:gd name="connsiteY152" fmla="*/ 4622800 h 8260080"/>
              <a:gd name="connsiteX153" fmla="*/ 1910080 w 3505200"/>
              <a:gd name="connsiteY153" fmla="*/ 4419600 h 8260080"/>
              <a:gd name="connsiteX154" fmla="*/ 1920240 w 3505200"/>
              <a:gd name="connsiteY154" fmla="*/ 4277360 h 8260080"/>
              <a:gd name="connsiteX155" fmla="*/ 1971040 w 3505200"/>
              <a:gd name="connsiteY155" fmla="*/ 4124960 h 8260080"/>
              <a:gd name="connsiteX156" fmla="*/ 1879600 w 3505200"/>
              <a:gd name="connsiteY156" fmla="*/ 4023360 h 8260080"/>
              <a:gd name="connsiteX157" fmla="*/ 2072640 w 3505200"/>
              <a:gd name="connsiteY157" fmla="*/ 4003040 h 8260080"/>
              <a:gd name="connsiteX158" fmla="*/ 2092960 w 3505200"/>
              <a:gd name="connsiteY158" fmla="*/ 3850640 h 8260080"/>
              <a:gd name="connsiteX159" fmla="*/ 2001520 w 3505200"/>
              <a:gd name="connsiteY159" fmla="*/ 3728720 h 8260080"/>
              <a:gd name="connsiteX160" fmla="*/ 2164080 w 3505200"/>
              <a:gd name="connsiteY160" fmla="*/ 3769360 h 8260080"/>
              <a:gd name="connsiteX161" fmla="*/ 2265680 w 3505200"/>
              <a:gd name="connsiteY161" fmla="*/ 3566160 h 8260080"/>
              <a:gd name="connsiteX162" fmla="*/ 2336800 w 3505200"/>
              <a:gd name="connsiteY162" fmla="*/ 3515360 h 8260080"/>
              <a:gd name="connsiteX163" fmla="*/ 2367280 w 3505200"/>
              <a:gd name="connsiteY163" fmla="*/ 3362960 h 8260080"/>
              <a:gd name="connsiteX164" fmla="*/ 2489200 w 3505200"/>
              <a:gd name="connsiteY164" fmla="*/ 3423920 h 8260080"/>
              <a:gd name="connsiteX165" fmla="*/ 2560320 w 3505200"/>
              <a:gd name="connsiteY165" fmla="*/ 3302000 h 8260080"/>
              <a:gd name="connsiteX166" fmla="*/ 2743200 w 3505200"/>
              <a:gd name="connsiteY166" fmla="*/ 3149600 h 8260080"/>
              <a:gd name="connsiteX167" fmla="*/ 2844800 w 3505200"/>
              <a:gd name="connsiteY167" fmla="*/ 3088640 h 8260080"/>
              <a:gd name="connsiteX168" fmla="*/ 2804160 w 3505200"/>
              <a:gd name="connsiteY168" fmla="*/ 2966720 h 8260080"/>
              <a:gd name="connsiteX169" fmla="*/ 2976880 w 3505200"/>
              <a:gd name="connsiteY169" fmla="*/ 2763520 h 8260080"/>
              <a:gd name="connsiteX170" fmla="*/ 2794000 w 3505200"/>
              <a:gd name="connsiteY170" fmla="*/ 2621280 h 8260080"/>
              <a:gd name="connsiteX171" fmla="*/ 2946400 w 3505200"/>
              <a:gd name="connsiteY171" fmla="*/ 2377440 h 8260080"/>
              <a:gd name="connsiteX172" fmla="*/ 2854960 w 3505200"/>
              <a:gd name="connsiteY172" fmla="*/ 2255520 h 8260080"/>
              <a:gd name="connsiteX173" fmla="*/ 3027680 w 3505200"/>
              <a:gd name="connsiteY173" fmla="*/ 2113280 h 8260080"/>
              <a:gd name="connsiteX174" fmla="*/ 3119120 w 3505200"/>
              <a:gd name="connsiteY174" fmla="*/ 2021840 h 8260080"/>
              <a:gd name="connsiteX175" fmla="*/ 3027680 w 3505200"/>
              <a:gd name="connsiteY175" fmla="*/ 1960880 h 8260080"/>
              <a:gd name="connsiteX176" fmla="*/ 3139440 w 3505200"/>
              <a:gd name="connsiteY176" fmla="*/ 1869440 h 8260080"/>
              <a:gd name="connsiteX177" fmla="*/ 3281680 w 3505200"/>
              <a:gd name="connsiteY177" fmla="*/ 1950720 h 8260080"/>
              <a:gd name="connsiteX178" fmla="*/ 3403600 w 3505200"/>
              <a:gd name="connsiteY178" fmla="*/ 1889760 h 8260080"/>
              <a:gd name="connsiteX179" fmla="*/ 3505200 w 3505200"/>
              <a:gd name="connsiteY179" fmla="*/ 1910080 h 8260080"/>
              <a:gd name="connsiteX180" fmla="*/ 3444240 w 3505200"/>
              <a:gd name="connsiteY180" fmla="*/ 1656080 h 8260080"/>
              <a:gd name="connsiteX181" fmla="*/ 3373120 w 3505200"/>
              <a:gd name="connsiteY181" fmla="*/ 1635760 h 8260080"/>
              <a:gd name="connsiteX182" fmla="*/ 3352800 w 3505200"/>
              <a:gd name="connsiteY182" fmla="*/ 1503680 h 8260080"/>
              <a:gd name="connsiteX183" fmla="*/ 3444240 w 3505200"/>
              <a:gd name="connsiteY183" fmla="*/ 1412240 h 8260080"/>
              <a:gd name="connsiteX184" fmla="*/ 3393440 w 3505200"/>
              <a:gd name="connsiteY184" fmla="*/ 1280160 h 8260080"/>
              <a:gd name="connsiteX185" fmla="*/ 3434080 w 3505200"/>
              <a:gd name="connsiteY185" fmla="*/ 1249680 h 8260080"/>
              <a:gd name="connsiteX186" fmla="*/ 3281680 w 3505200"/>
              <a:gd name="connsiteY186" fmla="*/ 1066800 h 8260080"/>
              <a:gd name="connsiteX187" fmla="*/ 3383280 w 3505200"/>
              <a:gd name="connsiteY187" fmla="*/ 975360 h 8260080"/>
              <a:gd name="connsiteX188" fmla="*/ 3302000 w 3505200"/>
              <a:gd name="connsiteY188" fmla="*/ 924560 h 8260080"/>
              <a:gd name="connsiteX189" fmla="*/ 3190240 w 3505200"/>
              <a:gd name="connsiteY189" fmla="*/ 944880 h 8260080"/>
              <a:gd name="connsiteX190" fmla="*/ 3281680 w 3505200"/>
              <a:gd name="connsiteY190" fmla="*/ 792480 h 8260080"/>
              <a:gd name="connsiteX191" fmla="*/ 3210560 w 3505200"/>
              <a:gd name="connsiteY191" fmla="*/ 650240 h 8260080"/>
              <a:gd name="connsiteX192" fmla="*/ 3302000 w 3505200"/>
              <a:gd name="connsiteY192" fmla="*/ 568960 h 8260080"/>
              <a:gd name="connsiteX193" fmla="*/ 3190240 w 3505200"/>
              <a:gd name="connsiteY193" fmla="*/ 487680 h 8260080"/>
              <a:gd name="connsiteX194" fmla="*/ 3108960 w 3505200"/>
              <a:gd name="connsiteY194" fmla="*/ 528320 h 8260080"/>
              <a:gd name="connsiteX195" fmla="*/ 3108960 w 3505200"/>
              <a:gd name="connsiteY195" fmla="*/ 406400 h 8260080"/>
              <a:gd name="connsiteX196" fmla="*/ 2926080 w 3505200"/>
              <a:gd name="connsiteY196" fmla="*/ 314960 h 8260080"/>
              <a:gd name="connsiteX197" fmla="*/ 2834640 w 3505200"/>
              <a:gd name="connsiteY197" fmla="*/ 355600 h 8260080"/>
              <a:gd name="connsiteX198" fmla="*/ 2682240 w 3505200"/>
              <a:gd name="connsiteY198" fmla="*/ 111760 h 8260080"/>
              <a:gd name="connsiteX199" fmla="*/ 2590800 w 3505200"/>
              <a:gd name="connsiteY199" fmla="*/ 121920 h 8260080"/>
              <a:gd name="connsiteX200" fmla="*/ 2611120 w 3505200"/>
              <a:gd name="connsiteY200" fmla="*/ 0 h 8260080"/>
              <a:gd name="connsiteX201" fmla="*/ 2438400 w 3505200"/>
              <a:gd name="connsiteY20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7242 w 3505200"/>
              <a:gd name="connsiteY78" fmla="*/ 7055296 h 8260080"/>
              <a:gd name="connsiteX79" fmla="*/ 21438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196129 w 3505200"/>
              <a:gd name="connsiteY78" fmla="*/ 7052121 h 8260080"/>
              <a:gd name="connsiteX79" fmla="*/ 21438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196129 w 3505200"/>
              <a:gd name="connsiteY78" fmla="*/ 7052121 h 8260080"/>
              <a:gd name="connsiteX79" fmla="*/ 20803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196129 w 3505200"/>
              <a:gd name="connsiteY78" fmla="*/ 7052121 h 8260080"/>
              <a:gd name="connsiteX79" fmla="*/ 20803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891 w 3505200"/>
              <a:gd name="connsiteY78" fmla="*/ 7066409 h 8260080"/>
              <a:gd name="connsiteX79" fmla="*/ 20803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891 w 3505200"/>
              <a:gd name="connsiteY78" fmla="*/ 7066409 h 8260080"/>
              <a:gd name="connsiteX79" fmla="*/ 20803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891 w 3505200"/>
              <a:gd name="connsiteY78" fmla="*/ 7066409 h 8260080"/>
              <a:gd name="connsiteX79" fmla="*/ 20803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891 w 3505200"/>
              <a:gd name="connsiteY78" fmla="*/ 7066409 h 8260080"/>
              <a:gd name="connsiteX79" fmla="*/ 208037 w 3505200"/>
              <a:gd name="connsiteY79" fmla="*/ 7014815 h 8260080"/>
              <a:gd name="connsiteX80" fmla="*/ 240581 w 3505200"/>
              <a:gd name="connsiteY80" fmla="*/ 6983859 h 8260080"/>
              <a:gd name="connsiteX81" fmla="*/ 262012 w 3505200"/>
              <a:gd name="connsiteY81" fmla="*/ 7020371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891 w 3505200"/>
              <a:gd name="connsiteY78" fmla="*/ 7066409 h 8260080"/>
              <a:gd name="connsiteX79" fmla="*/ 208037 w 3505200"/>
              <a:gd name="connsiteY79" fmla="*/ 7014815 h 8260080"/>
              <a:gd name="connsiteX80" fmla="*/ 240581 w 3505200"/>
              <a:gd name="connsiteY80" fmla="*/ 6950522 h 8260080"/>
              <a:gd name="connsiteX81" fmla="*/ 262012 w 3505200"/>
              <a:gd name="connsiteY81" fmla="*/ 7020371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194541 w 3505200"/>
              <a:gd name="connsiteY78" fmla="*/ 7034659 h 8260080"/>
              <a:gd name="connsiteX79" fmla="*/ 208037 w 3505200"/>
              <a:gd name="connsiteY79" fmla="*/ 7014815 h 8260080"/>
              <a:gd name="connsiteX80" fmla="*/ 240581 w 3505200"/>
              <a:gd name="connsiteY80" fmla="*/ 6950522 h 8260080"/>
              <a:gd name="connsiteX81" fmla="*/ 262012 w 3505200"/>
              <a:gd name="connsiteY81" fmla="*/ 7020371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188119 w 3505200"/>
              <a:gd name="connsiteY77" fmla="*/ 6996747 h 8260080"/>
              <a:gd name="connsiteX78" fmla="*/ 194541 w 3505200"/>
              <a:gd name="connsiteY78" fmla="*/ 7034659 h 8260080"/>
              <a:gd name="connsiteX79" fmla="*/ 208037 w 3505200"/>
              <a:gd name="connsiteY79" fmla="*/ 7014815 h 8260080"/>
              <a:gd name="connsiteX80" fmla="*/ 240581 w 3505200"/>
              <a:gd name="connsiteY80" fmla="*/ 6950522 h 8260080"/>
              <a:gd name="connsiteX81" fmla="*/ 262012 w 3505200"/>
              <a:gd name="connsiteY81" fmla="*/ 7020371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188119 w 3505200"/>
              <a:gd name="connsiteY77" fmla="*/ 7009447 h 8260080"/>
              <a:gd name="connsiteX78" fmla="*/ 194541 w 3505200"/>
              <a:gd name="connsiteY78" fmla="*/ 7034659 h 8260080"/>
              <a:gd name="connsiteX79" fmla="*/ 208037 w 3505200"/>
              <a:gd name="connsiteY79" fmla="*/ 7014815 h 8260080"/>
              <a:gd name="connsiteX80" fmla="*/ 240581 w 3505200"/>
              <a:gd name="connsiteY80" fmla="*/ 6950522 h 8260080"/>
              <a:gd name="connsiteX81" fmla="*/ 262012 w 3505200"/>
              <a:gd name="connsiteY81" fmla="*/ 7020371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188119 w 3505200"/>
              <a:gd name="connsiteY77" fmla="*/ 7009447 h 8260080"/>
              <a:gd name="connsiteX78" fmla="*/ 194541 w 3505200"/>
              <a:gd name="connsiteY78" fmla="*/ 7034659 h 8260080"/>
              <a:gd name="connsiteX79" fmla="*/ 219149 w 3505200"/>
              <a:gd name="connsiteY79" fmla="*/ 7000528 h 8260080"/>
              <a:gd name="connsiteX80" fmla="*/ 240581 w 3505200"/>
              <a:gd name="connsiteY80" fmla="*/ 6950522 h 8260080"/>
              <a:gd name="connsiteX81" fmla="*/ 262012 w 3505200"/>
              <a:gd name="connsiteY81" fmla="*/ 7020371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188119 w 3505200"/>
              <a:gd name="connsiteY77" fmla="*/ 7009447 h 8260080"/>
              <a:gd name="connsiteX78" fmla="*/ 194541 w 3505200"/>
              <a:gd name="connsiteY78" fmla="*/ 7034659 h 8260080"/>
              <a:gd name="connsiteX79" fmla="*/ 240581 w 3505200"/>
              <a:gd name="connsiteY79" fmla="*/ 6950522 h 8260080"/>
              <a:gd name="connsiteX80" fmla="*/ 262012 w 3505200"/>
              <a:gd name="connsiteY80" fmla="*/ 7020371 h 8260080"/>
              <a:gd name="connsiteX81" fmla="*/ 240582 w 3505200"/>
              <a:gd name="connsiteY81" fmla="*/ 7079109 h 8260080"/>
              <a:gd name="connsiteX82" fmla="*/ 280829 w 3505200"/>
              <a:gd name="connsiteY82" fmla="*/ 7148354 h 8260080"/>
              <a:gd name="connsiteX83" fmla="*/ 242962 w 3505200"/>
              <a:gd name="connsiteY83" fmla="*/ 7226746 h 8260080"/>
              <a:gd name="connsiteX84" fmla="*/ 282892 w 3505200"/>
              <a:gd name="connsiteY84" fmla="*/ 7300436 h 8260080"/>
              <a:gd name="connsiteX85" fmla="*/ 310833 w 3505200"/>
              <a:gd name="connsiteY85" fmla="*/ 7299484 h 8260080"/>
              <a:gd name="connsiteX86" fmla="*/ 319162 w 3505200"/>
              <a:gd name="connsiteY86" fmla="*/ 7310089 h 8260080"/>
              <a:gd name="connsiteX87" fmla="*/ 337026 w 3505200"/>
              <a:gd name="connsiteY87" fmla="*/ 7316154 h 8260080"/>
              <a:gd name="connsiteX88" fmla="*/ 370364 w 3505200"/>
              <a:gd name="connsiteY88" fmla="*/ 7360602 h 8260080"/>
              <a:gd name="connsiteX89" fmla="*/ 447040 w 3505200"/>
              <a:gd name="connsiteY89" fmla="*/ 7366000 h 8260080"/>
              <a:gd name="connsiteX90" fmla="*/ 447040 w 3505200"/>
              <a:gd name="connsiteY90" fmla="*/ 7477760 h 8260080"/>
              <a:gd name="connsiteX91" fmla="*/ 558800 w 3505200"/>
              <a:gd name="connsiteY91" fmla="*/ 7528560 h 8260080"/>
              <a:gd name="connsiteX92" fmla="*/ 508000 w 3505200"/>
              <a:gd name="connsiteY92" fmla="*/ 7630160 h 8260080"/>
              <a:gd name="connsiteX93" fmla="*/ 436880 w 3505200"/>
              <a:gd name="connsiteY93" fmla="*/ 7609840 h 8260080"/>
              <a:gd name="connsiteX94" fmla="*/ 447040 w 3505200"/>
              <a:gd name="connsiteY94" fmla="*/ 7691120 h 8260080"/>
              <a:gd name="connsiteX95" fmla="*/ 518160 w 3505200"/>
              <a:gd name="connsiteY95" fmla="*/ 7741920 h 8260080"/>
              <a:gd name="connsiteX96" fmla="*/ 457200 w 3505200"/>
              <a:gd name="connsiteY96" fmla="*/ 7792720 h 8260080"/>
              <a:gd name="connsiteX97" fmla="*/ 396240 w 3505200"/>
              <a:gd name="connsiteY97" fmla="*/ 7701280 h 8260080"/>
              <a:gd name="connsiteX98" fmla="*/ 396240 w 3505200"/>
              <a:gd name="connsiteY98" fmla="*/ 7701280 h 8260080"/>
              <a:gd name="connsiteX99" fmla="*/ 436880 w 3505200"/>
              <a:gd name="connsiteY99" fmla="*/ 7874000 h 8260080"/>
              <a:gd name="connsiteX100" fmla="*/ 436880 w 3505200"/>
              <a:gd name="connsiteY100" fmla="*/ 7924800 h 8260080"/>
              <a:gd name="connsiteX101" fmla="*/ 548640 w 3505200"/>
              <a:gd name="connsiteY101" fmla="*/ 7965440 h 8260080"/>
              <a:gd name="connsiteX102" fmla="*/ 508000 w 3505200"/>
              <a:gd name="connsiteY102" fmla="*/ 8016240 h 8260080"/>
              <a:gd name="connsiteX103" fmla="*/ 589280 w 3505200"/>
              <a:gd name="connsiteY103" fmla="*/ 8056880 h 8260080"/>
              <a:gd name="connsiteX104" fmla="*/ 497840 w 3505200"/>
              <a:gd name="connsiteY104" fmla="*/ 8117840 h 8260080"/>
              <a:gd name="connsiteX105" fmla="*/ 518160 w 3505200"/>
              <a:gd name="connsiteY105" fmla="*/ 8209280 h 8260080"/>
              <a:gd name="connsiteX106" fmla="*/ 640080 w 3505200"/>
              <a:gd name="connsiteY106" fmla="*/ 8260080 h 8260080"/>
              <a:gd name="connsiteX107" fmla="*/ 731520 w 3505200"/>
              <a:gd name="connsiteY107" fmla="*/ 8219440 h 8260080"/>
              <a:gd name="connsiteX108" fmla="*/ 853440 w 3505200"/>
              <a:gd name="connsiteY108" fmla="*/ 8209280 h 8260080"/>
              <a:gd name="connsiteX109" fmla="*/ 955040 w 3505200"/>
              <a:gd name="connsiteY109" fmla="*/ 8260080 h 8260080"/>
              <a:gd name="connsiteX110" fmla="*/ 965200 w 3505200"/>
              <a:gd name="connsiteY110" fmla="*/ 8107680 h 8260080"/>
              <a:gd name="connsiteX111" fmla="*/ 894080 w 3505200"/>
              <a:gd name="connsiteY111" fmla="*/ 8026400 h 8260080"/>
              <a:gd name="connsiteX112" fmla="*/ 1016000 w 3505200"/>
              <a:gd name="connsiteY112" fmla="*/ 7863840 h 8260080"/>
              <a:gd name="connsiteX113" fmla="*/ 1107440 w 3505200"/>
              <a:gd name="connsiteY113" fmla="*/ 7894320 h 8260080"/>
              <a:gd name="connsiteX114" fmla="*/ 1127760 w 3505200"/>
              <a:gd name="connsiteY114" fmla="*/ 7853680 h 8260080"/>
              <a:gd name="connsiteX115" fmla="*/ 1066800 w 3505200"/>
              <a:gd name="connsiteY115" fmla="*/ 7813040 h 8260080"/>
              <a:gd name="connsiteX116" fmla="*/ 1137920 w 3505200"/>
              <a:gd name="connsiteY116" fmla="*/ 7762240 h 8260080"/>
              <a:gd name="connsiteX117" fmla="*/ 1330960 w 3505200"/>
              <a:gd name="connsiteY117" fmla="*/ 7802880 h 8260080"/>
              <a:gd name="connsiteX118" fmla="*/ 1361440 w 3505200"/>
              <a:gd name="connsiteY118" fmla="*/ 7772400 h 8260080"/>
              <a:gd name="connsiteX119" fmla="*/ 1483360 w 3505200"/>
              <a:gd name="connsiteY119" fmla="*/ 7823200 h 8260080"/>
              <a:gd name="connsiteX120" fmla="*/ 1554480 w 3505200"/>
              <a:gd name="connsiteY120" fmla="*/ 7731760 h 8260080"/>
              <a:gd name="connsiteX121" fmla="*/ 1524000 w 3505200"/>
              <a:gd name="connsiteY121" fmla="*/ 7640320 h 8260080"/>
              <a:gd name="connsiteX122" fmla="*/ 1645920 w 3505200"/>
              <a:gd name="connsiteY122" fmla="*/ 7437120 h 8260080"/>
              <a:gd name="connsiteX123" fmla="*/ 1635760 w 3505200"/>
              <a:gd name="connsiteY123" fmla="*/ 7335520 h 8260080"/>
              <a:gd name="connsiteX124" fmla="*/ 1696720 w 3505200"/>
              <a:gd name="connsiteY124" fmla="*/ 7223760 h 8260080"/>
              <a:gd name="connsiteX125" fmla="*/ 1625600 w 3505200"/>
              <a:gd name="connsiteY125" fmla="*/ 7172960 h 8260080"/>
              <a:gd name="connsiteX126" fmla="*/ 1747520 w 3505200"/>
              <a:gd name="connsiteY126" fmla="*/ 6990080 h 8260080"/>
              <a:gd name="connsiteX127" fmla="*/ 1666240 w 3505200"/>
              <a:gd name="connsiteY127" fmla="*/ 6939280 h 8260080"/>
              <a:gd name="connsiteX128" fmla="*/ 1737360 w 3505200"/>
              <a:gd name="connsiteY128" fmla="*/ 6888480 h 8260080"/>
              <a:gd name="connsiteX129" fmla="*/ 1645920 w 3505200"/>
              <a:gd name="connsiteY129" fmla="*/ 6776720 h 8260080"/>
              <a:gd name="connsiteX130" fmla="*/ 1808480 w 3505200"/>
              <a:gd name="connsiteY130" fmla="*/ 6715760 h 8260080"/>
              <a:gd name="connsiteX131" fmla="*/ 1727200 w 3505200"/>
              <a:gd name="connsiteY131" fmla="*/ 6614160 h 8260080"/>
              <a:gd name="connsiteX132" fmla="*/ 1686560 w 3505200"/>
              <a:gd name="connsiteY132" fmla="*/ 6421120 h 8260080"/>
              <a:gd name="connsiteX133" fmla="*/ 1889760 w 3505200"/>
              <a:gd name="connsiteY133" fmla="*/ 6299200 h 8260080"/>
              <a:gd name="connsiteX134" fmla="*/ 1940560 w 3505200"/>
              <a:gd name="connsiteY134" fmla="*/ 6228080 h 8260080"/>
              <a:gd name="connsiteX135" fmla="*/ 2032000 w 3505200"/>
              <a:gd name="connsiteY135" fmla="*/ 6136640 h 8260080"/>
              <a:gd name="connsiteX136" fmla="*/ 2011680 w 3505200"/>
              <a:gd name="connsiteY136" fmla="*/ 6014720 h 8260080"/>
              <a:gd name="connsiteX137" fmla="*/ 2123440 w 3505200"/>
              <a:gd name="connsiteY137" fmla="*/ 6065520 h 8260080"/>
              <a:gd name="connsiteX138" fmla="*/ 2092960 w 3505200"/>
              <a:gd name="connsiteY138" fmla="*/ 6167120 h 8260080"/>
              <a:gd name="connsiteX139" fmla="*/ 2286000 w 3505200"/>
              <a:gd name="connsiteY139" fmla="*/ 5933440 h 8260080"/>
              <a:gd name="connsiteX140" fmla="*/ 2255520 w 3505200"/>
              <a:gd name="connsiteY140" fmla="*/ 5801360 h 8260080"/>
              <a:gd name="connsiteX141" fmla="*/ 2448560 w 3505200"/>
              <a:gd name="connsiteY141" fmla="*/ 5598160 h 8260080"/>
              <a:gd name="connsiteX142" fmla="*/ 2357120 w 3505200"/>
              <a:gd name="connsiteY142" fmla="*/ 5435600 h 8260080"/>
              <a:gd name="connsiteX143" fmla="*/ 2225040 w 3505200"/>
              <a:gd name="connsiteY143" fmla="*/ 5415280 h 8260080"/>
              <a:gd name="connsiteX144" fmla="*/ 2103120 w 3505200"/>
              <a:gd name="connsiteY144" fmla="*/ 5222240 h 8260080"/>
              <a:gd name="connsiteX145" fmla="*/ 2092960 w 3505200"/>
              <a:gd name="connsiteY145" fmla="*/ 5110480 h 8260080"/>
              <a:gd name="connsiteX146" fmla="*/ 2052320 w 3505200"/>
              <a:gd name="connsiteY146" fmla="*/ 5151120 h 8260080"/>
              <a:gd name="connsiteX147" fmla="*/ 2042160 w 3505200"/>
              <a:gd name="connsiteY147" fmla="*/ 5242560 h 8260080"/>
              <a:gd name="connsiteX148" fmla="*/ 1981200 w 3505200"/>
              <a:gd name="connsiteY148" fmla="*/ 5191760 h 8260080"/>
              <a:gd name="connsiteX149" fmla="*/ 2011680 w 3505200"/>
              <a:gd name="connsiteY149" fmla="*/ 5120640 h 8260080"/>
              <a:gd name="connsiteX150" fmla="*/ 1930400 w 3505200"/>
              <a:gd name="connsiteY150" fmla="*/ 5100320 h 8260080"/>
              <a:gd name="connsiteX151" fmla="*/ 1859280 w 3505200"/>
              <a:gd name="connsiteY151" fmla="*/ 4917440 h 8260080"/>
              <a:gd name="connsiteX152" fmla="*/ 1828800 w 3505200"/>
              <a:gd name="connsiteY152" fmla="*/ 4622800 h 8260080"/>
              <a:gd name="connsiteX153" fmla="*/ 1910080 w 3505200"/>
              <a:gd name="connsiteY153" fmla="*/ 4419600 h 8260080"/>
              <a:gd name="connsiteX154" fmla="*/ 1920240 w 3505200"/>
              <a:gd name="connsiteY154" fmla="*/ 4277360 h 8260080"/>
              <a:gd name="connsiteX155" fmla="*/ 1971040 w 3505200"/>
              <a:gd name="connsiteY155" fmla="*/ 4124960 h 8260080"/>
              <a:gd name="connsiteX156" fmla="*/ 1879600 w 3505200"/>
              <a:gd name="connsiteY156" fmla="*/ 4023360 h 8260080"/>
              <a:gd name="connsiteX157" fmla="*/ 2072640 w 3505200"/>
              <a:gd name="connsiteY157" fmla="*/ 4003040 h 8260080"/>
              <a:gd name="connsiteX158" fmla="*/ 2092960 w 3505200"/>
              <a:gd name="connsiteY158" fmla="*/ 3850640 h 8260080"/>
              <a:gd name="connsiteX159" fmla="*/ 2001520 w 3505200"/>
              <a:gd name="connsiteY159" fmla="*/ 3728720 h 8260080"/>
              <a:gd name="connsiteX160" fmla="*/ 2164080 w 3505200"/>
              <a:gd name="connsiteY160" fmla="*/ 3769360 h 8260080"/>
              <a:gd name="connsiteX161" fmla="*/ 2265680 w 3505200"/>
              <a:gd name="connsiteY161" fmla="*/ 3566160 h 8260080"/>
              <a:gd name="connsiteX162" fmla="*/ 2336800 w 3505200"/>
              <a:gd name="connsiteY162" fmla="*/ 3515360 h 8260080"/>
              <a:gd name="connsiteX163" fmla="*/ 2367280 w 3505200"/>
              <a:gd name="connsiteY163" fmla="*/ 3362960 h 8260080"/>
              <a:gd name="connsiteX164" fmla="*/ 2489200 w 3505200"/>
              <a:gd name="connsiteY164" fmla="*/ 3423920 h 8260080"/>
              <a:gd name="connsiteX165" fmla="*/ 2560320 w 3505200"/>
              <a:gd name="connsiteY165" fmla="*/ 3302000 h 8260080"/>
              <a:gd name="connsiteX166" fmla="*/ 2743200 w 3505200"/>
              <a:gd name="connsiteY166" fmla="*/ 3149600 h 8260080"/>
              <a:gd name="connsiteX167" fmla="*/ 2844800 w 3505200"/>
              <a:gd name="connsiteY167" fmla="*/ 3088640 h 8260080"/>
              <a:gd name="connsiteX168" fmla="*/ 2804160 w 3505200"/>
              <a:gd name="connsiteY168" fmla="*/ 2966720 h 8260080"/>
              <a:gd name="connsiteX169" fmla="*/ 2976880 w 3505200"/>
              <a:gd name="connsiteY169" fmla="*/ 2763520 h 8260080"/>
              <a:gd name="connsiteX170" fmla="*/ 2794000 w 3505200"/>
              <a:gd name="connsiteY170" fmla="*/ 2621280 h 8260080"/>
              <a:gd name="connsiteX171" fmla="*/ 2946400 w 3505200"/>
              <a:gd name="connsiteY171" fmla="*/ 2377440 h 8260080"/>
              <a:gd name="connsiteX172" fmla="*/ 2854960 w 3505200"/>
              <a:gd name="connsiteY172" fmla="*/ 2255520 h 8260080"/>
              <a:gd name="connsiteX173" fmla="*/ 3027680 w 3505200"/>
              <a:gd name="connsiteY173" fmla="*/ 2113280 h 8260080"/>
              <a:gd name="connsiteX174" fmla="*/ 3119120 w 3505200"/>
              <a:gd name="connsiteY174" fmla="*/ 2021840 h 8260080"/>
              <a:gd name="connsiteX175" fmla="*/ 3027680 w 3505200"/>
              <a:gd name="connsiteY175" fmla="*/ 1960880 h 8260080"/>
              <a:gd name="connsiteX176" fmla="*/ 3139440 w 3505200"/>
              <a:gd name="connsiteY176" fmla="*/ 1869440 h 8260080"/>
              <a:gd name="connsiteX177" fmla="*/ 3281680 w 3505200"/>
              <a:gd name="connsiteY177" fmla="*/ 1950720 h 8260080"/>
              <a:gd name="connsiteX178" fmla="*/ 3403600 w 3505200"/>
              <a:gd name="connsiteY178" fmla="*/ 1889760 h 8260080"/>
              <a:gd name="connsiteX179" fmla="*/ 3505200 w 3505200"/>
              <a:gd name="connsiteY179" fmla="*/ 1910080 h 8260080"/>
              <a:gd name="connsiteX180" fmla="*/ 3444240 w 3505200"/>
              <a:gd name="connsiteY180" fmla="*/ 1656080 h 8260080"/>
              <a:gd name="connsiteX181" fmla="*/ 3373120 w 3505200"/>
              <a:gd name="connsiteY181" fmla="*/ 1635760 h 8260080"/>
              <a:gd name="connsiteX182" fmla="*/ 3352800 w 3505200"/>
              <a:gd name="connsiteY182" fmla="*/ 1503680 h 8260080"/>
              <a:gd name="connsiteX183" fmla="*/ 3444240 w 3505200"/>
              <a:gd name="connsiteY183" fmla="*/ 1412240 h 8260080"/>
              <a:gd name="connsiteX184" fmla="*/ 3393440 w 3505200"/>
              <a:gd name="connsiteY184" fmla="*/ 1280160 h 8260080"/>
              <a:gd name="connsiteX185" fmla="*/ 3434080 w 3505200"/>
              <a:gd name="connsiteY185" fmla="*/ 1249680 h 8260080"/>
              <a:gd name="connsiteX186" fmla="*/ 3281680 w 3505200"/>
              <a:gd name="connsiteY186" fmla="*/ 1066800 h 8260080"/>
              <a:gd name="connsiteX187" fmla="*/ 3383280 w 3505200"/>
              <a:gd name="connsiteY187" fmla="*/ 975360 h 8260080"/>
              <a:gd name="connsiteX188" fmla="*/ 3302000 w 3505200"/>
              <a:gd name="connsiteY188" fmla="*/ 924560 h 8260080"/>
              <a:gd name="connsiteX189" fmla="*/ 3190240 w 3505200"/>
              <a:gd name="connsiteY189" fmla="*/ 944880 h 8260080"/>
              <a:gd name="connsiteX190" fmla="*/ 3281680 w 3505200"/>
              <a:gd name="connsiteY190" fmla="*/ 792480 h 8260080"/>
              <a:gd name="connsiteX191" fmla="*/ 3210560 w 3505200"/>
              <a:gd name="connsiteY191" fmla="*/ 650240 h 8260080"/>
              <a:gd name="connsiteX192" fmla="*/ 3302000 w 3505200"/>
              <a:gd name="connsiteY192" fmla="*/ 568960 h 8260080"/>
              <a:gd name="connsiteX193" fmla="*/ 3190240 w 3505200"/>
              <a:gd name="connsiteY193" fmla="*/ 487680 h 8260080"/>
              <a:gd name="connsiteX194" fmla="*/ 3108960 w 3505200"/>
              <a:gd name="connsiteY194" fmla="*/ 528320 h 8260080"/>
              <a:gd name="connsiteX195" fmla="*/ 3108960 w 3505200"/>
              <a:gd name="connsiteY195" fmla="*/ 406400 h 8260080"/>
              <a:gd name="connsiteX196" fmla="*/ 2926080 w 3505200"/>
              <a:gd name="connsiteY196" fmla="*/ 314960 h 8260080"/>
              <a:gd name="connsiteX197" fmla="*/ 2834640 w 3505200"/>
              <a:gd name="connsiteY197" fmla="*/ 355600 h 8260080"/>
              <a:gd name="connsiteX198" fmla="*/ 2682240 w 3505200"/>
              <a:gd name="connsiteY198" fmla="*/ 111760 h 8260080"/>
              <a:gd name="connsiteX199" fmla="*/ 2590800 w 3505200"/>
              <a:gd name="connsiteY199" fmla="*/ 121920 h 8260080"/>
              <a:gd name="connsiteX200" fmla="*/ 2611120 w 3505200"/>
              <a:gd name="connsiteY200" fmla="*/ 0 h 8260080"/>
              <a:gd name="connsiteX201" fmla="*/ 2438400 w 3505200"/>
              <a:gd name="connsiteY20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188119 w 3505200"/>
              <a:gd name="connsiteY77" fmla="*/ 7009447 h 8260080"/>
              <a:gd name="connsiteX78" fmla="*/ 240581 w 3505200"/>
              <a:gd name="connsiteY78" fmla="*/ 6950522 h 8260080"/>
              <a:gd name="connsiteX79" fmla="*/ 262012 w 3505200"/>
              <a:gd name="connsiteY79" fmla="*/ 7020371 h 8260080"/>
              <a:gd name="connsiteX80" fmla="*/ 240582 w 3505200"/>
              <a:gd name="connsiteY80" fmla="*/ 7079109 h 8260080"/>
              <a:gd name="connsiteX81" fmla="*/ 280829 w 3505200"/>
              <a:gd name="connsiteY81" fmla="*/ 7148354 h 8260080"/>
              <a:gd name="connsiteX82" fmla="*/ 242962 w 3505200"/>
              <a:gd name="connsiteY82" fmla="*/ 7226746 h 8260080"/>
              <a:gd name="connsiteX83" fmla="*/ 282892 w 3505200"/>
              <a:gd name="connsiteY83" fmla="*/ 7300436 h 8260080"/>
              <a:gd name="connsiteX84" fmla="*/ 310833 w 3505200"/>
              <a:gd name="connsiteY84" fmla="*/ 7299484 h 8260080"/>
              <a:gd name="connsiteX85" fmla="*/ 319162 w 3505200"/>
              <a:gd name="connsiteY85" fmla="*/ 7310089 h 8260080"/>
              <a:gd name="connsiteX86" fmla="*/ 337026 w 3505200"/>
              <a:gd name="connsiteY86" fmla="*/ 7316154 h 8260080"/>
              <a:gd name="connsiteX87" fmla="*/ 370364 w 3505200"/>
              <a:gd name="connsiteY87" fmla="*/ 7360602 h 8260080"/>
              <a:gd name="connsiteX88" fmla="*/ 447040 w 3505200"/>
              <a:gd name="connsiteY88" fmla="*/ 7366000 h 8260080"/>
              <a:gd name="connsiteX89" fmla="*/ 447040 w 3505200"/>
              <a:gd name="connsiteY89" fmla="*/ 7477760 h 8260080"/>
              <a:gd name="connsiteX90" fmla="*/ 558800 w 3505200"/>
              <a:gd name="connsiteY90" fmla="*/ 7528560 h 8260080"/>
              <a:gd name="connsiteX91" fmla="*/ 508000 w 3505200"/>
              <a:gd name="connsiteY91" fmla="*/ 7630160 h 8260080"/>
              <a:gd name="connsiteX92" fmla="*/ 436880 w 3505200"/>
              <a:gd name="connsiteY92" fmla="*/ 7609840 h 8260080"/>
              <a:gd name="connsiteX93" fmla="*/ 447040 w 3505200"/>
              <a:gd name="connsiteY93" fmla="*/ 7691120 h 8260080"/>
              <a:gd name="connsiteX94" fmla="*/ 518160 w 3505200"/>
              <a:gd name="connsiteY94" fmla="*/ 7741920 h 8260080"/>
              <a:gd name="connsiteX95" fmla="*/ 457200 w 3505200"/>
              <a:gd name="connsiteY95" fmla="*/ 7792720 h 8260080"/>
              <a:gd name="connsiteX96" fmla="*/ 396240 w 3505200"/>
              <a:gd name="connsiteY96" fmla="*/ 7701280 h 8260080"/>
              <a:gd name="connsiteX97" fmla="*/ 396240 w 3505200"/>
              <a:gd name="connsiteY97" fmla="*/ 7701280 h 8260080"/>
              <a:gd name="connsiteX98" fmla="*/ 436880 w 3505200"/>
              <a:gd name="connsiteY98" fmla="*/ 7874000 h 8260080"/>
              <a:gd name="connsiteX99" fmla="*/ 436880 w 3505200"/>
              <a:gd name="connsiteY99" fmla="*/ 7924800 h 8260080"/>
              <a:gd name="connsiteX100" fmla="*/ 548640 w 3505200"/>
              <a:gd name="connsiteY100" fmla="*/ 7965440 h 8260080"/>
              <a:gd name="connsiteX101" fmla="*/ 508000 w 3505200"/>
              <a:gd name="connsiteY101" fmla="*/ 8016240 h 8260080"/>
              <a:gd name="connsiteX102" fmla="*/ 589280 w 3505200"/>
              <a:gd name="connsiteY102" fmla="*/ 8056880 h 8260080"/>
              <a:gd name="connsiteX103" fmla="*/ 497840 w 3505200"/>
              <a:gd name="connsiteY103" fmla="*/ 8117840 h 8260080"/>
              <a:gd name="connsiteX104" fmla="*/ 518160 w 3505200"/>
              <a:gd name="connsiteY104" fmla="*/ 8209280 h 8260080"/>
              <a:gd name="connsiteX105" fmla="*/ 640080 w 3505200"/>
              <a:gd name="connsiteY105" fmla="*/ 8260080 h 8260080"/>
              <a:gd name="connsiteX106" fmla="*/ 731520 w 3505200"/>
              <a:gd name="connsiteY106" fmla="*/ 8219440 h 8260080"/>
              <a:gd name="connsiteX107" fmla="*/ 853440 w 3505200"/>
              <a:gd name="connsiteY107" fmla="*/ 8209280 h 8260080"/>
              <a:gd name="connsiteX108" fmla="*/ 955040 w 3505200"/>
              <a:gd name="connsiteY108" fmla="*/ 8260080 h 8260080"/>
              <a:gd name="connsiteX109" fmla="*/ 965200 w 3505200"/>
              <a:gd name="connsiteY109" fmla="*/ 8107680 h 8260080"/>
              <a:gd name="connsiteX110" fmla="*/ 894080 w 3505200"/>
              <a:gd name="connsiteY110" fmla="*/ 8026400 h 8260080"/>
              <a:gd name="connsiteX111" fmla="*/ 1016000 w 3505200"/>
              <a:gd name="connsiteY111" fmla="*/ 7863840 h 8260080"/>
              <a:gd name="connsiteX112" fmla="*/ 1107440 w 3505200"/>
              <a:gd name="connsiteY112" fmla="*/ 7894320 h 8260080"/>
              <a:gd name="connsiteX113" fmla="*/ 1127760 w 3505200"/>
              <a:gd name="connsiteY113" fmla="*/ 7853680 h 8260080"/>
              <a:gd name="connsiteX114" fmla="*/ 1066800 w 3505200"/>
              <a:gd name="connsiteY114" fmla="*/ 7813040 h 8260080"/>
              <a:gd name="connsiteX115" fmla="*/ 1137920 w 3505200"/>
              <a:gd name="connsiteY115" fmla="*/ 7762240 h 8260080"/>
              <a:gd name="connsiteX116" fmla="*/ 1330960 w 3505200"/>
              <a:gd name="connsiteY116" fmla="*/ 7802880 h 8260080"/>
              <a:gd name="connsiteX117" fmla="*/ 1361440 w 3505200"/>
              <a:gd name="connsiteY117" fmla="*/ 7772400 h 8260080"/>
              <a:gd name="connsiteX118" fmla="*/ 1483360 w 3505200"/>
              <a:gd name="connsiteY118" fmla="*/ 7823200 h 8260080"/>
              <a:gd name="connsiteX119" fmla="*/ 1554480 w 3505200"/>
              <a:gd name="connsiteY119" fmla="*/ 7731760 h 8260080"/>
              <a:gd name="connsiteX120" fmla="*/ 1524000 w 3505200"/>
              <a:gd name="connsiteY120" fmla="*/ 7640320 h 8260080"/>
              <a:gd name="connsiteX121" fmla="*/ 1645920 w 3505200"/>
              <a:gd name="connsiteY121" fmla="*/ 7437120 h 8260080"/>
              <a:gd name="connsiteX122" fmla="*/ 1635760 w 3505200"/>
              <a:gd name="connsiteY122" fmla="*/ 7335520 h 8260080"/>
              <a:gd name="connsiteX123" fmla="*/ 1696720 w 3505200"/>
              <a:gd name="connsiteY123" fmla="*/ 7223760 h 8260080"/>
              <a:gd name="connsiteX124" fmla="*/ 1625600 w 3505200"/>
              <a:gd name="connsiteY124" fmla="*/ 7172960 h 8260080"/>
              <a:gd name="connsiteX125" fmla="*/ 1747520 w 3505200"/>
              <a:gd name="connsiteY125" fmla="*/ 6990080 h 8260080"/>
              <a:gd name="connsiteX126" fmla="*/ 1666240 w 3505200"/>
              <a:gd name="connsiteY126" fmla="*/ 6939280 h 8260080"/>
              <a:gd name="connsiteX127" fmla="*/ 1737360 w 3505200"/>
              <a:gd name="connsiteY127" fmla="*/ 6888480 h 8260080"/>
              <a:gd name="connsiteX128" fmla="*/ 1645920 w 3505200"/>
              <a:gd name="connsiteY128" fmla="*/ 6776720 h 8260080"/>
              <a:gd name="connsiteX129" fmla="*/ 1808480 w 3505200"/>
              <a:gd name="connsiteY129" fmla="*/ 6715760 h 8260080"/>
              <a:gd name="connsiteX130" fmla="*/ 1727200 w 3505200"/>
              <a:gd name="connsiteY130" fmla="*/ 6614160 h 8260080"/>
              <a:gd name="connsiteX131" fmla="*/ 1686560 w 3505200"/>
              <a:gd name="connsiteY131" fmla="*/ 6421120 h 8260080"/>
              <a:gd name="connsiteX132" fmla="*/ 1889760 w 3505200"/>
              <a:gd name="connsiteY132" fmla="*/ 6299200 h 8260080"/>
              <a:gd name="connsiteX133" fmla="*/ 1940560 w 3505200"/>
              <a:gd name="connsiteY133" fmla="*/ 6228080 h 8260080"/>
              <a:gd name="connsiteX134" fmla="*/ 2032000 w 3505200"/>
              <a:gd name="connsiteY134" fmla="*/ 6136640 h 8260080"/>
              <a:gd name="connsiteX135" fmla="*/ 2011680 w 3505200"/>
              <a:gd name="connsiteY135" fmla="*/ 6014720 h 8260080"/>
              <a:gd name="connsiteX136" fmla="*/ 2123440 w 3505200"/>
              <a:gd name="connsiteY136" fmla="*/ 6065520 h 8260080"/>
              <a:gd name="connsiteX137" fmla="*/ 2092960 w 3505200"/>
              <a:gd name="connsiteY137" fmla="*/ 6167120 h 8260080"/>
              <a:gd name="connsiteX138" fmla="*/ 2286000 w 3505200"/>
              <a:gd name="connsiteY138" fmla="*/ 5933440 h 8260080"/>
              <a:gd name="connsiteX139" fmla="*/ 2255520 w 3505200"/>
              <a:gd name="connsiteY139" fmla="*/ 5801360 h 8260080"/>
              <a:gd name="connsiteX140" fmla="*/ 2448560 w 3505200"/>
              <a:gd name="connsiteY140" fmla="*/ 5598160 h 8260080"/>
              <a:gd name="connsiteX141" fmla="*/ 2357120 w 3505200"/>
              <a:gd name="connsiteY141" fmla="*/ 5435600 h 8260080"/>
              <a:gd name="connsiteX142" fmla="*/ 2225040 w 3505200"/>
              <a:gd name="connsiteY142" fmla="*/ 5415280 h 8260080"/>
              <a:gd name="connsiteX143" fmla="*/ 2103120 w 3505200"/>
              <a:gd name="connsiteY143" fmla="*/ 5222240 h 8260080"/>
              <a:gd name="connsiteX144" fmla="*/ 2092960 w 3505200"/>
              <a:gd name="connsiteY144" fmla="*/ 5110480 h 8260080"/>
              <a:gd name="connsiteX145" fmla="*/ 2052320 w 3505200"/>
              <a:gd name="connsiteY145" fmla="*/ 5151120 h 8260080"/>
              <a:gd name="connsiteX146" fmla="*/ 2042160 w 3505200"/>
              <a:gd name="connsiteY146" fmla="*/ 5242560 h 8260080"/>
              <a:gd name="connsiteX147" fmla="*/ 1981200 w 3505200"/>
              <a:gd name="connsiteY147" fmla="*/ 5191760 h 8260080"/>
              <a:gd name="connsiteX148" fmla="*/ 2011680 w 3505200"/>
              <a:gd name="connsiteY148" fmla="*/ 5120640 h 8260080"/>
              <a:gd name="connsiteX149" fmla="*/ 1930400 w 3505200"/>
              <a:gd name="connsiteY149" fmla="*/ 5100320 h 8260080"/>
              <a:gd name="connsiteX150" fmla="*/ 1859280 w 3505200"/>
              <a:gd name="connsiteY150" fmla="*/ 4917440 h 8260080"/>
              <a:gd name="connsiteX151" fmla="*/ 1828800 w 3505200"/>
              <a:gd name="connsiteY151" fmla="*/ 4622800 h 8260080"/>
              <a:gd name="connsiteX152" fmla="*/ 1910080 w 3505200"/>
              <a:gd name="connsiteY152" fmla="*/ 4419600 h 8260080"/>
              <a:gd name="connsiteX153" fmla="*/ 1920240 w 3505200"/>
              <a:gd name="connsiteY153" fmla="*/ 4277360 h 8260080"/>
              <a:gd name="connsiteX154" fmla="*/ 1971040 w 3505200"/>
              <a:gd name="connsiteY154" fmla="*/ 4124960 h 8260080"/>
              <a:gd name="connsiteX155" fmla="*/ 1879600 w 3505200"/>
              <a:gd name="connsiteY155" fmla="*/ 4023360 h 8260080"/>
              <a:gd name="connsiteX156" fmla="*/ 2072640 w 3505200"/>
              <a:gd name="connsiteY156" fmla="*/ 4003040 h 8260080"/>
              <a:gd name="connsiteX157" fmla="*/ 2092960 w 3505200"/>
              <a:gd name="connsiteY157" fmla="*/ 3850640 h 8260080"/>
              <a:gd name="connsiteX158" fmla="*/ 2001520 w 3505200"/>
              <a:gd name="connsiteY158" fmla="*/ 3728720 h 8260080"/>
              <a:gd name="connsiteX159" fmla="*/ 2164080 w 3505200"/>
              <a:gd name="connsiteY159" fmla="*/ 3769360 h 8260080"/>
              <a:gd name="connsiteX160" fmla="*/ 2265680 w 3505200"/>
              <a:gd name="connsiteY160" fmla="*/ 3566160 h 8260080"/>
              <a:gd name="connsiteX161" fmla="*/ 2336800 w 3505200"/>
              <a:gd name="connsiteY161" fmla="*/ 3515360 h 8260080"/>
              <a:gd name="connsiteX162" fmla="*/ 2367280 w 3505200"/>
              <a:gd name="connsiteY162" fmla="*/ 3362960 h 8260080"/>
              <a:gd name="connsiteX163" fmla="*/ 2489200 w 3505200"/>
              <a:gd name="connsiteY163" fmla="*/ 3423920 h 8260080"/>
              <a:gd name="connsiteX164" fmla="*/ 2560320 w 3505200"/>
              <a:gd name="connsiteY164" fmla="*/ 3302000 h 8260080"/>
              <a:gd name="connsiteX165" fmla="*/ 2743200 w 3505200"/>
              <a:gd name="connsiteY165" fmla="*/ 3149600 h 8260080"/>
              <a:gd name="connsiteX166" fmla="*/ 2844800 w 3505200"/>
              <a:gd name="connsiteY166" fmla="*/ 3088640 h 8260080"/>
              <a:gd name="connsiteX167" fmla="*/ 2804160 w 3505200"/>
              <a:gd name="connsiteY167" fmla="*/ 2966720 h 8260080"/>
              <a:gd name="connsiteX168" fmla="*/ 2976880 w 3505200"/>
              <a:gd name="connsiteY168" fmla="*/ 2763520 h 8260080"/>
              <a:gd name="connsiteX169" fmla="*/ 2794000 w 3505200"/>
              <a:gd name="connsiteY169" fmla="*/ 2621280 h 8260080"/>
              <a:gd name="connsiteX170" fmla="*/ 2946400 w 3505200"/>
              <a:gd name="connsiteY170" fmla="*/ 2377440 h 8260080"/>
              <a:gd name="connsiteX171" fmla="*/ 2854960 w 3505200"/>
              <a:gd name="connsiteY171" fmla="*/ 2255520 h 8260080"/>
              <a:gd name="connsiteX172" fmla="*/ 3027680 w 3505200"/>
              <a:gd name="connsiteY172" fmla="*/ 2113280 h 8260080"/>
              <a:gd name="connsiteX173" fmla="*/ 3119120 w 3505200"/>
              <a:gd name="connsiteY173" fmla="*/ 2021840 h 8260080"/>
              <a:gd name="connsiteX174" fmla="*/ 3027680 w 3505200"/>
              <a:gd name="connsiteY174" fmla="*/ 1960880 h 8260080"/>
              <a:gd name="connsiteX175" fmla="*/ 3139440 w 3505200"/>
              <a:gd name="connsiteY175" fmla="*/ 1869440 h 8260080"/>
              <a:gd name="connsiteX176" fmla="*/ 3281680 w 3505200"/>
              <a:gd name="connsiteY176" fmla="*/ 1950720 h 8260080"/>
              <a:gd name="connsiteX177" fmla="*/ 3403600 w 3505200"/>
              <a:gd name="connsiteY177" fmla="*/ 1889760 h 8260080"/>
              <a:gd name="connsiteX178" fmla="*/ 3505200 w 3505200"/>
              <a:gd name="connsiteY178" fmla="*/ 1910080 h 8260080"/>
              <a:gd name="connsiteX179" fmla="*/ 3444240 w 3505200"/>
              <a:gd name="connsiteY179" fmla="*/ 1656080 h 8260080"/>
              <a:gd name="connsiteX180" fmla="*/ 3373120 w 3505200"/>
              <a:gd name="connsiteY180" fmla="*/ 1635760 h 8260080"/>
              <a:gd name="connsiteX181" fmla="*/ 3352800 w 3505200"/>
              <a:gd name="connsiteY181" fmla="*/ 1503680 h 8260080"/>
              <a:gd name="connsiteX182" fmla="*/ 3444240 w 3505200"/>
              <a:gd name="connsiteY182" fmla="*/ 1412240 h 8260080"/>
              <a:gd name="connsiteX183" fmla="*/ 3393440 w 3505200"/>
              <a:gd name="connsiteY183" fmla="*/ 1280160 h 8260080"/>
              <a:gd name="connsiteX184" fmla="*/ 3434080 w 3505200"/>
              <a:gd name="connsiteY184" fmla="*/ 1249680 h 8260080"/>
              <a:gd name="connsiteX185" fmla="*/ 3281680 w 3505200"/>
              <a:gd name="connsiteY185" fmla="*/ 1066800 h 8260080"/>
              <a:gd name="connsiteX186" fmla="*/ 3383280 w 3505200"/>
              <a:gd name="connsiteY186" fmla="*/ 975360 h 8260080"/>
              <a:gd name="connsiteX187" fmla="*/ 3302000 w 3505200"/>
              <a:gd name="connsiteY187" fmla="*/ 924560 h 8260080"/>
              <a:gd name="connsiteX188" fmla="*/ 3190240 w 3505200"/>
              <a:gd name="connsiteY188" fmla="*/ 944880 h 8260080"/>
              <a:gd name="connsiteX189" fmla="*/ 3281680 w 3505200"/>
              <a:gd name="connsiteY189" fmla="*/ 792480 h 8260080"/>
              <a:gd name="connsiteX190" fmla="*/ 3210560 w 3505200"/>
              <a:gd name="connsiteY190" fmla="*/ 650240 h 8260080"/>
              <a:gd name="connsiteX191" fmla="*/ 3302000 w 3505200"/>
              <a:gd name="connsiteY191" fmla="*/ 568960 h 8260080"/>
              <a:gd name="connsiteX192" fmla="*/ 3190240 w 3505200"/>
              <a:gd name="connsiteY192" fmla="*/ 487680 h 8260080"/>
              <a:gd name="connsiteX193" fmla="*/ 3108960 w 3505200"/>
              <a:gd name="connsiteY193" fmla="*/ 528320 h 8260080"/>
              <a:gd name="connsiteX194" fmla="*/ 3108960 w 3505200"/>
              <a:gd name="connsiteY194" fmla="*/ 406400 h 8260080"/>
              <a:gd name="connsiteX195" fmla="*/ 2926080 w 3505200"/>
              <a:gd name="connsiteY195" fmla="*/ 314960 h 8260080"/>
              <a:gd name="connsiteX196" fmla="*/ 2834640 w 3505200"/>
              <a:gd name="connsiteY196" fmla="*/ 355600 h 8260080"/>
              <a:gd name="connsiteX197" fmla="*/ 2682240 w 3505200"/>
              <a:gd name="connsiteY197" fmla="*/ 111760 h 8260080"/>
              <a:gd name="connsiteX198" fmla="*/ 2590800 w 3505200"/>
              <a:gd name="connsiteY198" fmla="*/ 121920 h 8260080"/>
              <a:gd name="connsiteX199" fmla="*/ 2611120 w 3505200"/>
              <a:gd name="connsiteY199" fmla="*/ 0 h 8260080"/>
              <a:gd name="connsiteX200" fmla="*/ 2438400 w 3505200"/>
              <a:gd name="connsiteY20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208037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208037 w 3505200"/>
              <a:gd name="connsiteY71" fmla="*/ 6676677 h 8260080"/>
              <a:gd name="connsiteX72" fmla="*/ 192162 w 3505200"/>
              <a:gd name="connsiteY72" fmla="*/ 6740971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208037 w 3505200"/>
              <a:gd name="connsiteY71" fmla="*/ 6676677 h 8260080"/>
              <a:gd name="connsiteX72" fmla="*/ 192162 w 3505200"/>
              <a:gd name="connsiteY72" fmla="*/ 6740971 h 8260080"/>
              <a:gd name="connsiteX73" fmla="*/ 166687 w 3505200"/>
              <a:gd name="connsiteY73" fmla="*/ 67798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208037 w 3505200"/>
              <a:gd name="connsiteY71" fmla="*/ 6676677 h 8260080"/>
              <a:gd name="connsiteX72" fmla="*/ 192162 w 3505200"/>
              <a:gd name="connsiteY72" fmla="*/ 6740971 h 8260080"/>
              <a:gd name="connsiteX73" fmla="*/ 166687 w 3505200"/>
              <a:gd name="connsiteY73" fmla="*/ 6779894 h 8260080"/>
              <a:gd name="connsiteX74" fmla="*/ 178668 w 3505200"/>
              <a:gd name="connsiteY74" fmla="*/ 6837808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208037 w 3505200"/>
              <a:gd name="connsiteY71" fmla="*/ 6676677 h 8260080"/>
              <a:gd name="connsiteX72" fmla="*/ 192162 w 3505200"/>
              <a:gd name="connsiteY72" fmla="*/ 6740971 h 8260080"/>
              <a:gd name="connsiteX73" fmla="*/ 166687 w 3505200"/>
              <a:gd name="connsiteY73" fmla="*/ 6779894 h 8260080"/>
              <a:gd name="connsiteX74" fmla="*/ 178668 w 3505200"/>
              <a:gd name="connsiteY74" fmla="*/ 6837808 h 8260080"/>
              <a:gd name="connsiteX75" fmla="*/ 217562 w 3505200"/>
              <a:gd name="connsiteY75" fmla="*/ 6893371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208037 w 3505200"/>
              <a:gd name="connsiteY71" fmla="*/ 6676677 h 8260080"/>
              <a:gd name="connsiteX72" fmla="*/ 192162 w 3505200"/>
              <a:gd name="connsiteY72" fmla="*/ 6740971 h 8260080"/>
              <a:gd name="connsiteX73" fmla="*/ 166687 w 3505200"/>
              <a:gd name="connsiteY73" fmla="*/ 6779894 h 8260080"/>
              <a:gd name="connsiteX74" fmla="*/ 178668 w 3505200"/>
              <a:gd name="connsiteY74" fmla="*/ 6837808 h 8260080"/>
              <a:gd name="connsiteX75" fmla="*/ 217562 w 3505200"/>
              <a:gd name="connsiteY75" fmla="*/ 6893371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5345 w 3505200"/>
              <a:gd name="connsiteY79" fmla="*/ 7074347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</a:cxnLst>
            <a:rect l="l" t="t" r="r" b="b"/>
            <a:pathLst>
              <a:path w="3505200" h="8260080">
                <a:moveTo>
                  <a:pt x="2438400" y="0"/>
                </a:moveTo>
                <a:lnTo>
                  <a:pt x="2499360" y="132080"/>
                </a:lnTo>
                <a:lnTo>
                  <a:pt x="2438400" y="325120"/>
                </a:lnTo>
                <a:lnTo>
                  <a:pt x="2499360" y="365760"/>
                </a:lnTo>
                <a:lnTo>
                  <a:pt x="2407920" y="436880"/>
                </a:lnTo>
                <a:lnTo>
                  <a:pt x="2204720" y="335280"/>
                </a:lnTo>
                <a:lnTo>
                  <a:pt x="2143760" y="375920"/>
                </a:lnTo>
                <a:lnTo>
                  <a:pt x="2072640" y="284480"/>
                </a:lnTo>
                <a:lnTo>
                  <a:pt x="1991360" y="335280"/>
                </a:lnTo>
                <a:lnTo>
                  <a:pt x="1991360" y="508000"/>
                </a:lnTo>
                <a:lnTo>
                  <a:pt x="2042160" y="599440"/>
                </a:lnTo>
                <a:lnTo>
                  <a:pt x="1981200" y="701040"/>
                </a:lnTo>
                <a:lnTo>
                  <a:pt x="1838960" y="599440"/>
                </a:lnTo>
                <a:lnTo>
                  <a:pt x="1778000" y="680720"/>
                </a:lnTo>
                <a:lnTo>
                  <a:pt x="1717040" y="721360"/>
                </a:lnTo>
                <a:lnTo>
                  <a:pt x="1676400" y="853440"/>
                </a:lnTo>
                <a:lnTo>
                  <a:pt x="1625600" y="965200"/>
                </a:lnTo>
                <a:lnTo>
                  <a:pt x="1564640" y="1005840"/>
                </a:lnTo>
                <a:lnTo>
                  <a:pt x="1635760" y="1188720"/>
                </a:lnTo>
                <a:lnTo>
                  <a:pt x="1605280" y="1300480"/>
                </a:lnTo>
                <a:lnTo>
                  <a:pt x="1361440" y="1595120"/>
                </a:lnTo>
                <a:lnTo>
                  <a:pt x="1391920" y="1727200"/>
                </a:lnTo>
                <a:lnTo>
                  <a:pt x="1239520" y="1808480"/>
                </a:lnTo>
                <a:lnTo>
                  <a:pt x="1117600" y="1828800"/>
                </a:lnTo>
                <a:lnTo>
                  <a:pt x="1178560" y="1950720"/>
                </a:lnTo>
                <a:lnTo>
                  <a:pt x="1127760" y="2133600"/>
                </a:lnTo>
                <a:lnTo>
                  <a:pt x="1168400" y="2214880"/>
                </a:lnTo>
                <a:lnTo>
                  <a:pt x="1076960" y="2428240"/>
                </a:lnTo>
                <a:lnTo>
                  <a:pt x="894080" y="2743200"/>
                </a:lnTo>
                <a:lnTo>
                  <a:pt x="1026160" y="2814320"/>
                </a:lnTo>
                <a:lnTo>
                  <a:pt x="1016000" y="3007360"/>
                </a:lnTo>
                <a:lnTo>
                  <a:pt x="1005840" y="3098800"/>
                </a:lnTo>
                <a:lnTo>
                  <a:pt x="772160" y="3048000"/>
                </a:lnTo>
                <a:lnTo>
                  <a:pt x="619760" y="3108960"/>
                </a:lnTo>
                <a:lnTo>
                  <a:pt x="467360" y="3342640"/>
                </a:lnTo>
                <a:lnTo>
                  <a:pt x="538480" y="3393440"/>
                </a:lnTo>
                <a:lnTo>
                  <a:pt x="426720" y="3474720"/>
                </a:lnTo>
                <a:lnTo>
                  <a:pt x="508000" y="3667760"/>
                </a:lnTo>
                <a:lnTo>
                  <a:pt x="436880" y="3728720"/>
                </a:lnTo>
                <a:lnTo>
                  <a:pt x="487680" y="3840480"/>
                </a:lnTo>
                <a:lnTo>
                  <a:pt x="416560" y="3942080"/>
                </a:lnTo>
                <a:lnTo>
                  <a:pt x="528320" y="4114800"/>
                </a:lnTo>
                <a:lnTo>
                  <a:pt x="406400" y="4450080"/>
                </a:lnTo>
                <a:lnTo>
                  <a:pt x="518160" y="4551680"/>
                </a:lnTo>
                <a:lnTo>
                  <a:pt x="629920" y="4643120"/>
                </a:lnTo>
                <a:lnTo>
                  <a:pt x="579120" y="4846320"/>
                </a:lnTo>
                <a:lnTo>
                  <a:pt x="447040" y="4886960"/>
                </a:lnTo>
                <a:lnTo>
                  <a:pt x="416560" y="5008880"/>
                </a:lnTo>
                <a:lnTo>
                  <a:pt x="528320" y="5151120"/>
                </a:lnTo>
                <a:lnTo>
                  <a:pt x="528320" y="5262880"/>
                </a:lnTo>
                <a:lnTo>
                  <a:pt x="457200" y="5303520"/>
                </a:lnTo>
                <a:lnTo>
                  <a:pt x="518160" y="5374640"/>
                </a:lnTo>
                <a:lnTo>
                  <a:pt x="365760" y="5547360"/>
                </a:lnTo>
                <a:lnTo>
                  <a:pt x="274320" y="5516880"/>
                </a:lnTo>
                <a:lnTo>
                  <a:pt x="274320" y="5628640"/>
                </a:lnTo>
                <a:lnTo>
                  <a:pt x="203200" y="5720080"/>
                </a:lnTo>
                <a:lnTo>
                  <a:pt x="254000" y="5821680"/>
                </a:lnTo>
                <a:lnTo>
                  <a:pt x="213360" y="5974080"/>
                </a:lnTo>
                <a:lnTo>
                  <a:pt x="193040" y="6106160"/>
                </a:lnTo>
                <a:lnTo>
                  <a:pt x="172720" y="6167120"/>
                </a:lnTo>
                <a:lnTo>
                  <a:pt x="121920" y="6116320"/>
                </a:lnTo>
                <a:lnTo>
                  <a:pt x="121920" y="6024880"/>
                </a:lnTo>
                <a:lnTo>
                  <a:pt x="60960" y="5994400"/>
                </a:lnTo>
                <a:lnTo>
                  <a:pt x="0" y="6085840"/>
                </a:lnTo>
                <a:lnTo>
                  <a:pt x="50800" y="6268720"/>
                </a:lnTo>
                <a:lnTo>
                  <a:pt x="40640" y="6421120"/>
                </a:lnTo>
                <a:lnTo>
                  <a:pt x="101600" y="6451600"/>
                </a:lnTo>
                <a:lnTo>
                  <a:pt x="172720" y="6400800"/>
                </a:lnTo>
                <a:lnTo>
                  <a:pt x="81280" y="6492240"/>
                </a:lnTo>
                <a:cubicBezTo>
                  <a:pt x="135255" y="6507586"/>
                  <a:pt x="198755" y="6522932"/>
                  <a:pt x="252730" y="6538278"/>
                </a:cubicBezTo>
                <a:cubicBezTo>
                  <a:pt x="271343" y="6570605"/>
                  <a:pt x="240237" y="6628206"/>
                  <a:pt x="212799" y="6609208"/>
                </a:cubicBezTo>
                <a:cubicBezTo>
                  <a:pt x="200058" y="6631084"/>
                  <a:pt x="219162" y="6646113"/>
                  <a:pt x="208037" y="6676677"/>
                </a:cubicBezTo>
                <a:cubicBezTo>
                  <a:pt x="198115" y="6699696"/>
                  <a:pt x="199054" y="6723768"/>
                  <a:pt x="192162" y="6740971"/>
                </a:cubicBezTo>
                <a:cubicBezTo>
                  <a:pt x="185270" y="6758174"/>
                  <a:pt x="168936" y="6763755"/>
                  <a:pt x="166687" y="6779894"/>
                </a:cubicBezTo>
                <a:cubicBezTo>
                  <a:pt x="164438" y="6796033"/>
                  <a:pt x="170189" y="6818895"/>
                  <a:pt x="178668" y="6837808"/>
                </a:cubicBezTo>
                <a:cubicBezTo>
                  <a:pt x="187147" y="6856721"/>
                  <a:pt x="207335" y="6874528"/>
                  <a:pt x="217562" y="6893371"/>
                </a:cubicBezTo>
                <a:cubicBezTo>
                  <a:pt x="227789" y="6912214"/>
                  <a:pt x="225754" y="6931257"/>
                  <a:pt x="240029" y="6950868"/>
                </a:cubicBezTo>
                <a:cubicBezTo>
                  <a:pt x="247570" y="6958012"/>
                  <a:pt x="236917" y="6938938"/>
                  <a:pt x="240581" y="6950522"/>
                </a:cubicBezTo>
                <a:cubicBezTo>
                  <a:pt x="244245" y="6962106"/>
                  <a:pt x="261218" y="6999734"/>
                  <a:pt x="262012" y="7020371"/>
                </a:cubicBezTo>
                <a:cubicBezTo>
                  <a:pt x="262806" y="7041008"/>
                  <a:pt x="238637" y="7054869"/>
                  <a:pt x="245345" y="7074347"/>
                </a:cubicBezTo>
                <a:cubicBezTo>
                  <a:pt x="258800" y="7091444"/>
                  <a:pt x="283607" y="7124145"/>
                  <a:pt x="280829" y="7148354"/>
                </a:cubicBezTo>
                <a:cubicBezTo>
                  <a:pt x="283288" y="7178454"/>
                  <a:pt x="240503" y="7196646"/>
                  <a:pt x="242962" y="7226746"/>
                </a:cubicBezTo>
                <a:lnTo>
                  <a:pt x="282892" y="7300436"/>
                </a:lnTo>
                <a:cubicBezTo>
                  <a:pt x="289824" y="7326312"/>
                  <a:pt x="311044" y="7273608"/>
                  <a:pt x="310833" y="7299484"/>
                </a:cubicBezTo>
                <a:cubicBezTo>
                  <a:pt x="319656" y="7293156"/>
                  <a:pt x="314797" y="7307311"/>
                  <a:pt x="319162" y="7310089"/>
                </a:cubicBezTo>
                <a:cubicBezTo>
                  <a:pt x="323527" y="7312867"/>
                  <a:pt x="331271" y="7299798"/>
                  <a:pt x="337026" y="7316154"/>
                </a:cubicBezTo>
                <a:cubicBezTo>
                  <a:pt x="352107" y="7351608"/>
                  <a:pt x="367189" y="7322767"/>
                  <a:pt x="370364" y="7360602"/>
                </a:cubicBezTo>
                <a:lnTo>
                  <a:pt x="447040" y="7366000"/>
                </a:lnTo>
                <a:lnTo>
                  <a:pt x="447040" y="7477760"/>
                </a:lnTo>
                <a:lnTo>
                  <a:pt x="558800" y="7528560"/>
                </a:lnTo>
                <a:lnTo>
                  <a:pt x="508000" y="7630160"/>
                </a:lnTo>
                <a:lnTo>
                  <a:pt x="436880" y="7609840"/>
                </a:lnTo>
                <a:lnTo>
                  <a:pt x="447040" y="7691120"/>
                </a:lnTo>
                <a:lnTo>
                  <a:pt x="518160" y="7741920"/>
                </a:lnTo>
                <a:lnTo>
                  <a:pt x="457200" y="7792720"/>
                </a:lnTo>
                <a:lnTo>
                  <a:pt x="396240" y="7701280"/>
                </a:lnTo>
                <a:lnTo>
                  <a:pt x="396240" y="7701280"/>
                </a:lnTo>
                <a:lnTo>
                  <a:pt x="436880" y="7874000"/>
                </a:lnTo>
                <a:lnTo>
                  <a:pt x="436880" y="7924800"/>
                </a:lnTo>
                <a:lnTo>
                  <a:pt x="548640" y="7965440"/>
                </a:lnTo>
                <a:lnTo>
                  <a:pt x="508000" y="8016240"/>
                </a:lnTo>
                <a:lnTo>
                  <a:pt x="589280" y="8056880"/>
                </a:lnTo>
                <a:lnTo>
                  <a:pt x="497840" y="8117840"/>
                </a:lnTo>
                <a:lnTo>
                  <a:pt x="518160" y="8209280"/>
                </a:lnTo>
                <a:lnTo>
                  <a:pt x="640080" y="8260080"/>
                </a:lnTo>
                <a:lnTo>
                  <a:pt x="731520" y="8219440"/>
                </a:lnTo>
                <a:lnTo>
                  <a:pt x="853440" y="8209280"/>
                </a:lnTo>
                <a:lnTo>
                  <a:pt x="955040" y="8260080"/>
                </a:lnTo>
                <a:lnTo>
                  <a:pt x="965200" y="8107680"/>
                </a:lnTo>
                <a:lnTo>
                  <a:pt x="894080" y="8026400"/>
                </a:lnTo>
                <a:lnTo>
                  <a:pt x="1016000" y="7863840"/>
                </a:lnTo>
                <a:lnTo>
                  <a:pt x="1107440" y="7894320"/>
                </a:lnTo>
                <a:lnTo>
                  <a:pt x="1127760" y="7853680"/>
                </a:lnTo>
                <a:lnTo>
                  <a:pt x="1066800" y="7813040"/>
                </a:lnTo>
                <a:lnTo>
                  <a:pt x="1137920" y="7762240"/>
                </a:lnTo>
                <a:lnTo>
                  <a:pt x="1330960" y="7802880"/>
                </a:lnTo>
                <a:lnTo>
                  <a:pt x="1361440" y="7772400"/>
                </a:lnTo>
                <a:lnTo>
                  <a:pt x="1483360" y="7823200"/>
                </a:lnTo>
                <a:lnTo>
                  <a:pt x="1554480" y="7731760"/>
                </a:lnTo>
                <a:lnTo>
                  <a:pt x="1524000" y="7640320"/>
                </a:lnTo>
                <a:lnTo>
                  <a:pt x="1645920" y="7437120"/>
                </a:lnTo>
                <a:lnTo>
                  <a:pt x="1635760" y="7335520"/>
                </a:lnTo>
                <a:lnTo>
                  <a:pt x="1696720" y="7223760"/>
                </a:lnTo>
                <a:lnTo>
                  <a:pt x="1625600" y="7172960"/>
                </a:lnTo>
                <a:lnTo>
                  <a:pt x="1747520" y="6990080"/>
                </a:lnTo>
                <a:lnTo>
                  <a:pt x="1666240" y="6939280"/>
                </a:lnTo>
                <a:lnTo>
                  <a:pt x="1737360" y="6888480"/>
                </a:lnTo>
                <a:lnTo>
                  <a:pt x="1645920" y="6776720"/>
                </a:lnTo>
                <a:lnTo>
                  <a:pt x="1808480" y="6715760"/>
                </a:lnTo>
                <a:lnTo>
                  <a:pt x="1727200" y="6614160"/>
                </a:lnTo>
                <a:lnTo>
                  <a:pt x="1686560" y="6421120"/>
                </a:lnTo>
                <a:lnTo>
                  <a:pt x="1889760" y="6299200"/>
                </a:lnTo>
                <a:lnTo>
                  <a:pt x="1940560" y="6228080"/>
                </a:lnTo>
                <a:lnTo>
                  <a:pt x="2032000" y="6136640"/>
                </a:lnTo>
                <a:lnTo>
                  <a:pt x="2011680" y="6014720"/>
                </a:lnTo>
                <a:lnTo>
                  <a:pt x="2123440" y="6065520"/>
                </a:lnTo>
                <a:lnTo>
                  <a:pt x="2092960" y="6167120"/>
                </a:lnTo>
                <a:lnTo>
                  <a:pt x="2286000" y="5933440"/>
                </a:lnTo>
                <a:lnTo>
                  <a:pt x="2255520" y="5801360"/>
                </a:lnTo>
                <a:lnTo>
                  <a:pt x="2448560" y="5598160"/>
                </a:lnTo>
                <a:lnTo>
                  <a:pt x="2357120" y="5435600"/>
                </a:lnTo>
                <a:lnTo>
                  <a:pt x="2225040" y="5415280"/>
                </a:lnTo>
                <a:lnTo>
                  <a:pt x="2103120" y="5222240"/>
                </a:lnTo>
                <a:lnTo>
                  <a:pt x="2092960" y="5110480"/>
                </a:lnTo>
                <a:lnTo>
                  <a:pt x="2052320" y="5151120"/>
                </a:lnTo>
                <a:lnTo>
                  <a:pt x="2042160" y="5242560"/>
                </a:lnTo>
                <a:lnTo>
                  <a:pt x="1981200" y="5191760"/>
                </a:lnTo>
                <a:lnTo>
                  <a:pt x="2011680" y="5120640"/>
                </a:lnTo>
                <a:lnTo>
                  <a:pt x="1930400" y="5100320"/>
                </a:lnTo>
                <a:lnTo>
                  <a:pt x="1859280" y="4917440"/>
                </a:lnTo>
                <a:lnTo>
                  <a:pt x="1828800" y="4622800"/>
                </a:lnTo>
                <a:lnTo>
                  <a:pt x="1910080" y="4419600"/>
                </a:lnTo>
                <a:lnTo>
                  <a:pt x="1920240" y="4277360"/>
                </a:lnTo>
                <a:lnTo>
                  <a:pt x="1971040" y="4124960"/>
                </a:lnTo>
                <a:lnTo>
                  <a:pt x="1879600" y="4023360"/>
                </a:lnTo>
                <a:lnTo>
                  <a:pt x="2072640" y="4003040"/>
                </a:lnTo>
                <a:lnTo>
                  <a:pt x="2092960" y="3850640"/>
                </a:lnTo>
                <a:lnTo>
                  <a:pt x="2001520" y="3728720"/>
                </a:lnTo>
                <a:lnTo>
                  <a:pt x="2164080" y="3769360"/>
                </a:lnTo>
                <a:lnTo>
                  <a:pt x="2265680" y="3566160"/>
                </a:lnTo>
                <a:lnTo>
                  <a:pt x="2336800" y="3515360"/>
                </a:lnTo>
                <a:lnTo>
                  <a:pt x="2367280" y="3362960"/>
                </a:lnTo>
                <a:lnTo>
                  <a:pt x="2489200" y="3423920"/>
                </a:lnTo>
                <a:lnTo>
                  <a:pt x="2560320" y="3302000"/>
                </a:lnTo>
                <a:lnTo>
                  <a:pt x="2743200" y="3149600"/>
                </a:lnTo>
                <a:lnTo>
                  <a:pt x="2844800" y="3088640"/>
                </a:lnTo>
                <a:lnTo>
                  <a:pt x="2804160" y="2966720"/>
                </a:lnTo>
                <a:lnTo>
                  <a:pt x="2976880" y="2763520"/>
                </a:lnTo>
                <a:lnTo>
                  <a:pt x="2794000" y="2621280"/>
                </a:lnTo>
                <a:lnTo>
                  <a:pt x="2946400" y="2377440"/>
                </a:lnTo>
                <a:lnTo>
                  <a:pt x="2854960" y="2255520"/>
                </a:lnTo>
                <a:lnTo>
                  <a:pt x="3027680" y="2113280"/>
                </a:lnTo>
                <a:lnTo>
                  <a:pt x="3119120" y="2021840"/>
                </a:lnTo>
                <a:lnTo>
                  <a:pt x="3027680" y="1960880"/>
                </a:lnTo>
                <a:lnTo>
                  <a:pt x="3139440" y="1869440"/>
                </a:lnTo>
                <a:lnTo>
                  <a:pt x="3281680" y="1950720"/>
                </a:lnTo>
                <a:lnTo>
                  <a:pt x="3403600" y="1889760"/>
                </a:lnTo>
                <a:lnTo>
                  <a:pt x="3505200" y="1910080"/>
                </a:lnTo>
                <a:lnTo>
                  <a:pt x="3444240" y="1656080"/>
                </a:lnTo>
                <a:lnTo>
                  <a:pt x="3373120" y="1635760"/>
                </a:lnTo>
                <a:lnTo>
                  <a:pt x="3352800" y="1503680"/>
                </a:lnTo>
                <a:lnTo>
                  <a:pt x="3444240" y="1412240"/>
                </a:lnTo>
                <a:lnTo>
                  <a:pt x="3393440" y="1280160"/>
                </a:lnTo>
                <a:lnTo>
                  <a:pt x="3434080" y="1249680"/>
                </a:lnTo>
                <a:lnTo>
                  <a:pt x="3281680" y="1066800"/>
                </a:lnTo>
                <a:lnTo>
                  <a:pt x="3383280" y="975360"/>
                </a:lnTo>
                <a:lnTo>
                  <a:pt x="3302000" y="924560"/>
                </a:lnTo>
                <a:lnTo>
                  <a:pt x="3190240" y="944880"/>
                </a:lnTo>
                <a:lnTo>
                  <a:pt x="3281680" y="792480"/>
                </a:lnTo>
                <a:lnTo>
                  <a:pt x="3210560" y="650240"/>
                </a:lnTo>
                <a:lnTo>
                  <a:pt x="3302000" y="568960"/>
                </a:lnTo>
                <a:lnTo>
                  <a:pt x="3190240" y="487680"/>
                </a:lnTo>
                <a:lnTo>
                  <a:pt x="3108960" y="528320"/>
                </a:lnTo>
                <a:lnTo>
                  <a:pt x="3108960" y="406400"/>
                </a:lnTo>
                <a:lnTo>
                  <a:pt x="2926080" y="314960"/>
                </a:lnTo>
                <a:lnTo>
                  <a:pt x="2834640" y="355600"/>
                </a:lnTo>
                <a:lnTo>
                  <a:pt x="2682240" y="111760"/>
                </a:lnTo>
                <a:lnTo>
                  <a:pt x="2590800" y="121920"/>
                </a:lnTo>
                <a:lnTo>
                  <a:pt x="2611120" y="0"/>
                </a:lnTo>
                <a:lnTo>
                  <a:pt x="2438400" y="0"/>
                </a:lnTo>
                <a:close/>
              </a:path>
            </a:pathLst>
          </a:custGeom>
          <a:noFill/>
          <a:ln w="63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61" name="Grupp 60">
            <a:extLst>
              <a:ext uri="{FF2B5EF4-FFF2-40B4-BE49-F238E27FC236}">
                <a16:creationId xmlns:a16="http://schemas.microsoft.com/office/drawing/2014/main" id="{13B72EF6-20D7-488C-BA54-9B04C7F212B7}"/>
              </a:ext>
            </a:extLst>
          </p:cNvPr>
          <p:cNvGrpSpPr/>
          <p:nvPr/>
        </p:nvGrpSpPr>
        <p:grpSpPr>
          <a:xfrm>
            <a:off x="10171215" y="2748167"/>
            <a:ext cx="1275882" cy="1199963"/>
            <a:chOff x="10426783" y="2844236"/>
            <a:chExt cx="1275882" cy="1199963"/>
          </a:xfrm>
        </p:grpSpPr>
        <p:pic>
          <p:nvPicPr>
            <p:cNvPr id="52" name="Bildobjekt 51">
              <a:extLst>
                <a:ext uri="{FF2B5EF4-FFF2-40B4-BE49-F238E27FC236}">
                  <a16:creationId xmlns:a16="http://schemas.microsoft.com/office/drawing/2014/main" id="{EF268EF0-0256-4FB1-B260-0D9178EAA646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40438" y="3324199"/>
              <a:ext cx="720000" cy="720000"/>
            </a:xfrm>
            <a:prstGeom prst="rect">
              <a:avLst/>
            </a:prstGeom>
          </p:spPr>
        </p:pic>
        <p:pic>
          <p:nvPicPr>
            <p:cNvPr id="54" name="Bildobjekt 53">
              <a:extLst>
                <a:ext uri="{FF2B5EF4-FFF2-40B4-BE49-F238E27FC236}">
                  <a16:creationId xmlns:a16="http://schemas.microsoft.com/office/drawing/2014/main" id="{B35354A1-065B-461F-98BD-0346E629B5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82665" y="2911365"/>
              <a:ext cx="720000" cy="720000"/>
            </a:xfrm>
            <a:prstGeom prst="rect">
              <a:avLst/>
            </a:prstGeom>
          </p:spPr>
        </p:pic>
        <p:grpSp>
          <p:nvGrpSpPr>
            <p:cNvPr id="56" name="Grupp 55">
              <a:extLst>
                <a:ext uri="{FF2B5EF4-FFF2-40B4-BE49-F238E27FC236}">
                  <a16:creationId xmlns:a16="http://schemas.microsoft.com/office/drawing/2014/main" id="{088F489F-BB76-4CF1-9ECB-B9BDCA84B3B5}"/>
                </a:ext>
              </a:extLst>
            </p:cNvPr>
            <p:cNvGrpSpPr/>
            <p:nvPr/>
          </p:nvGrpSpPr>
          <p:grpSpPr>
            <a:xfrm>
              <a:off x="10426783" y="2844236"/>
              <a:ext cx="921311" cy="720000"/>
              <a:chOff x="14001185" y="3517891"/>
              <a:chExt cx="921311" cy="720000"/>
            </a:xfrm>
          </p:grpSpPr>
          <p:pic>
            <p:nvPicPr>
              <p:cNvPr id="53" name="Bildobjekt 52" descr="En bild som visar objekt&#10;&#10;Automatiskt genererad beskrivning">
                <a:extLst>
                  <a:ext uri="{FF2B5EF4-FFF2-40B4-BE49-F238E27FC236}">
                    <a16:creationId xmlns:a16="http://schemas.microsoft.com/office/drawing/2014/main" id="{6282EEED-EDF1-42A2-AE55-7B8B7454C52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095127" y="3517891"/>
                <a:ext cx="720000" cy="720000"/>
              </a:xfrm>
              <a:prstGeom prst="rect">
                <a:avLst/>
              </a:prstGeom>
            </p:spPr>
          </p:pic>
          <p:sp>
            <p:nvSpPr>
              <p:cNvPr id="55" name="textruta 54">
                <a:extLst>
                  <a:ext uri="{FF2B5EF4-FFF2-40B4-BE49-F238E27FC236}">
                    <a16:creationId xmlns:a16="http://schemas.microsoft.com/office/drawing/2014/main" id="{C44D907B-C2EC-4531-853A-506CA1F2A163}"/>
                  </a:ext>
                </a:extLst>
              </p:cNvPr>
              <p:cNvSpPr txBox="1"/>
              <p:nvPr/>
            </p:nvSpPr>
            <p:spPr>
              <a:xfrm>
                <a:off x="14001185" y="3975639"/>
                <a:ext cx="921311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sv-SE" sz="900" dirty="0">
                    <a:solidFill>
                      <a:schemeClr val="tx2"/>
                    </a:solidFill>
                  </a:rPr>
                  <a:t>City</a:t>
                </a:r>
                <a:endParaRPr lang="sv-SE" sz="1000" dirty="0">
                  <a:solidFill>
                    <a:schemeClr val="tx2"/>
                  </a:solidFill>
                </a:endParaRPr>
              </a:p>
            </p:txBody>
          </p:sp>
        </p:grpSp>
      </p:grpSp>
      <p:sp>
        <p:nvSpPr>
          <p:cNvPr id="60" name="Rektangel: ett hörn rundat 59">
            <a:extLst>
              <a:ext uri="{FF2B5EF4-FFF2-40B4-BE49-F238E27FC236}">
                <a16:creationId xmlns:a16="http://schemas.microsoft.com/office/drawing/2014/main" id="{816F5E0E-76D4-4F5A-8C53-A00425634821}"/>
              </a:ext>
            </a:extLst>
          </p:cNvPr>
          <p:cNvSpPr/>
          <p:nvPr/>
        </p:nvSpPr>
        <p:spPr>
          <a:xfrm flipV="1">
            <a:off x="5458155" y="3913625"/>
            <a:ext cx="2800463" cy="1254665"/>
          </a:xfrm>
          <a:prstGeom prst="round1Rect">
            <a:avLst>
              <a:gd name="adj" fmla="val 50000"/>
            </a:avLst>
          </a:prstGeom>
          <a:noFill/>
          <a:ln w="57150" cap="rnd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63" name="Grupp 62">
            <a:extLst>
              <a:ext uri="{FF2B5EF4-FFF2-40B4-BE49-F238E27FC236}">
                <a16:creationId xmlns:a16="http://schemas.microsoft.com/office/drawing/2014/main" id="{966DAC56-1524-48A9-8F32-BC857C59A8FA}"/>
              </a:ext>
            </a:extLst>
          </p:cNvPr>
          <p:cNvGrpSpPr/>
          <p:nvPr/>
        </p:nvGrpSpPr>
        <p:grpSpPr>
          <a:xfrm>
            <a:off x="9801782" y="518079"/>
            <a:ext cx="364450" cy="573288"/>
            <a:chOff x="4805660" y="3563888"/>
            <a:chExt cx="1719684" cy="2705100"/>
          </a:xfrm>
        </p:grpSpPr>
        <p:sp>
          <p:nvSpPr>
            <p:cNvPr id="64" name="Freeform 57">
              <a:extLst>
                <a:ext uri="{FF2B5EF4-FFF2-40B4-BE49-F238E27FC236}">
                  <a16:creationId xmlns:a16="http://schemas.microsoft.com/office/drawing/2014/main" id="{10BB0E56-C4F5-4EE7-9721-B56E71A5A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0585" y="5046613"/>
              <a:ext cx="171450" cy="203200"/>
            </a:xfrm>
            <a:custGeom>
              <a:avLst/>
              <a:gdLst>
                <a:gd name="T0" fmla="*/ 2147483647 w 108"/>
                <a:gd name="T1" fmla="*/ 2147483647 h 128"/>
                <a:gd name="T2" fmla="*/ 2147483647 w 108"/>
                <a:gd name="T3" fmla="*/ 2147483647 h 128"/>
                <a:gd name="T4" fmla="*/ 2147483647 w 108"/>
                <a:gd name="T5" fmla="*/ 2147483647 h 128"/>
                <a:gd name="T6" fmla="*/ 2147483647 w 108"/>
                <a:gd name="T7" fmla="*/ 0 h 128"/>
                <a:gd name="T8" fmla="*/ 2147483647 w 108"/>
                <a:gd name="T9" fmla="*/ 2147483647 h 128"/>
                <a:gd name="T10" fmla="*/ 2147483647 w 108"/>
                <a:gd name="T11" fmla="*/ 2147483647 h 128"/>
                <a:gd name="T12" fmla="*/ 0 w 108"/>
                <a:gd name="T13" fmla="*/ 2147483647 h 128"/>
                <a:gd name="T14" fmla="*/ 2147483647 w 108"/>
                <a:gd name="T15" fmla="*/ 2147483647 h 128"/>
                <a:gd name="T16" fmla="*/ 2147483647 w 108"/>
                <a:gd name="T17" fmla="*/ 2147483647 h 128"/>
                <a:gd name="T18" fmla="*/ 2147483647 w 108"/>
                <a:gd name="T19" fmla="*/ 2147483647 h 128"/>
                <a:gd name="T20" fmla="*/ 2147483647 w 108"/>
                <a:gd name="T21" fmla="*/ 2147483647 h 128"/>
                <a:gd name="T22" fmla="*/ 2147483647 w 108"/>
                <a:gd name="T23" fmla="*/ 2147483647 h 12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8" h="128">
                  <a:moveTo>
                    <a:pt x="76" y="74"/>
                  </a:moveTo>
                  <a:lnTo>
                    <a:pt x="98" y="54"/>
                  </a:lnTo>
                  <a:lnTo>
                    <a:pt x="88" y="10"/>
                  </a:lnTo>
                  <a:lnTo>
                    <a:pt x="54" y="0"/>
                  </a:lnTo>
                  <a:lnTo>
                    <a:pt x="54" y="64"/>
                  </a:lnTo>
                  <a:lnTo>
                    <a:pt x="22" y="64"/>
                  </a:lnTo>
                  <a:lnTo>
                    <a:pt x="0" y="86"/>
                  </a:lnTo>
                  <a:lnTo>
                    <a:pt x="44" y="96"/>
                  </a:lnTo>
                  <a:lnTo>
                    <a:pt x="54" y="128"/>
                  </a:lnTo>
                  <a:lnTo>
                    <a:pt x="108" y="128"/>
                  </a:lnTo>
                  <a:lnTo>
                    <a:pt x="98" y="86"/>
                  </a:lnTo>
                  <a:lnTo>
                    <a:pt x="76" y="74"/>
                  </a:lnTo>
                </a:path>
              </a:pathLst>
            </a:custGeom>
            <a:noFill/>
            <a:ln w="63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65" name="Freeform 161">
              <a:extLst>
                <a:ext uri="{FF2B5EF4-FFF2-40B4-BE49-F238E27FC236}">
                  <a16:creationId xmlns:a16="http://schemas.microsoft.com/office/drawing/2014/main" id="{D44DC51D-DD1B-4A31-A966-B615C654C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5660" y="4144913"/>
              <a:ext cx="361950" cy="371475"/>
            </a:xfrm>
            <a:custGeom>
              <a:avLst/>
              <a:gdLst>
                <a:gd name="T0" fmla="*/ 0 w 228"/>
                <a:gd name="T1" fmla="*/ 2147483647 h 234"/>
                <a:gd name="T2" fmla="*/ 0 w 228"/>
                <a:gd name="T3" fmla="*/ 2147483647 h 234"/>
                <a:gd name="T4" fmla="*/ 2147483647 w 228"/>
                <a:gd name="T5" fmla="*/ 2147483647 h 234"/>
                <a:gd name="T6" fmla="*/ 2147483647 w 228"/>
                <a:gd name="T7" fmla="*/ 2147483647 h 234"/>
                <a:gd name="T8" fmla="*/ 2147483647 w 228"/>
                <a:gd name="T9" fmla="*/ 2147483647 h 234"/>
                <a:gd name="T10" fmla="*/ 2147483647 w 228"/>
                <a:gd name="T11" fmla="*/ 2147483647 h 234"/>
                <a:gd name="T12" fmla="*/ 2147483647 w 228"/>
                <a:gd name="T13" fmla="*/ 0 h 234"/>
                <a:gd name="T14" fmla="*/ 2147483647 w 228"/>
                <a:gd name="T15" fmla="*/ 2147483647 h 234"/>
                <a:gd name="T16" fmla="*/ 2147483647 w 228"/>
                <a:gd name="T17" fmla="*/ 2147483647 h 234"/>
                <a:gd name="T18" fmla="*/ 2147483647 w 228"/>
                <a:gd name="T19" fmla="*/ 2147483647 h 234"/>
                <a:gd name="T20" fmla="*/ 2147483647 w 228"/>
                <a:gd name="T21" fmla="*/ 2147483647 h 234"/>
                <a:gd name="T22" fmla="*/ 2147483647 w 228"/>
                <a:gd name="T23" fmla="*/ 2147483647 h 234"/>
                <a:gd name="T24" fmla="*/ 2147483647 w 228"/>
                <a:gd name="T25" fmla="*/ 2147483647 h 234"/>
                <a:gd name="T26" fmla="*/ 2147483647 w 228"/>
                <a:gd name="T27" fmla="*/ 2147483647 h 234"/>
                <a:gd name="T28" fmla="*/ 2147483647 w 228"/>
                <a:gd name="T29" fmla="*/ 2147483647 h 234"/>
                <a:gd name="T30" fmla="*/ 2147483647 w 228"/>
                <a:gd name="T31" fmla="*/ 2147483647 h 234"/>
                <a:gd name="T32" fmla="*/ 2147483647 w 228"/>
                <a:gd name="T33" fmla="*/ 2147483647 h 234"/>
                <a:gd name="T34" fmla="*/ 2147483647 w 228"/>
                <a:gd name="T35" fmla="*/ 2147483647 h 234"/>
                <a:gd name="T36" fmla="*/ 0 w 228"/>
                <a:gd name="T37" fmla="*/ 2147483647 h 2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28" h="234">
                  <a:moveTo>
                    <a:pt x="0" y="70"/>
                  </a:moveTo>
                  <a:lnTo>
                    <a:pt x="0" y="38"/>
                  </a:lnTo>
                  <a:lnTo>
                    <a:pt x="32" y="20"/>
                  </a:lnTo>
                  <a:lnTo>
                    <a:pt x="88" y="32"/>
                  </a:lnTo>
                  <a:lnTo>
                    <a:pt x="126" y="32"/>
                  </a:lnTo>
                  <a:lnTo>
                    <a:pt x="158" y="26"/>
                  </a:lnTo>
                  <a:lnTo>
                    <a:pt x="202" y="0"/>
                  </a:lnTo>
                  <a:lnTo>
                    <a:pt x="222" y="20"/>
                  </a:lnTo>
                  <a:lnTo>
                    <a:pt x="228" y="58"/>
                  </a:lnTo>
                  <a:lnTo>
                    <a:pt x="208" y="120"/>
                  </a:lnTo>
                  <a:lnTo>
                    <a:pt x="184" y="140"/>
                  </a:lnTo>
                  <a:lnTo>
                    <a:pt x="164" y="140"/>
                  </a:lnTo>
                  <a:lnTo>
                    <a:pt x="132" y="184"/>
                  </a:lnTo>
                  <a:lnTo>
                    <a:pt x="88" y="222"/>
                  </a:lnTo>
                  <a:lnTo>
                    <a:pt x="64" y="234"/>
                  </a:lnTo>
                  <a:lnTo>
                    <a:pt x="38" y="214"/>
                  </a:lnTo>
                  <a:lnTo>
                    <a:pt x="18" y="152"/>
                  </a:lnTo>
                  <a:lnTo>
                    <a:pt x="26" y="102"/>
                  </a:lnTo>
                  <a:lnTo>
                    <a:pt x="0" y="70"/>
                  </a:lnTo>
                </a:path>
              </a:pathLst>
            </a:custGeom>
            <a:noFill/>
            <a:ln w="635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sv-SE"/>
            </a:p>
          </p:txBody>
        </p:sp>
        <p:sp>
          <p:nvSpPr>
            <p:cNvPr id="66" name="Frihandsfigur 99">
              <a:extLst>
                <a:ext uri="{FF2B5EF4-FFF2-40B4-BE49-F238E27FC236}">
                  <a16:creationId xmlns:a16="http://schemas.microsoft.com/office/drawing/2014/main" id="{B0E80089-B7F4-4495-854D-A54ABDCDE24E}"/>
                </a:ext>
              </a:extLst>
            </p:cNvPr>
            <p:cNvSpPr/>
            <p:nvPr/>
          </p:nvSpPr>
          <p:spPr>
            <a:xfrm>
              <a:off x="5014044" y="3563888"/>
              <a:ext cx="1511300" cy="2705100"/>
            </a:xfrm>
            <a:custGeom>
              <a:avLst/>
              <a:gdLst>
                <a:gd name="connsiteX0" fmla="*/ 688975 w 1511300"/>
                <a:gd name="connsiteY0" fmla="*/ 0 h 2705100"/>
                <a:gd name="connsiteX1" fmla="*/ 536575 w 1511300"/>
                <a:gd name="connsiteY1" fmla="*/ 238125 h 2705100"/>
                <a:gd name="connsiteX2" fmla="*/ 530225 w 1511300"/>
                <a:gd name="connsiteY2" fmla="*/ 279400 h 2705100"/>
                <a:gd name="connsiteX3" fmla="*/ 463550 w 1511300"/>
                <a:gd name="connsiteY3" fmla="*/ 415925 h 2705100"/>
                <a:gd name="connsiteX4" fmla="*/ 377825 w 1511300"/>
                <a:gd name="connsiteY4" fmla="*/ 393700 h 2705100"/>
                <a:gd name="connsiteX5" fmla="*/ 352425 w 1511300"/>
                <a:gd name="connsiteY5" fmla="*/ 374650 h 2705100"/>
                <a:gd name="connsiteX6" fmla="*/ 307975 w 1511300"/>
                <a:gd name="connsiteY6" fmla="*/ 377825 h 2705100"/>
                <a:gd name="connsiteX7" fmla="*/ 282575 w 1511300"/>
                <a:gd name="connsiteY7" fmla="*/ 355600 h 2705100"/>
                <a:gd name="connsiteX8" fmla="*/ 250825 w 1511300"/>
                <a:gd name="connsiteY8" fmla="*/ 501650 h 2705100"/>
                <a:gd name="connsiteX9" fmla="*/ 225425 w 1511300"/>
                <a:gd name="connsiteY9" fmla="*/ 549275 h 2705100"/>
                <a:gd name="connsiteX10" fmla="*/ 203200 w 1511300"/>
                <a:gd name="connsiteY10" fmla="*/ 781050 h 2705100"/>
                <a:gd name="connsiteX11" fmla="*/ 114300 w 1511300"/>
                <a:gd name="connsiteY11" fmla="*/ 917575 h 2705100"/>
                <a:gd name="connsiteX12" fmla="*/ 107950 w 1511300"/>
                <a:gd name="connsiteY12" fmla="*/ 1019175 h 2705100"/>
                <a:gd name="connsiteX13" fmla="*/ 82550 w 1511300"/>
                <a:gd name="connsiteY13" fmla="*/ 1073150 h 2705100"/>
                <a:gd name="connsiteX14" fmla="*/ 15875 w 1511300"/>
                <a:gd name="connsiteY14" fmla="*/ 1130300 h 2705100"/>
                <a:gd name="connsiteX15" fmla="*/ 0 w 1511300"/>
                <a:gd name="connsiteY15" fmla="*/ 1200150 h 2705100"/>
                <a:gd name="connsiteX16" fmla="*/ 73025 w 1511300"/>
                <a:gd name="connsiteY16" fmla="*/ 1352550 h 2705100"/>
                <a:gd name="connsiteX17" fmla="*/ 177800 w 1511300"/>
                <a:gd name="connsiteY17" fmla="*/ 1368425 h 2705100"/>
                <a:gd name="connsiteX18" fmla="*/ 152400 w 1511300"/>
                <a:gd name="connsiteY18" fmla="*/ 1425575 h 2705100"/>
                <a:gd name="connsiteX19" fmla="*/ 15875 w 1511300"/>
                <a:gd name="connsiteY19" fmla="*/ 1517650 h 2705100"/>
                <a:gd name="connsiteX20" fmla="*/ 22225 w 1511300"/>
                <a:gd name="connsiteY20" fmla="*/ 1574800 h 2705100"/>
                <a:gd name="connsiteX21" fmla="*/ 50800 w 1511300"/>
                <a:gd name="connsiteY21" fmla="*/ 1606550 h 2705100"/>
                <a:gd name="connsiteX22" fmla="*/ 130175 w 1511300"/>
                <a:gd name="connsiteY22" fmla="*/ 1612900 h 2705100"/>
                <a:gd name="connsiteX23" fmla="*/ 234950 w 1511300"/>
                <a:gd name="connsiteY23" fmla="*/ 1635125 h 2705100"/>
                <a:gd name="connsiteX24" fmla="*/ 203200 w 1511300"/>
                <a:gd name="connsiteY24" fmla="*/ 1708150 h 2705100"/>
                <a:gd name="connsiteX25" fmla="*/ 238125 w 1511300"/>
                <a:gd name="connsiteY25" fmla="*/ 1781175 h 2705100"/>
                <a:gd name="connsiteX26" fmla="*/ 304800 w 1511300"/>
                <a:gd name="connsiteY26" fmla="*/ 1866900 h 2705100"/>
                <a:gd name="connsiteX27" fmla="*/ 285750 w 1511300"/>
                <a:gd name="connsiteY27" fmla="*/ 2044700 h 2705100"/>
                <a:gd name="connsiteX28" fmla="*/ 320675 w 1511300"/>
                <a:gd name="connsiteY28" fmla="*/ 2159000 h 2705100"/>
                <a:gd name="connsiteX29" fmla="*/ 260350 w 1511300"/>
                <a:gd name="connsiteY29" fmla="*/ 2298700 h 2705100"/>
                <a:gd name="connsiteX30" fmla="*/ 288925 w 1511300"/>
                <a:gd name="connsiteY30" fmla="*/ 2460625 h 2705100"/>
                <a:gd name="connsiteX31" fmla="*/ 377825 w 1511300"/>
                <a:gd name="connsiteY31" fmla="*/ 2562225 h 2705100"/>
                <a:gd name="connsiteX32" fmla="*/ 466725 w 1511300"/>
                <a:gd name="connsiteY32" fmla="*/ 2286000 h 2705100"/>
                <a:gd name="connsiteX33" fmla="*/ 492125 w 1511300"/>
                <a:gd name="connsiteY33" fmla="*/ 2263775 h 2705100"/>
                <a:gd name="connsiteX34" fmla="*/ 539750 w 1511300"/>
                <a:gd name="connsiteY34" fmla="*/ 2384425 h 2705100"/>
                <a:gd name="connsiteX35" fmla="*/ 539750 w 1511300"/>
                <a:gd name="connsiteY35" fmla="*/ 2463800 h 2705100"/>
                <a:gd name="connsiteX36" fmla="*/ 469900 w 1511300"/>
                <a:gd name="connsiteY36" fmla="*/ 2587625 h 2705100"/>
                <a:gd name="connsiteX37" fmla="*/ 539750 w 1511300"/>
                <a:gd name="connsiteY37" fmla="*/ 2593975 h 2705100"/>
                <a:gd name="connsiteX38" fmla="*/ 593725 w 1511300"/>
                <a:gd name="connsiteY38" fmla="*/ 2670175 h 2705100"/>
                <a:gd name="connsiteX39" fmla="*/ 600075 w 1511300"/>
                <a:gd name="connsiteY39" fmla="*/ 2692400 h 2705100"/>
                <a:gd name="connsiteX40" fmla="*/ 777875 w 1511300"/>
                <a:gd name="connsiteY40" fmla="*/ 2705100 h 2705100"/>
                <a:gd name="connsiteX41" fmla="*/ 942975 w 1511300"/>
                <a:gd name="connsiteY41" fmla="*/ 2584450 h 2705100"/>
                <a:gd name="connsiteX42" fmla="*/ 955675 w 1511300"/>
                <a:gd name="connsiteY42" fmla="*/ 2495550 h 2705100"/>
                <a:gd name="connsiteX43" fmla="*/ 1000125 w 1511300"/>
                <a:gd name="connsiteY43" fmla="*/ 2447925 h 2705100"/>
                <a:gd name="connsiteX44" fmla="*/ 974725 w 1511300"/>
                <a:gd name="connsiteY44" fmla="*/ 2365375 h 2705100"/>
                <a:gd name="connsiteX45" fmla="*/ 885825 w 1511300"/>
                <a:gd name="connsiteY45" fmla="*/ 2235200 h 2705100"/>
                <a:gd name="connsiteX46" fmla="*/ 860425 w 1511300"/>
                <a:gd name="connsiteY46" fmla="*/ 1958975 h 2705100"/>
                <a:gd name="connsiteX47" fmla="*/ 815975 w 1511300"/>
                <a:gd name="connsiteY47" fmla="*/ 1905000 h 2705100"/>
                <a:gd name="connsiteX48" fmla="*/ 927100 w 1511300"/>
                <a:gd name="connsiteY48" fmla="*/ 1816100 h 2705100"/>
                <a:gd name="connsiteX49" fmla="*/ 1079500 w 1511300"/>
                <a:gd name="connsiteY49" fmla="*/ 1930400 h 2705100"/>
                <a:gd name="connsiteX50" fmla="*/ 1225550 w 1511300"/>
                <a:gd name="connsiteY50" fmla="*/ 1873250 h 2705100"/>
                <a:gd name="connsiteX51" fmla="*/ 1133475 w 1511300"/>
                <a:gd name="connsiteY51" fmla="*/ 1590675 h 2705100"/>
                <a:gd name="connsiteX52" fmla="*/ 1057275 w 1511300"/>
                <a:gd name="connsiteY52" fmla="*/ 1558925 h 2705100"/>
                <a:gd name="connsiteX53" fmla="*/ 1130300 w 1511300"/>
                <a:gd name="connsiteY53" fmla="*/ 1454150 h 2705100"/>
                <a:gd name="connsiteX54" fmla="*/ 1216025 w 1511300"/>
                <a:gd name="connsiteY54" fmla="*/ 1473200 h 2705100"/>
                <a:gd name="connsiteX55" fmla="*/ 1397000 w 1511300"/>
                <a:gd name="connsiteY55" fmla="*/ 1241425 h 2705100"/>
                <a:gd name="connsiteX56" fmla="*/ 1409700 w 1511300"/>
                <a:gd name="connsiteY56" fmla="*/ 1092200 h 2705100"/>
                <a:gd name="connsiteX57" fmla="*/ 1333500 w 1511300"/>
                <a:gd name="connsiteY57" fmla="*/ 927100 h 2705100"/>
                <a:gd name="connsiteX58" fmla="*/ 1231900 w 1511300"/>
                <a:gd name="connsiteY58" fmla="*/ 850900 h 2705100"/>
                <a:gd name="connsiteX59" fmla="*/ 1304925 w 1511300"/>
                <a:gd name="connsiteY59" fmla="*/ 752475 h 2705100"/>
                <a:gd name="connsiteX60" fmla="*/ 1384300 w 1511300"/>
                <a:gd name="connsiteY60" fmla="*/ 688975 h 2705100"/>
                <a:gd name="connsiteX61" fmla="*/ 1393825 w 1511300"/>
                <a:gd name="connsiteY61" fmla="*/ 654050 h 2705100"/>
                <a:gd name="connsiteX62" fmla="*/ 1482725 w 1511300"/>
                <a:gd name="connsiteY62" fmla="*/ 631825 h 2705100"/>
                <a:gd name="connsiteX63" fmla="*/ 1511300 w 1511300"/>
                <a:gd name="connsiteY63" fmla="*/ 593725 h 2705100"/>
                <a:gd name="connsiteX64" fmla="*/ 1466850 w 1511300"/>
                <a:gd name="connsiteY64" fmla="*/ 517525 h 2705100"/>
                <a:gd name="connsiteX65" fmla="*/ 1495425 w 1511300"/>
                <a:gd name="connsiteY65" fmla="*/ 434975 h 2705100"/>
                <a:gd name="connsiteX66" fmla="*/ 1492250 w 1511300"/>
                <a:gd name="connsiteY66" fmla="*/ 384175 h 2705100"/>
                <a:gd name="connsiteX67" fmla="*/ 1263650 w 1511300"/>
                <a:gd name="connsiteY67" fmla="*/ 314325 h 2705100"/>
                <a:gd name="connsiteX68" fmla="*/ 1200150 w 1511300"/>
                <a:gd name="connsiteY68" fmla="*/ 466725 h 2705100"/>
                <a:gd name="connsiteX69" fmla="*/ 1101725 w 1511300"/>
                <a:gd name="connsiteY69" fmla="*/ 581025 h 2705100"/>
                <a:gd name="connsiteX70" fmla="*/ 1019175 w 1511300"/>
                <a:gd name="connsiteY70" fmla="*/ 536575 h 2705100"/>
                <a:gd name="connsiteX71" fmla="*/ 1016000 w 1511300"/>
                <a:gd name="connsiteY71" fmla="*/ 485775 h 2705100"/>
                <a:gd name="connsiteX72" fmla="*/ 806450 w 1511300"/>
                <a:gd name="connsiteY72" fmla="*/ 495300 h 2705100"/>
                <a:gd name="connsiteX73" fmla="*/ 758825 w 1511300"/>
                <a:gd name="connsiteY73" fmla="*/ 460375 h 2705100"/>
                <a:gd name="connsiteX74" fmla="*/ 711200 w 1511300"/>
                <a:gd name="connsiteY74" fmla="*/ 273050 h 2705100"/>
                <a:gd name="connsiteX75" fmla="*/ 835025 w 1511300"/>
                <a:gd name="connsiteY75" fmla="*/ 142875 h 2705100"/>
                <a:gd name="connsiteX76" fmla="*/ 704850 w 1511300"/>
                <a:gd name="connsiteY76" fmla="*/ 95250 h 2705100"/>
                <a:gd name="connsiteX77" fmla="*/ 688975 w 1511300"/>
                <a:gd name="connsiteY77" fmla="*/ 0 h 2705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1511300" h="2705100">
                  <a:moveTo>
                    <a:pt x="688975" y="0"/>
                  </a:moveTo>
                  <a:lnTo>
                    <a:pt x="536575" y="238125"/>
                  </a:lnTo>
                  <a:lnTo>
                    <a:pt x="530225" y="279400"/>
                  </a:lnTo>
                  <a:lnTo>
                    <a:pt x="463550" y="415925"/>
                  </a:lnTo>
                  <a:lnTo>
                    <a:pt x="377825" y="393700"/>
                  </a:lnTo>
                  <a:lnTo>
                    <a:pt x="352425" y="374650"/>
                  </a:lnTo>
                  <a:lnTo>
                    <a:pt x="307975" y="377825"/>
                  </a:lnTo>
                  <a:lnTo>
                    <a:pt x="282575" y="355600"/>
                  </a:lnTo>
                  <a:lnTo>
                    <a:pt x="250825" y="501650"/>
                  </a:lnTo>
                  <a:lnTo>
                    <a:pt x="225425" y="549275"/>
                  </a:lnTo>
                  <a:lnTo>
                    <a:pt x="203200" y="781050"/>
                  </a:lnTo>
                  <a:lnTo>
                    <a:pt x="114300" y="917575"/>
                  </a:lnTo>
                  <a:lnTo>
                    <a:pt x="107950" y="1019175"/>
                  </a:lnTo>
                  <a:lnTo>
                    <a:pt x="82550" y="1073150"/>
                  </a:lnTo>
                  <a:lnTo>
                    <a:pt x="15875" y="1130300"/>
                  </a:lnTo>
                  <a:lnTo>
                    <a:pt x="0" y="1200150"/>
                  </a:lnTo>
                  <a:lnTo>
                    <a:pt x="73025" y="1352550"/>
                  </a:lnTo>
                  <a:lnTo>
                    <a:pt x="177800" y="1368425"/>
                  </a:lnTo>
                  <a:lnTo>
                    <a:pt x="152400" y="1425575"/>
                  </a:lnTo>
                  <a:lnTo>
                    <a:pt x="15875" y="1517650"/>
                  </a:lnTo>
                  <a:lnTo>
                    <a:pt x="22225" y="1574800"/>
                  </a:lnTo>
                  <a:lnTo>
                    <a:pt x="50800" y="1606550"/>
                  </a:lnTo>
                  <a:lnTo>
                    <a:pt x="130175" y="1612900"/>
                  </a:lnTo>
                  <a:lnTo>
                    <a:pt x="234950" y="1635125"/>
                  </a:lnTo>
                  <a:lnTo>
                    <a:pt x="203200" y="1708150"/>
                  </a:lnTo>
                  <a:lnTo>
                    <a:pt x="238125" y="1781175"/>
                  </a:lnTo>
                  <a:lnTo>
                    <a:pt x="304800" y="1866900"/>
                  </a:lnTo>
                  <a:lnTo>
                    <a:pt x="285750" y="2044700"/>
                  </a:lnTo>
                  <a:lnTo>
                    <a:pt x="320675" y="2159000"/>
                  </a:lnTo>
                  <a:lnTo>
                    <a:pt x="260350" y="2298700"/>
                  </a:lnTo>
                  <a:lnTo>
                    <a:pt x="288925" y="2460625"/>
                  </a:lnTo>
                  <a:lnTo>
                    <a:pt x="377825" y="2562225"/>
                  </a:lnTo>
                  <a:lnTo>
                    <a:pt x="466725" y="2286000"/>
                  </a:lnTo>
                  <a:lnTo>
                    <a:pt x="492125" y="2263775"/>
                  </a:lnTo>
                  <a:lnTo>
                    <a:pt x="539750" y="2384425"/>
                  </a:lnTo>
                  <a:lnTo>
                    <a:pt x="539750" y="2463800"/>
                  </a:lnTo>
                  <a:lnTo>
                    <a:pt x="469900" y="2587625"/>
                  </a:lnTo>
                  <a:lnTo>
                    <a:pt x="539750" y="2593975"/>
                  </a:lnTo>
                  <a:lnTo>
                    <a:pt x="593725" y="2670175"/>
                  </a:lnTo>
                  <a:lnTo>
                    <a:pt x="600075" y="2692400"/>
                  </a:lnTo>
                  <a:lnTo>
                    <a:pt x="777875" y="2705100"/>
                  </a:lnTo>
                  <a:lnTo>
                    <a:pt x="942975" y="2584450"/>
                  </a:lnTo>
                  <a:lnTo>
                    <a:pt x="955675" y="2495550"/>
                  </a:lnTo>
                  <a:lnTo>
                    <a:pt x="1000125" y="2447925"/>
                  </a:lnTo>
                  <a:lnTo>
                    <a:pt x="974725" y="2365375"/>
                  </a:lnTo>
                  <a:lnTo>
                    <a:pt x="885825" y="2235200"/>
                  </a:lnTo>
                  <a:lnTo>
                    <a:pt x="860425" y="1958975"/>
                  </a:lnTo>
                  <a:lnTo>
                    <a:pt x="815975" y="1905000"/>
                  </a:lnTo>
                  <a:lnTo>
                    <a:pt x="927100" y="1816100"/>
                  </a:lnTo>
                  <a:lnTo>
                    <a:pt x="1079500" y="1930400"/>
                  </a:lnTo>
                  <a:lnTo>
                    <a:pt x="1225550" y="1873250"/>
                  </a:lnTo>
                  <a:lnTo>
                    <a:pt x="1133475" y="1590675"/>
                  </a:lnTo>
                  <a:lnTo>
                    <a:pt x="1057275" y="1558925"/>
                  </a:lnTo>
                  <a:lnTo>
                    <a:pt x="1130300" y="1454150"/>
                  </a:lnTo>
                  <a:lnTo>
                    <a:pt x="1216025" y="1473200"/>
                  </a:lnTo>
                  <a:lnTo>
                    <a:pt x="1397000" y="1241425"/>
                  </a:lnTo>
                  <a:lnTo>
                    <a:pt x="1409700" y="1092200"/>
                  </a:lnTo>
                  <a:lnTo>
                    <a:pt x="1333500" y="927100"/>
                  </a:lnTo>
                  <a:lnTo>
                    <a:pt x="1231900" y="850900"/>
                  </a:lnTo>
                  <a:lnTo>
                    <a:pt x="1304925" y="752475"/>
                  </a:lnTo>
                  <a:lnTo>
                    <a:pt x="1384300" y="688975"/>
                  </a:lnTo>
                  <a:lnTo>
                    <a:pt x="1393825" y="654050"/>
                  </a:lnTo>
                  <a:lnTo>
                    <a:pt x="1482725" y="631825"/>
                  </a:lnTo>
                  <a:lnTo>
                    <a:pt x="1511300" y="593725"/>
                  </a:lnTo>
                  <a:lnTo>
                    <a:pt x="1466850" y="517525"/>
                  </a:lnTo>
                  <a:lnTo>
                    <a:pt x="1495425" y="434975"/>
                  </a:lnTo>
                  <a:lnTo>
                    <a:pt x="1492250" y="384175"/>
                  </a:lnTo>
                  <a:lnTo>
                    <a:pt x="1263650" y="314325"/>
                  </a:lnTo>
                  <a:lnTo>
                    <a:pt x="1200150" y="466725"/>
                  </a:lnTo>
                  <a:lnTo>
                    <a:pt x="1101725" y="581025"/>
                  </a:lnTo>
                  <a:lnTo>
                    <a:pt x="1019175" y="536575"/>
                  </a:lnTo>
                  <a:lnTo>
                    <a:pt x="1016000" y="485775"/>
                  </a:lnTo>
                  <a:lnTo>
                    <a:pt x="806450" y="495300"/>
                  </a:lnTo>
                  <a:lnTo>
                    <a:pt x="758825" y="460375"/>
                  </a:lnTo>
                  <a:lnTo>
                    <a:pt x="711200" y="273050"/>
                  </a:lnTo>
                  <a:lnTo>
                    <a:pt x="835025" y="142875"/>
                  </a:lnTo>
                  <a:lnTo>
                    <a:pt x="704850" y="95250"/>
                  </a:lnTo>
                  <a:lnTo>
                    <a:pt x="688975" y="0"/>
                  </a:lnTo>
                  <a:close/>
                </a:path>
              </a:pathLst>
            </a:custGeom>
            <a:no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cxnSp>
        <p:nvCxnSpPr>
          <p:cNvPr id="59" name="Rak koppling 58">
            <a:extLst>
              <a:ext uri="{FF2B5EF4-FFF2-40B4-BE49-F238E27FC236}">
                <a16:creationId xmlns:a16="http://schemas.microsoft.com/office/drawing/2014/main" id="{53CD15B8-D684-45EA-9282-138D51AF8C66}"/>
              </a:ext>
            </a:extLst>
          </p:cNvPr>
          <p:cNvCxnSpPr/>
          <p:nvPr/>
        </p:nvCxnSpPr>
        <p:spPr>
          <a:xfrm>
            <a:off x="8527266" y="4881316"/>
            <a:ext cx="288000" cy="0"/>
          </a:xfrm>
          <a:prstGeom prst="line">
            <a:avLst/>
          </a:prstGeom>
          <a:ln w="5715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Rak koppling 66">
            <a:extLst>
              <a:ext uri="{FF2B5EF4-FFF2-40B4-BE49-F238E27FC236}">
                <a16:creationId xmlns:a16="http://schemas.microsoft.com/office/drawing/2014/main" id="{A91C3EE7-2929-428E-B0A7-00E9594CCAD9}"/>
              </a:ext>
            </a:extLst>
          </p:cNvPr>
          <p:cNvCxnSpPr/>
          <p:nvPr/>
        </p:nvCxnSpPr>
        <p:spPr>
          <a:xfrm>
            <a:off x="8242843" y="3646250"/>
            <a:ext cx="288000" cy="0"/>
          </a:xfrm>
          <a:prstGeom prst="line">
            <a:avLst/>
          </a:prstGeom>
          <a:ln w="5715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Rak koppling 5">
            <a:extLst>
              <a:ext uri="{FF2B5EF4-FFF2-40B4-BE49-F238E27FC236}">
                <a16:creationId xmlns:a16="http://schemas.microsoft.com/office/drawing/2014/main" id="{B4034EE4-E164-4DF9-ABFB-81F25AAFD78B}"/>
              </a:ext>
            </a:extLst>
          </p:cNvPr>
          <p:cNvCxnSpPr/>
          <p:nvPr/>
        </p:nvCxnSpPr>
        <p:spPr>
          <a:xfrm>
            <a:off x="2245121" y="5439314"/>
            <a:ext cx="0" cy="288000"/>
          </a:xfrm>
          <a:prstGeom prst="line">
            <a:avLst/>
          </a:prstGeom>
          <a:ln w="5715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Rak koppling 67">
            <a:extLst>
              <a:ext uri="{FF2B5EF4-FFF2-40B4-BE49-F238E27FC236}">
                <a16:creationId xmlns:a16="http://schemas.microsoft.com/office/drawing/2014/main" id="{807D82D5-0BD7-423A-9810-68A871AB1D83}"/>
              </a:ext>
            </a:extLst>
          </p:cNvPr>
          <p:cNvCxnSpPr/>
          <p:nvPr/>
        </p:nvCxnSpPr>
        <p:spPr>
          <a:xfrm>
            <a:off x="7565841" y="5442613"/>
            <a:ext cx="0" cy="288000"/>
          </a:xfrm>
          <a:prstGeom prst="line">
            <a:avLst/>
          </a:prstGeom>
          <a:ln w="5715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Rak koppling 68">
            <a:extLst>
              <a:ext uri="{FF2B5EF4-FFF2-40B4-BE49-F238E27FC236}">
                <a16:creationId xmlns:a16="http://schemas.microsoft.com/office/drawing/2014/main" id="{5D95CE5A-4DE1-42AD-9E42-7FF261BDA2C2}"/>
              </a:ext>
            </a:extLst>
          </p:cNvPr>
          <p:cNvCxnSpPr/>
          <p:nvPr/>
        </p:nvCxnSpPr>
        <p:spPr>
          <a:xfrm>
            <a:off x="2900230" y="2716325"/>
            <a:ext cx="1836000" cy="0"/>
          </a:xfrm>
          <a:prstGeom prst="line">
            <a:avLst/>
          </a:prstGeom>
          <a:ln w="5715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Rak koppling 69">
            <a:extLst>
              <a:ext uri="{FF2B5EF4-FFF2-40B4-BE49-F238E27FC236}">
                <a16:creationId xmlns:a16="http://schemas.microsoft.com/office/drawing/2014/main" id="{C930DA26-AC58-46B4-A9A3-D33071144253}"/>
              </a:ext>
            </a:extLst>
          </p:cNvPr>
          <p:cNvCxnSpPr/>
          <p:nvPr/>
        </p:nvCxnSpPr>
        <p:spPr>
          <a:xfrm>
            <a:off x="2936161" y="4885659"/>
            <a:ext cx="288000" cy="0"/>
          </a:xfrm>
          <a:prstGeom prst="line">
            <a:avLst/>
          </a:prstGeom>
          <a:ln w="5715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ruta 70">
            <a:extLst>
              <a:ext uri="{FF2B5EF4-FFF2-40B4-BE49-F238E27FC236}">
                <a16:creationId xmlns:a16="http://schemas.microsoft.com/office/drawing/2014/main" id="{4FBAEA49-E463-4F91-8C34-4F45F22EDDE0}"/>
              </a:ext>
            </a:extLst>
          </p:cNvPr>
          <p:cNvSpPr txBox="1"/>
          <p:nvPr/>
        </p:nvSpPr>
        <p:spPr>
          <a:xfrm>
            <a:off x="6010419" y="2192096"/>
            <a:ext cx="9213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00" dirty="0">
                <a:solidFill>
                  <a:schemeClr val="tx2"/>
                </a:solidFill>
              </a:rPr>
              <a:t>totalt</a:t>
            </a:r>
          </a:p>
        </p:txBody>
      </p:sp>
      <p:pic>
        <p:nvPicPr>
          <p:cNvPr id="72" name="Bildobjekt 71">
            <a:extLst>
              <a:ext uri="{FF2B5EF4-FFF2-40B4-BE49-F238E27FC236}">
                <a16:creationId xmlns:a16="http://schemas.microsoft.com/office/drawing/2014/main" id="{541D2CE1-9B9E-429B-AA74-515BB93CD0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5777" y="2573642"/>
            <a:ext cx="792000" cy="792000"/>
          </a:xfrm>
          <a:prstGeom prst="rect">
            <a:avLst/>
          </a:prstGeom>
        </p:spPr>
      </p:pic>
      <p:sp>
        <p:nvSpPr>
          <p:cNvPr id="73" name="textruta 72">
            <a:extLst>
              <a:ext uri="{FF2B5EF4-FFF2-40B4-BE49-F238E27FC236}">
                <a16:creationId xmlns:a16="http://schemas.microsoft.com/office/drawing/2014/main" id="{060F2ADF-6AC4-4830-84E9-091EA06850E9}"/>
              </a:ext>
            </a:extLst>
          </p:cNvPr>
          <p:cNvSpPr txBox="1"/>
          <p:nvPr/>
        </p:nvSpPr>
        <p:spPr>
          <a:xfrm>
            <a:off x="6012971" y="3120791"/>
            <a:ext cx="9213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00" dirty="0">
                <a:solidFill>
                  <a:schemeClr val="tx2"/>
                </a:solidFill>
              </a:rPr>
              <a:t>per sektor</a:t>
            </a:r>
          </a:p>
        </p:txBody>
      </p:sp>
      <p:sp>
        <p:nvSpPr>
          <p:cNvPr id="77" name="textruta 76">
            <a:extLst>
              <a:ext uri="{FF2B5EF4-FFF2-40B4-BE49-F238E27FC236}">
                <a16:creationId xmlns:a16="http://schemas.microsoft.com/office/drawing/2014/main" id="{7A8AA342-E8CD-4E24-ADEF-A49112F2E6A9}"/>
              </a:ext>
            </a:extLst>
          </p:cNvPr>
          <p:cNvSpPr txBox="1"/>
          <p:nvPr/>
        </p:nvSpPr>
        <p:spPr>
          <a:xfrm>
            <a:off x="5241569" y="3443985"/>
            <a:ext cx="18310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tx2"/>
                </a:solidFill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rPr>
              <a:t>  </a:t>
            </a:r>
            <a:r>
              <a:rPr lang="sv-SE" sz="2400" dirty="0">
                <a:solidFill>
                  <a:schemeClr val="accent2"/>
                </a:solidFill>
                <a:latin typeface="Arial Rounded MT Bold" panose="020F0704030504030204" pitchFamily="34" charset="0"/>
                <a:ea typeface="Galaxie Polaris Medium" panose="02000000000000000000" pitchFamily="50" charset="0"/>
                <a:cs typeface="Galaxie Polaris Medium" panose="02000000000000000000" pitchFamily="50" charset="0"/>
              </a:rPr>
              <a:t>!</a:t>
            </a:r>
            <a:r>
              <a:rPr lang="sv-SE" sz="1200" dirty="0">
                <a:solidFill>
                  <a:schemeClr val="tx2"/>
                </a:solidFill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rPr>
              <a:t> </a:t>
            </a:r>
            <a:r>
              <a:rPr lang="sv-SE" sz="1400" dirty="0">
                <a:solidFill>
                  <a:schemeClr val="tx2"/>
                </a:solidFill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rPr>
              <a:t>Sammanfattning</a:t>
            </a:r>
          </a:p>
        </p:txBody>
      </p:sp>
      <p:sp>
        <p:nvSpPr>
          <p:cNvPr id="2" name="Frihandsfigur: Form 1">
            <a:extLst>
              <a:ext uri="{FF2B5EF4-FFF2-40B4-BE49-F238E27FC236}">
                <a16:creationId xmlns:a16="http://schemas.microsoft.com/office/drawing/2014/main" id="{AEEE8B25-2A5B-4AF3-85F6-9FE5EE4D7200}"/>
              </a:ext>
            </a:extLst>
          </p:cNvPr>
          <p:cNvSpPr/>
          <p:nvPr/>
        </p:nvSpPr>
        <p:spPr>
          <a:xfrm>
            <a:off x="11362414" y="2592126"/>
            <a:ext cx="206732" cy="524787"/>
          </a:xfrm>
          <a:custGeom>
            <a:avLst/>
            <a:gdLst>
              <a:gd name="connsiteX0" fmla="*/ 0 w 392368"/>
              <a:gd name="connsiteY0" fmla="*/ 524787 h 524787"/>
              <a:gd name="connsiteX1" fmla="*/ 389614 w 392368"/>
              <a:gd name="connsiteY1" fmla="*/ 357809 h 524787"/>
              <a:gd name="connsiteX2" fmla="*/ 143123 w 392368"/>
              <a:gd name="connsiteY2" fmla="*/ 0 h 524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2368" h="524787">
                <a:moveTo>
                  <a:pt x="0" y="524787"/>
                </a:moveTo>
                <a:cubicBezTo>
                  <a:pt x="182880" y="485030"/>
                  <a:pt x="365760" y="445274"/>
                  <a:pt x="389614" y="357809"/>
                </a:cubicBezTo>
                <a:cubicBezTo>
                  <a:pt x="413468" y="270344"/>
                  <a:pt x="278295" y="135172"/>
                  <a:pt x="143123" y="0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5" name="Frihandsfigur: Form 74">
            <a:extLst>
              <a:ext uri="{FF2B5EF4-FFF2-40B4-BE49-F238E27FC236}">
                <a16:creationId xmlns:a16="http://schemas.microsoft.com/office/drawing/2014/main" id="{A371EC16-BC54-43B0-8EB1-32ADE06D1A0D}"/>
              </a:ext>
            </a:extLst>
          </p:cNvPr>
          <p:cNvSpPr/>
          <p:nvPr/>
        </p:nvSpPr>
        <p:spPr>
          <a:xfrm flipH="1" flipV="1">
            <a:off x="10484870" y="4475077"/>
            <a:ext cx="273027" cy="517961"/>
          </a:xfrm>
          <a:custGeom>
            <a:avLst/>
            <a:gdLst>
              <a:gd name="connsiteX0" fmla="*/ 0 w 392368"/>
              <a:gd name="connsiteY0" fmla="*/ 524787 h 524787"/>
              <a:gd name="connsiteX1" fmla="*/ 389614 w 392368"/>
              <a:gd name="connsiteY1" fmla="*/ 357809 h 524787"/>
              <a:gd name="connsiteX2" fmla="*/ 143123 w 392368"/>
              <a:gd name="connsiteY2" fmla="*/ 0 h 524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2368" h="524787">
                <a:moveTo>
                  <a:pt x="0" y="524787"/>
                </a:moveTo>
                <a:cubicBezTo>
                  <a:pt x="182880" y="485030"/>
                  <a:pt x="365760" y="445274"/>
                  <a:pt x="389614" y="357809"/>
                </a:cubicBezTo>
                <a:cubicBezTo>
                  <a:pt x="413468" y="270344"/>
                  <a:pt x="278295" y="135172"/>
                  <a:pt x="143123" y="0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DEE0762D-F37B-47C7-94DF-367772A51267}"/>
              </a:ext>
            </a:extLst>
          </p:cNvPr>
          <p:cNvSpPr txBox="1"/>
          <p:nvPr/>
        </p:nvSpPr>
        <p:spPr>
          <a:xfrm>
            <a:off x="10650772" y="2321334"/>
            <a:ext cx="1423284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sv-SE" sz="1000" dirty="0">
                <a:solidFill>
                  <a:schemeClr val="tx2"/>
                </a:solidFill>
              </a:rPr>
              <a:t>Besöksnäring</a:t>
            </a:r>
          </a:p>
        </p:txBody>
      </p:sp>
      <p:sp>
        <p:nvSpPr>
          <p:cNvPr id="76" name="textruta 75">
            <a:extLst>
              <a:ext uri="{FF2B5EF4-FFF2-40B4-BE49-F238E27FC236}">
                <a16:creationId xmlns:a16="http://schemas.microsoft.com/office/drawing/2014/main" id="{370651B2-4C88-4A2D-ABF4-6E02C19D14AB}"/>
              </a:ext>
            </a:extLst>
          </p:cNvPr>
          <p:cNvSpPr txBox="1"/>
          <p:nvPr/>
        </p:nvSpPr>
        <p:spPr>
          <a:xfrm>
            <a:off x="10033121" y="5030427"/>
            <a:ext cx="1293512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sv-SE" sz="1000" dirty="0">
                <a:solidFill>
                  <a:schemeClr val="tx2"/>
                </a:solidFill>
              </a:rPr>
              <a:t>Konkurser</a:t>
            </a:r>
          </a:p>
        </p:txBody>
      </p:sp>
      <p:sp>
        <p:nvSpPr>
          <p:cNvPr id="78" name="textruta 77">
            <a:extLst>
              <a:ext uri="{FF2B5EF4-FFF2-40B4-BE49-F238E27FC236}">
                <a16:creationId xmlns:a16="http://schemas.microsoft.com/office/drawing/2014/main" id="{8B0FFC00-68CF-4EDB-ACFA-296C3C626A46}"/>
              </a:ext>
            </a:extLst>
          </p:cNvPr>
          <p:cNvSpPr txBox="1"/>
          <p:nvPr/>
        </p:nvSpPr>
        <p:spPr>
          <a:xfrm>
            <a:off x="2911348" y="2414797"/>
            <a:ext cx="1917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>
                <a:solidFill>
                  <a:schemeClr val="tx2"/>
                </a:solidFill>
                <a:latin typeface="Galaxie Polaris Medium" panose="02000000000000000000" pitchFamily="50" charset="0"/>
                <a:ea typeface="Galaxie Polaris Medium" panose="02000000000000000000" pitchFamily="50" charset="0"/>
                <a:cs typeface="Galaxie Polaris Medium" panose="02000000000000000000" pitchFamily="50" charset="0"/>
              </a:rPr>
              <a:t>Ekonomisk tillväxt</a:t>
            </a:r>
          </a:p>
        </p:txBody>
      </p:sp>
      <p:sp>
        <p:nvSpPr>
          <p:cNvPr id="79" name="Frihandsfigur 17">
            <a:extLst>
              <a:ext uri="{FF2B5EF4-FFF2-40B4-BE49-F238E27FC236}">
                <a16:creationId xmlns:a16="http://schemas.microsoft.com/office/drawing/2014/main" id="{2A676647-E495-4013-A904-A967D5AB3A87}"/>
              </a:ext>
            </a:extLst>
          </p:cNvPr>
          <p:cNvSpPr/>
          <p:nvPr/>
        </p:nvSpPr>
        <p:spPr>
          <a:xfrm>
            <a:off x="4814036" y="3981975"/>
            <a:ext cx="252000" cy="576000"/>
          </a:xfrm>
          <a:custGeom>
            <a:avLst/>
            <a:gdLst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33680 w 3505200"/>
              <a:gd name="connsiteY69" fmla="*/ 6543040 h 8260080"/>
              <a:gd name="connsiteX70" fmla="*/ 152400 w 3505200"/>
              <a:gd name="connsiteY70" fmla="*/ 6776720 h 8260080"/>
              <a:gd name="connsiteX71" fmla="*/ 233680 w 3505200"/>
              <a:gd name="connsiteY71" fmla="*/ 6959600 h 8260080"/>
              <a:gd name="connsiteX72" fmla="*/ 304800 w 3505200"/>
              <a:gd name="connsiteY72" fmla="*/ 7020560 h 8260080"/>
              <a:gd name="connsiteX73" fmla="*/ 264160 w 3505200"/>
              <a:gd name="connsiteY73" fmla="*/ 7122160 h 8260080"/>
              <a:gd name="connsiteX74" fmla="*/ 335280 w 3505200"/>
              <a:gd name="connsiteY74" fmla="*/ 7193280 h 8260080"/>
              <a:gd name="connsiteX75" fmla="*/ 325120 w 3505200"/>
              <a:gd name="connsiteY75" fmla="*/ 7254240 h 8260080"/>
              <a:gd name="connsiteX76" fmla="*/ 325120 w 3505200"/>
              <a:gd name="connsiteY76" fmla="*/ 7254240 h 8260080"/>
              <a:gd name="connsiteX77" fmla="*/ 325120 w 3505200"/>
              <a:gd name="connsiteY77" fmla="*/ 7355840 h 8260080"/>
              <a:gd name="connsiteX78" fmla="*/ 447040 w 3505200"/>
              <a:gd name="connsiteY78" fmla="*/ 7366000 h 8260080"/>
              <a:gd name="connsiteX79" fmla="*/ 447040 w 3505200"/>
              <a:gd name="connsiteY79" fmla="*/ 7477760 h 8260080"/>
              <a:gd name="connsiteX80" fmla="*/ 558800 w 3505200"/>
              <a:gd name="connsiteY80" fmla="*/ 7528560 h 8260080"/>
              <a:gd name="connsiteX81" fmla="*/ 508000 w 3505200"/>
              <a:gd name="connsiteY81" fmla="*/ 7630160 h 8260080"/>
              <a:gd name="connsiteX82" fmla="*/ 436880 w 3505200"/>
              <a:gd name="connsiteY82" fmla="*/ 7609840 h 8260080"/>
              <a:gd name="connsiteX83" fmla="*/ 447040 w 3505200"/>
              <a:gd name="connsiteY83" fmla="*/ 7691120 h 8260080"/>
              <a:gd name="connsiteX84" fmla="*/ 518160 w 3505200"/>
              <a:gd name="connsiteY84" fmla="*/ 7741920 h 8260080"/>
              <a:gd name="connsiteX85" fmla="*/ 457200 w 3505200"/>
              <a:gd name="connsiteY85" fmla="*/ 7792720 h 8260080"/>
              <a:gd name="connsiteX86" fmla="*/ 396240 w 3505200"/>
              <a:gd name="connsiteY86" fmla="*/ 7701280 h 8260080"/>
              <a:gd name="connsiteX87" fmla="*/ 396240 w 3505200"/>
              <a:gd name="connsiteY87" fmla="*/ 7701280 h 8260080"/>
              <a:gd name="connsiteX88" fmla="*/ 436880 w 3505200"/>
              <a:gd name="connsiteY88" fmla="*/ 7874000 h 8260080"/>
              <a:gd name="connsiteX89" fmla="*/ 436880 w 3505200"/>
              <a:gd name="connsiteY89" fmla="*/ 7924800 h 8260080"/>
              <a:gd name="connsiteX90" fmla="*/ 548640 w 3505200"/>
              <a:gd name="connsiteY90" fmla="*/ 7965440 h 8260080"/>
              <a:gd name="connsiteX91" fmla="*/ 508000 w 3505200"/>
              <a:gd name="connsiteY91" fmla="*/ 8016240 h 8260080"/>
              <a:gd name="connsiteX92" fmla="*/ 589280 w 3505200"/>
              <a:gd name="connsiteY92" fmla="*/ 8056880 h 8260080"/>
              <a:gd name="connsiteX93" fmla="*/ 497840 w 3505200"/>
              <a:gd name="connsiteY93" fmla="*/ 8117840 h 8260080"/>
              <a:gd name="connsiteX94" fmla="*/ 518160 w 3505200"/>
              <a:gd name="connsiteY94" fmla="*/ 8209280 h 8260080"/>
              <a:gd name="connsiteX95" fmla="*/ 640080 w 3505200"/>
              <a:gd name="connsiteY95" fmla="*/ 8260080 h 8260080"/>
              <a:gd name="connsiteX96" fmla="*/ 731520 w 3505200"/>
              <a:gd name="connsiteY96" fmla="*/ 8219440 h 8260080"/>
              <a:gd name="connsiteX97" fmla="*/ 853440 w 3505200"/>
              <a:gd name="connsiteY97" fmla="*/ 8209280 h 8260080"/>
              <a:gd name="connsiteX98" fmla="*/ 955040 w 3505200"/>
              <a:gd name="connsiteY98" fmla="*/ 8260080 h 8260080"/>
              <a:gd name="connsiteX99" fmla="*/ 965200 w 3505200"/>
              <a:gd name="connsiteY99" fmla="*/ 8107680 h 8260080"/>
              <a:gd name="connsiteX100" fmla="*/ 894080 w 3505200"/>
              <a:gd name="connsiteY100" fmla="*/ 8026400 h 8260080"/>
              <a:gd name="connsiteX101" fmla="*/ 1016000 w 3505200"/>
              <a:gd name="connsiteY101" fmla="*/ 7863840 h 8260080"/>
              <a:gd name="connsiteX102" fmla="*/ 1107440 w 3505200"/>
              <a:gd name="connsiteY102" fmla="*/ 7894320 h 8260080"/>
              <a:gd name="connsiteX103" fmla="*/ 1127760 w 3505200"/>
              <a:gd name="connsiteY103" fmla="*/ 7853680 h 8260080"/>
              <a:gd name="connsiteX104" fmla="*/ 1066800 w 3505200"/>
              <a:gd name="connsiteY104" fmla="*/ 7813040 h 8260080"/>
              <a:gd name="connsiteX105" fmla="*/ 1137920 w 3505200"/>
              <a:gd name="connsiteY105" fmla="*/ 7762240 h 8260080"/>
              <a:gd name="connsiteX106" fmla="*/ 1330960 w 3505200"/>
              <a:gd name="connsiteY106" fmla="*/ 7802880 h 8260080"/>
              <a:gd name="connsiteX107" fmla="*/ 1361440 w 3505200"/>
              <a:gd name="connsiteY107" fmla="*/ 7772400 h 8260080"/>
              <a:gd name="connsiteX108" fmla="*/ 1483360 w 3505200"/>
              <a:gd name="connsiteY108" fmla="*/ 7823200 h 8260080"/>
              <a:gd name="connsiteX109" fmla="*/ 1554480 w 3505200"/>
              <a:gd name="connsiteY109" fmla="*/ 7731760 h 8260080"/>
              <a:gd name="connsiteX110" fmla="*/ 1524000 w 3505200"/>
              <a:gd name="connsiteY110" fmla="*/ 7640320 h 8260080"/>
              <a:gd name="connsiteX111" fmla="*/ 1645920 w 3505200"/>
              <a:gd name="connsiteY111" fmla="*/ 7437120 h 8260080"/>
              <a:gd name="connsiteX112" fmla="*/ 1635760 w 3505200"/>
              <a:gd name="connsiteY112" fmla="*/ 7335520 h 8260080"/>
              <a:gd name="connsiteX113" fmla="*/ 1696720 w 3505200"/>
              <a:gd name="connsiteY113" fmla="*/ 7223760 h 8260080"/>
              <a:gd name="connsiteX114" fmla="*/ 1625600 w 3505200"/>
              <a:gd name="connsiteY114" fmla="*/ 7172960 h 8260080"/>
              <a:gd name="connsiteX115" fmla="*/ 1747520 w 3505200"/>
              <a:gd name="connsiteY115" fmla="*/ 6990080 h 8260080"/>
              <a:gd name="connsiteX116" fmla="*/ 1666240 w 3505200"/>
              <a:gd name="connsiteY116" fmla="*/ 6939280 h 8260080"/>
              <a:gd name="connsiteX117" fmla="*/ 1737360 w 3505200"/>
              <a:gd name="connsiteY117" fmla="*/ 6888480 h 8260080"/>
              <a:gd name="connsiteX118" fmla="*/ 1645920 w 3505200"/>
              <a:gd name="connsiteY118" fmla="*/ 6776720 h 8260080"/>
              <a:gd name="connsiteX119" fmla="*/ 1808480 w 3505200"/>
              <a:gd name="connsiteY119" fmla="*/ 6715760 h 8260080"/>
              <a:gd name="connsiteX120" fmla="*/ 1727200 w 3505200"/>
              <a:gd name="connsiteY120" fmla="*/ 6614160 h 8260080"/>
              <a:gd name="connsiteX121" fmla="*/ 1686560 w 3505200"/>
              <a:gd name="connsiteY121" fmla="*/ 6421120 h 8260080"/>
              <a:gd name="connsiteX122" fmla="*/ 1889760 w 3505200"/>
              <a:gd name="connsiteY122" fmla="*/ 6299200 h 8260080"/>
              <a:gd name="connsiteX123" fmla="*/ 1940560 w 3505200"/>
              <a:gd name="connsiteY123" fmla="*/ 6228080 h 8260080"/>
              <a:gd name="connsiteX124" fmla="*/ 2032000 w 3505200"/>
              <a:gd name="connsiteY124" fmla="*/ 6136640 h 8260080"/>
              <a:gd name="connsiteX125" fmla="*/ 2011680 w 3505200"/>
              <a:gd name="connsiteY125" fmla="*/ 6014720 h 8260080"/>
              <a:gd name="connsiteX126" fmla="*/ 2123440 w 3505200"/>
              <a:gd name="connsiteY126" fmla="*/ 6065520 h 8260080"/>
              <a:gd name="connsiteX127" fmla="*/ 2092960 w 3505200"/>
              <a:gd name="connsiteY127" fmla="*/ 6167120 h 8260080"/>
              <a:gd name="connsiteX128" fmla="*/ 2286000 w 3505200"/>
              <a:gd name="connsiteY128" fmla="*/ 5933440 h 8260080"/>
              <a:gd name="connsiteX129" fmla="*/ 2255520 w 3505200"/>
              <a:gd name="connsiteY129" fmla="*/ 5801360 h 8260080"/>
              <a:gd name="connsiteX130" fmla="*/ 2448560 w 3505200"/>
              <a:gd name="connsiteY130" fmla="*/ 5598160 h 8260080"/>
              <a:gd name="connsiteX131" fmla="*/ 2357120 w 3505200"/>
              <a:gd name="connsiteY131" fmla="*/ 5435600 h 8260080"/>
              <a:gd name="connsiteX132" fmla="*/ 2225040 w 3505200"/>
              <a:gd name="connsiteY132" fmla="*/ 5415280 h 8260080"/>
              <a:gd name="connsiteX133" fmla="*/ 2103120 w 3505200"/>
              <a:gd name="connsiteY133" fmla="*/ 5222240 h 8260080"/>
              <a:gd name="connsiteX134" fmla="*/ 2092960 w 3505200"/>
              <a:gd name="connsiteY134" fmla="*/ 5110480 h 8260080"/>
              <a:gd name="connsiteX135" fmla="*/ 2052320 w 3505200"/>
              <a:gd name="connsiteY135" fmla="*/ 5151120 h 8260080"/>
              <a:gd name="connsiteX136" fmla="*/ 2042160 w 3505200"/>
              <a:gd name="connsiteY136" fmla="*/ 5242560 h 8260080"/>
              <a:gd name="connsiteX137" fmla="*/ 1981200 w 3505200"/>
              <a:gd name="connsiteY137" fmla="*/ 5191760 h 8260080"/>
              <a:gd name="connsiteX138" fmla="*/ 2011680 w 3505200"/>
              <a:gd name="connsiteY138" fmla="*/ 5120640 h 8260080"/>
              <a:gd name="connsiteX139" fmla="*/ 1930400 w 3505200"/>
              <a:gd name="connsiteY139" fmla="*/ 5100320 h 8260080"/>
              <a:gd name="connsiteX140" fmla="*/ 1859280 w 3505200"/>
              <a:gd name="connsiteY140" fmla="*/ 4917440 h 8260080"/>
              <a:gd name="connsiteX141" fmla="*/ 1828800 w 3505200"/>
              <a:gd name="connsiteY141" fmla="*/ 4622800 h 8260080"/>
              <a:gd name="connsiteX142" fmla="*/ 1910080 w 3505200"/>
              <a:gd name="connsiteY142" fmla="*/ 4419600 h 8260080"/>
              <a:gd name="connsiteX143" fmla="*/ 1920240 w 3505200"/>
              <a:gd name="connsiteY143" fmla="*/ 4277360 h 8260080"/>
              <a:gd name="connsiteX144" fmla="*/ 1971040 w 3505200"/>
              <a:gd name="connsiteY144" fmla="*/ 4124960 h 8260080"/>
              <a:gd name="connsiteX145" fmla="*/ 1879600 w 3505200"/>
              <a:gd name="connsiteY145" fmla="*/ 4023360 h 8260080"/>
              <a:gd name="connsiteX146" fmla="*/ 2072640 w 3505200"/>
              <a:gd name="connsiteY146" fmla="*/ 4003040 h 8260080"/>
              <a:gd name="connsiteX147" fmla="*/ 2092960 w 3505200"/>
              <a:gd name="connsiteY147" fmla="*/ 3850640 h 8260080"/>
              <a:gd name="connsiteX148" fmla="*/ 2001520 w 3505200"/>
              <a:gd name="connsiteY148" fmla="*/ 3728720 h 8260080"/>
              <a:gd name="connsiteX149" fmla="*/ 2164080 w 3505200"/>
              <a:gd name="connsiteY149" fmla="*/ 3769360 h 8260080"/>
              <a:gd name="connsiteX150" fmla="*/ 2265680 w 3505200"/>
              <a:gd name="connsiteY150" fmla="*/ 3566160 h 8260080"/>
              <a:gd name="connsiteX151" fmla="*/ 2336800 w 3505200"/>
              <a:gd name="connsiteY151" fmla="*/ 3515360 h 8260080"/>
              <a:gd name="connsiteX152" fmla="*/ 2367280 w 3505200"/>
              <a:gd name="connsiteY152" fmla="*/ 3362960 h 8260080"/>
              <a:gd name="connsiteX153" fmla="*/ 2489200 w 3505200"/>
              <a:gd name="connsiteY153" fmla="*/ 3423920 h 8260080"/>
              <a:gd name="connsiteX154" fmla="*/ 2560320 w 3505200"/>
              <a:gd name="connsiteY154" fmla="*/ 3302000 h 8260080"/>
              <a:gd name="connsiteX155" fmla="*/ 2743200 w 3505200"/>
              <a:gd name="connsiteY155" fmla="*/ 3149600 h 8260080"/>
              <a:gd name="connsiteX156" fmla="*/ 2844800 w 3505200"/>
              <a:gd name="connsiteY156" fmla="*/ 3088640 h 8260080"/>
              <a:gd name="connsiteX157" fmla="*/ 2804160 w 3505200"/>
              <a:gd name="connsiteY157" fmla="*/ 2966720 h 8260080"/>
              <a:gd name="connsiteX158" fmla="*/ 2976880 w 3505200"/>
              <a:gd name="connsiteY158" fmla="*/ 2763520 h 8260080"/>
              <a:gd name="connsiteX159" fmla="*/ 2794000 w 3505200"/>
              <a:gd name="connsiteY159" fmla="*/ 2621280 h 8260080"/>
              <a:gd name="connsiteX160" fmla="*/ 2946400 w 3505200"/>
              <a:gd name="connsiteY160" fmla="*/ 2377440 h 8260080"/>
              <a:gd name="connsiteX161" fmla="*/ 2854960 w 3505200"/>
              <a:gd name="connsiteY161" fmla="*/ 2255520 h 8260080"/>
              <a:gd name="connsiteX162" fmla="*/ 3027680 w 3505200"/>
              <a:gd name="connsiteY162" fmla="*/ 2113280 h 8260080"/>
              <a:gd name="connsiteX163" fmla="*/ 3119120 w 3505200"/>
              <a:gd name="connsiteY163" fmla="*/ 2021840 h 8260080"/>
              <a:gd name="connsiteX164" fmla="*/ 3027680 w 3505200"/>
              <a:gd name="connsiteY164" fmla="*/ 1960880 h 8260080"/>
              <a:gd name="connsiteX165" fmla="*/ 3139440 w 3505200"/>
              <a:gd name="connsiteY165" fmla="*/ 1869440 h 8260080"/>
              <a:gd name="connsiteX166" fmla="*/ 3281680 w 3505200"/>
              <a:gd name="connsiteY166" fmla="*/ 1950720 h 8260080"/>
              <a:gd name="connsiteX167" fmla="*/ 3403600 w 3505200"/>
              <a:gd name="connsiteY167" fmla="*/ 1889760 h 8260080"/>
              <a:gd name="connsiteX168" fmla="*/ 3505200 w 3505200"/>
              <a:gd name="connsiteY168" fmla="*/ 1910080 h 8260080"/>
              <a:gd name="connsiteX169" fmla="*/ 3444240 w 3505200"/>
              <a:gd name="connsiteY169" fmla="*/ 1656080 h 8260080"/>
              <a:gd name="connsiteX170" fmla="*/ 3373120 w 3505200"/>
              <a:gd name="connsiteY170" fmla="*/ 1635760 h 8260080"/>
              <a:gd name="connsiteX171" fmla="*/ 3352800 w 3505200"/>
              <a:gd name="connsiteY171" fmla="*/ 1503680 h 8260080"/>
              <a:gd name="connsiteX172" fmla="*/ 3444240 w 3505200"/>
              <a:gd name="connsiteY172" fmla="*/ 1412240 h 8260080"/>
              <a:gd name="connsiteX173" fmla="*/ 3393440 w 3505200"/>
              <a:gd name="connsiteY173" fmla="*/ 1280160 h 8260080"/>
              <a:gd name="connsiteX174" fmla="*/ 3434080 w 3505200"/>
              <a:gd name="connsiteY174" fmla="*/ 1249680 h 8260080"/>
              <a:gd name="connsiteX175" fmla="*/ 3281680 w 3505200"/>
              <a:gd name="connsiteY175" fmla="*/ 1066800 h 8260080"/>
              <a:gd name="connsiteX176" fmla="*/ 3383280 w 3505200"/>
              <a:gd name="connsiteY176" fmla="*/ 975360 h 8260080"/>
              <a:gd name="connsiteX177" fmla="*/ 3302000 w 3505200"/>
              <a:gd name="connsiteY177" fmla="*/ 924560 h 8260080"/>
              <a:gd name="connsiteX178" fmla="*/ 3190240 w 3505200"/>
              <a:gd name="connsiteY178" fmla="*/ 944880 h 8260080"/>
              <a:gd name="connsiteX179" fmla="*/ 3281680 w 3505200"/>
              <a:gd name="connsiteY179" fmla="*/ 792480 h 8260080"/>
              <a:gd name="connsiteX180" fmla="*/ 3210560 w 3505200"/>
              <a:gd name="connsiteY180" fmla="*/ 650240 h 8260080"/>
              <a:gd name="connsiteX181" fmla="*/ 3302000 w 3505200"/>
              <a:gd name="connsiteY181" fmla="*/ 568960 h 8260080"/>
              <a:gd name="connsiteX182" fmla="*/ 3190240 w 3505200"/>
              <a:gd name="connsiteY182" fmla="*/ 487680 h 8260080"/>
              <a:gd name="connsiteX183" fmla="*/ 3108960 w 3505200"/>
              <a:gd name="connsiteY183" fmla="*/ 528320 h 8260080"/>
              <a:gd name="connsiteX184" fmla="*/ 3108960 w 3505200"/>
              <a:gd name="connsiteY184" fmla="*/ 406400 h 8260080"/>
              <a:gd name="connsiteX185" fmla="*/ 2926080 w 3505200"/>
              <a:gd name="connsiteY185" fmla="*/ 314960 h 8260080"/>
              <a:gd name="connsiteX186" fmla="*/ 2834640 w 3505200"/>
              <a:gd name="connsiteY186" fmla="*/ 355600 h 8260080"/>
              <a:gd name="connsiteX187" fmla="*/ 2682240 w 3505200"/>
              <a:gd name="connsiteY187" fmla="*/ 111760 h 8260080"/>
              <a:gd name="connsiteX188" fmla="*/ 2590800 w 3505200"/>
              <a:gd name="connsiteY188" fmla="*/ 121920 h 8260080"/>
              <a:gd name="connsiteX189" fmla="*/ 2611120 w 3505200"/>
              <a:gd name="connsiteY189" fmla="*/ 0 h 8260080"/>
              <a:gd name="connsiteX190" fmla="*/ 2438400 w 3505200"/>
              <a:gd name="connsiteY19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152400 w 3505200"/>
              <a:gd name="connsiteY70" fmla="*/ 6776720 h 8260080"/>
              <a:gd name="connsiteX71" fmla="*/ 233680 w 3505200"/>
              <a:gd name="connsiteY71" fmla="*/ 6959600 h 8260080"/>
              <a:gd name="connsiteX72" fmla="*/ 304800 w 3505200"/>
              <a:gd name="connsiteY72" fmla="*/ 7020560 h 8260080"/>
              <a:gd name="connsiteX73" fmla="*/ 264160 w 3505200"/>
              <a:gd name="connsiteY73" fmla="*/ 7122160 h 8260080"/>
              <a:gd name="connsiteX74" fmla="*/ 335280 w 3505200"/>
              <a:gd name="connsiteY74" fmla="*/ 7193280 h 8260080"/>
              <a:gd name="connsiteX75" fmla="*/ 325120 w 3505200"/>
              <a:gd name="connsiteY75" fmla="*/ 7254240 h 8260080"/>
              <a:gd name="connsiteX76" fmla="*/ 325120 w 3505200"/>
              <a:gd name="connsiteY76" fmla="*/ 7254240 h 8260080"/>
              <a:gd name="connsiteX77" fmla="*/ 325120 w 3505200"/>
              <a:gd name="connsiteY77" fmla="*/ 7355840 h 8260080"/>
              <a:gd name="connsiteX78" fmla="*/ 447040 w 3505200"/>
              <a:gd name="connsiteY78" fmla="*/ 7366000 h 8260080"/>
              <a:gd name="connsiteX79" fmla="*/ 447040 w 3505200"/>
              <a:gd name="connsiteY79" fmla="*/ 7477760 h 8260080"/>
              <a:gd name="connsiteX80" fmla="*/ 558800 w 3505200"/>
              <a:gd name="connsiteY80" fmla="*/ 7528560 h 8260080"/>
              <a:gd name="connsiteX81" fmla="*/ 508000 w 3505200"/>
              <a:gd name="connsiteY81" fmla="*/ 7630160 h 8260080"/>
              <a:gd name="connsiteX82" fmla="*/ 436880 w 3505200"/>
              <a:gd name="connsiteY82" fmla="*/ 7609840 h 8260080"/>
              <a:gd name="connsiteX83" fmla="*/ 447040 w 3505200"/>
              <a:gd name="connsiteY83" fmla="*/ 7691120 h 8260080"/>
              <a:gd name="connsiteX84" fmla="*/ 518160 w 3505200"/>
              <a:gd name="connsiteY84" fmla="*/ 7741920 h 8260080"/>
              <a:gd name="connsiteX85" fmla="*/ 457200 w 3505200"/>
              <a:gd name="connsiteY85" fmla="*/ 7792720 h 8260080"/>
              <a:gd name="connsiteX86" fmla="*/ 396240 w 3505200"/>
              <a:gd name="connsiteY86" fmla="*/ 7701280 h 8260080"/>
              <a:gd name="connsiteX87" fmla="*/ 396240 w 3505200"/>
              <a:gd name="connsiteY87" fmla="*/ 7701280 h 8260080"/>
              <a:gd name="connsiteX88" fmla="*/ 436880 w 3505200"/>
              <a:gd name="connsiteY88" fmla="*/ 7874000 h 8260080"/>
              <a:gd name="connsiteX89" fmla="*/ 436880 w 3505200"/>
              <a:gd name="connsiteY89" fmla="*/ 7924800 h 8260080"/>
              <a:gd name="connsiteX90" fmla="*/ 548640 w 3505200"/>
              <a:gd name="connsiteY90" fmla="*/ 7965440 h 8260080"/>
              <a:gd name="connsiteX91" fmla="*/ 508000 w 3505200"/>
              <a:gd name="connsiteY91" fmla="*/ 8016240 h 8260080"/>
              <a:gd name="connsiteX92" fmla="*/ 589280 w 3505200"/>
              <a:gd name="connsiteY92" fmla="*/ 8056880 h 8260080"/>
              <a:gd name="connsiteX93" fmla="*/ 497840 w 3505200"/>
              <a:gd name="connsiteY93" fmla="*/ 8117840 h 8260080"/>
              <a:gd name="connsiteX94" fmla="*/ 518160 w 3505200"/>
              <a:gd name="connsiteY94" fmla="*/ 8209280 h 8260080"/>
              <a:gd name="connsiteX95" fmla="*/ 640080 w 3505200"/>
              <a:gd name="connsiteY95" fmla="*/ 8260080 h 8260080"/>
              <a:gd name="connsiteX96" fmla="*/ 731520 w 3505200"/>
              <a:gd name="connsiteY96" fmla="*/ 8219440 h 8260080"/>
              <a:gd name="connsiteX97" fmla="*/ 853440 w 3505200"/>
              <a:gd name="connsiteY97" fmla="*/ 8209280 h 8260080"/>
              <a:gd name="connsiteX98" fmla="*/ 955040 w 3505200"/>
              <a:gd name="connsiteY98" fmla="*/ 8260080 h 8260080"/>
              <a:gd name="connsiteX99" fmla="*/ 965200 w 3505200"/>
              <a:gd name="connsiteY99" fmla="*/ 8107680 h 8260080"/>
              <a:gd name="connsiteX100" fmla="*/ 894080 w 3505200"/>
              <a:gd name="connsiteY100" fmla="*/ 8026400 h 8260080"/>
              <a:gd name="connsiteX101" fmla="*/ 1016000 w 3505200"/>
              <a:gd name="connsiteY101" fmla="*/ 7863840 h 8260080"/>
              <a:gd name="connsiteX102" fmla="*/ 1107440 w 3505200"/>
              <a:gd name="connsiteY102" fmla="*/ 7894320 h 8260080"/>
              <a:gd name="connsiteX103" fmla="*/ 1127760 w 3505200"/>
              <a:gd name="connsiteY103" fmla="*/ 7853680 h 8260080"/>
              <a:gd name="connsiteX104" fmla="*/ 1066800 w 3505200"/>
              <a:gd name="connsiteY104" fmla="*/ 7813040 h 8260080"/>
              <a:gd name="connsiteX105" fmla="*/ 1137920 w 3505200"/>
              <a:gd name="connsiteY105" fmla="*/ 7762240 h 8260080"/>
              <a:gd name="connsiteX106" fmla="*/ 1330960 w 3505200"/>
              <a:gd name="connsiteY106" fmla="*/ 7802880 h 8260080"/>
              <a:gd name="connsiteX107" fmla="*/ 1361440 w 3505200"/>
              <a:gd name="connsiteY107" fmla="*/ 7772400 h 8260080"/>
              <a:gd name="connsiteX108" fmla="*/ 1483360 w 3505200"/>
              <a:gd name="connsiteY108" fmla="*/ 7823200 h 8260080"/>
              <a:gd name="connsiteX109" fmla="*/ 1554480 w 3505200"/>
              <a:gd name="connsiteY109" fmla="*/ 7731760 h 8260080"/>
              <a:gd name="connsiteX110" fmla="*/ 1524000 w 3505200"/>
              <a:gd name="connsiteY110" fmla="*/ 7640320 h 8260080"/>
              <a:gd name="connsiteX111" fmla="*/ 1645920 w 3505200"/>
              <a:gd name="connsiteY111" fmla="*/ 7437120 h 8260080"/>
              <a:gd name="connsiteX112" fmla="*/ 1635760 w 3505200"/>
              <a:gd name="connsiteY112" fmla="*/ 7335520 h 8260080"/>
              <a:gd name="connsiteX113" fmla="*/ 1696720 w 3505200"/>
              <a:gd name="connsiteY113" fmla="*/ 7223760 h 8260080"/>
              <a:gd name="connsiteX114" fmla="*/ 1625600 w 3505200"/>
              <a:gd name="connsiteY114" fmla="*/ 7172960 h 8260080"/>
              <a:gd name="connsiteX115" fmla="*/ 1747520 w 3505200"/>
              <a:gd name="connsiteY115" fmla="*/ 6990080 h 8260080"/>
              <a:gd name="connsiteX116" fmla="*/ 1666240 w 3505200"/>
              <a:gd name="connsiteY116" fmla="*/ 6939280 h 8260080"/>
              <a:gd name="connsiteX117" fmla="*/ 1737360 w 3505200"/>
              <a:gd name="connsiteY117" fmla="*/ 6888480 h 8260080"/>
              <a:gd name="connsiteX118" fmla="*/ 1645920 w 3505200"/>
              <a:gd name="connsiteY118" fmla="*/ 6776720 h 8260080"/>
              <a:gd name="connsiteX119" fmla="*/ 1808480 w 3505200"/>
              <a:gd name="connsiteY119" fmla="*/ 6715760 h 8260080"/>
              <a:gd name="connsiteX120" fmla="*/ 1727200 w 3505200"/>
              <a:gd name="connsiteY120" fmla="*/ 6614160 h 8260080"/>
              <a:gd name="connsiteX121" fmla="*/ 1686560 w 3505200"/>
              <a:gd name="connsiteY121" fmla="*/ 6421120 h 8260080"/>
              <a:gd name="connsiteX122" fmla="*/ 1889760 w 3505200"/>
              <a:gd name="connsiteY122" fmla="*/ 6299200 h 8260080"/>
              <a:gd name="connsiteX123" fmla="*/ 1940560 w 3505200"/>
              <a:gd name="connsiteY123" fmla="*/ 6228080 h 8260080"/>
              <a:gd name="connsiteX124" fmla="*/ 2032000 w 3505200"/>
              <a:gd name="connsiteY124" fmla="*/ 6136640 h 8260080"/>
              <a:gd name="connsiteX125" fmla="*/ 2011680 w 3505200"/>
              <a:gd name="connsiteY125" fmla="*/ 6014720 h 8260080"/>
              <a:gd name="connsiteX126" fmla="*/ 2123440 w 3505200"/>
              <a:gd name="connsiteY126" fmla="*/ 6065520 h 8260080"/>
              <a:gd name="connsiteX127" fmla="*/ 2092960 w 3505200"/>
              <a:gd name="connsiteY127" fmla="*/ 6167120 h 8260080"/>
              <a:gd name="connsiteX128" fmla="*/ 2286000 w 3505200"/>
              <a:gd name="connsiteY128" fmla="*/ 5933440 h 8260080"/>
              <a:gd name="connsiteX129" fmla="*/ 2255520 w 3505200"/>
              <a:gd name="connsiteY129" fmla="*/ 5801360 h 8260080"/>
              <a:gd name="connsiteX130" fmla="*/ 2448560 w 3505200"/>
              <a:gd name="connsiteY130" fmla="*/ 5598160 h 8260080"/>
              <a:gd name="connsiteX131" fmla="*/ 2357120 w 3505200"/>
              <a:gd name="connsiteY131" fmla="*/ 5435600 h 8260080"/>
              <a:gd name="connsiteX132" fmla="*/ 2225040 w 3505200"/>
              <a:gd name="connsiteY132" fmla="*/ 5415280 h 8260080"/>
              <a:gd name="connsiteX133" fmla="*/ 2103120 w 3505200"/>
              <a:gd name="connsiteY133" fmla="*/ 5222240 h 8260080"/>
              <a:gd name="connsiteX134" fmla="*/ 2092960 w 3505200"/>
              <a:gd name="connsiteY134" fmla="*/ 5110480 h 8260080"/>
              <a:gd name="connsiteX135" fmla="*/ 2052320 w 3505200"/>
              <a:gd name="connsiteY135" fmla="*/ 5151120 h 8260080"/>
              <a:gd name="connsiteX136" fmla="*/ 2042160 w 3505200"/>
              <a:gd name="connsiteY136" fmla="*/ 5242560 h 8260080"/>
              <a:gd name="connsiteX137" fmla="*/ 1981200 w 3505200"/>
              <a:gd name="connsiteY137" fmla="*/ 5191760 h 8260080"/>
              <a:gd name="connsiteX138" fmla="*/ 2011680 w 3505200"/>
              <a:gd name="connsiteY138" fmla="*/ 5120640 h 8260080"/>
              <a:gd name="connsiteX139" fmla="*/ 1930400 w 3505200"/>
              <a:gd name="connsiteY139" fmla="*/ 5100320 h 8260080"/>
              <a:gd name="connsiteX140" fmla="*/ 1859280 w 3505200"/>
              <a:gd name="connsiteY140" fmla="*/ 4917440 h 8260080"/>
              <a:gd name="connsiteX141" fmla="*/ 1828800 w 3505200"/>
              <a:gd name="connsiteY141" fmla="*/ 4622800 h 8260080"/>
              <a:gd name="connsiteX142" fmla="*/ 1910080 w 3505200"/>
              <a:gd name="connsiteY142" fmla="*/ 4419600 h 8260080"/>
              <a:gd name="connsiteX143" fmla="*/ 1920240 w 3505200"/>
              <a:gd name="connsiteY143" fmla="*/ 4277360 h 8260080"/>
              <a:gd name="connsiteX144" fmla="*/ 1971040 w 3505200"/>
              <a:gd name="connsiteY144" fmla="*/ 4124960 h 8260080"/>
              <a:gd name="connsiteX145" fmla="*/ 1879600 w 3505200"/>
              <a:gd name="connsiteY145" fmla="*/ 4023360 h 8260080"/>
              <a:gd name="connsiteX146" fmla="*/ 2072640 w 3505200"/>
              <a:gd name="connsiteY146" fmla="*/ 4003040 h 8260080"/>
              <a:gd name="connsiteX147" fmla="*/ 2092960 w 3505200"/>
              <a:gd name="connsiteY147" fmla="*/ 3850640 h 8260080"/>
              <a:gd name="connsiteX148" fmla="*/ 2001520 w 3505200"/>
              <a:gd name="connsiteY148" fmla="*/ 3728720 h 8260080"/>
              <a:gd name="connsiteX149" fmla="*/ 2164080 w 3505200"/>
              <a:gd name="connsiteY149" fmla="*/ 3769360 h 8260080"/>
              <a:gd name="connsiteX150" fmla="*/ 2265680 w 3505200"/>
              <a:gd name="connsiteY150" fmla="*/ 3566160 h 8260080"/>
              <a:gd name="connsiteX151" fmla="*/ 2336800 w 3505200"/>
              <a:gd name="connsiteY151" fmla="*/ 3515360 h 8260080"/>
              <a:gd name="connsiteX152" fmla="*/ 2367280 w 3505200"/>
              <a:gd name="connsiteY152" fmla="*/ 3362960 h 8260080"/>
              <a:gd name="connsiteX153" fmla="*/ 2489200 w 3505200"/>
              <a:gd name="connsiteY153" fmla="*/ 3423920 h 8260080"/>
              <a:gd name="connsiteX154" fmla="*/ 2560320 w 3505200"/>
              <a:gd name="connsiteY154" fmla="*/ 3302000 h 8260080"/>
              <a:gd name="connsiteX155" fmla="*/ 2743200 w 3505200"/>
              <a:gd name="connsiteY155" fmla="*/ 3149600 h 8260080"/>
              <a:gd name="connsiteX156" fmla="*/ 2844800 w 3505200"/>
              <a:gd name="connsiteY156" fmla="*/ 3088640 h 8260080"/>
              <a:gd name="connsiteX157" fmla="*/ 2804160 w 3505200"/>
              <a:gd name="connsiteY157" fmla="*/ 2966720 h 8260080"/>
              <a:gd name="connsiteX158" fmla="*/ 2976880 w 3505200"/>
              <a:gd name="connsiteY158" fmla="*/ 2763520 h 8260080"/>
              <a:gd name="connsiteX159" fmla="*/ 2794000 w 3505200"/>
              <a:gd name="connsiteY159" fmla="*/ 2621280 h 8260080"/>
              <a:gd name="connsiteX160" fmla="*/ 2946400 w 3505200"/>
              <a:gd name="connsiteY160" fmla="*/ 2377440 h 8260080"/>
              <a:gd name="connsiteX161" fmla="*/ 2854960 w 3505200"/>
              <a:gd name="connsiteY161" fmla="*/ 2255520 h 8260080"/>
              <a:gd name="connsiteX162" fmla="*/ 3027680 w 3505200"/>
              <a:gd name="connsiteY162" fmla="*/ 2113280 h 8260080"/>
              <a:gd name="connsiteX163" fmla="*/ 3119120 w 3505200"/>
              <a:gd name="connsiteY163" fmla="*/ 2021840 h 8260080"/>
              <a:gd name="connsiteX164" fmla="*/ 3027680 w 3505200"/>
              <a:gd name="connsiteY164" fmla="*/ 1960880 h 8260080"/>
              <a:gd name="connsiteX165" fmla="*/ 3139440 w 3505200"/>
              <a:gd name="connsiteY165" fmla="*/ 1869440 h 8260080"/>
              <a:gd name="connsiteX166" fmla="*/ 3281680 w 3505200"/>
              <a:gd name="connsiteY166" fmla="*/ 1950720 h 8260080"/>
              <a:gd name="connsiteX167" fmla="*/ 3403600 w 3505200"/>
              <a:gd name="connsiteY167" fmla="*/ 1889760 h 8260080"/>
              <a:gd name="connsiteX168" fmla="*/ 3505200 w 3505200"/>
              <a:gd name="connsiteY168" fmla="*/ 1910080 h 8260080"/>
              <a:gd name="connsiteX169" fmla="*/ 3444240 w 3505200"/>
              <a:gd name="connsiteY169" fmla="*/ 1656080 h 8260080"/>
              <a:gd name="connsiteX170" fmla="*/ 3373120 w 3505200"/>
              <a:gd name="connsiteY170" fmla="*/ 1635760 h 8260080"/>
              <a:gd name="connsiteX171" fmla="*/ 3352800 w 3505200"/>
              <a:gd name="connsiteY171" fmla="*/ 1503680 h 8260080"/>
              <a:gd name="connsiteX172" fmla="*/ 3444240 w 3505200"/>
              <a:gd name="connsiteY172" fmla="*/ 1412240 h 8260080"/>
              <a:gd name="connsiteX173" fmla="*/ 3393440 w 3505200"/>
              <a:gd name="connsiteY173" fmla="*/ 1280160 h 8260080"/>
              <a:gd name="connsiteX174" fmla="*/ 3434080 w 3505200"/>
              <a:gd name="connsiteY174" fmla="*/ 1249680 h 8260080"/>
              <a:gd name="connsiteX175" fmla="*/ 3281680 w 3505200"/>
              <a:gd name="connsiteY175" fmla="*/ 1066800 h 8260080"/>
              <a:gd name="connsiteX176" fmla="*/ 3383280 w 3505200"/>
              <a:gd name="connsiteY176" fmla="*/ 975360 h 8260080"/>
              <a:gd name="connsiteX177" fmla="*/ 3302000 w 3505200"/>
              <a:gd name="connsiteY177" fmla="*/ 924560 h 8260080"/>
              <a:gd name="connsiteX178" fmla="*/ 3190240 w 3505200"/>
              <a:gd name="connsiteY178" fmla="*/ 944880 h 8260080"/>
              <a:gd name="connsiteX179" fmla="*/ 3281680 w 3505200"/>
              <a:gd name="connsiteY179" fmla="*/ 792480 h 8260080"/>
              <a:gd name="connsiteX180" fmla="*/ 3210560 w 3505200"/>
              <a:gd name="connsiteY180" fmla="*/ 650240 h 8260080"/>
              <a:gd name="connsiteX181" fmla="*/ 3302000 w 3505200"/>
              <a:gd name="connsiteY181" fmla="*/ 568960 h 8260080"/>
              <a:gd name="connsiteX182" fmla="*/ 3190240 w 3505200"/>
              <a:gd name="connsiteY182" fmla="*/ 487680 h 8260080"/>
              <a:gd name="connsiteX183" fmla="*/ 3108960 w 3505200"/>
              <a:gd name="connsiteY183" fmla="*/ 528320 h 8260080"/>
              <a:gd name="connsiteX184" fmla="*/ 3108960 w 3505200"/>
              <a:gd name="connsiteY184" fmla="*/ 406400 h 8260080"/>
              <a:gd name="connsiteX185" fmla="*/ 2926080 w 3505200"/>
              <a:gd name="connsiteY185" fmla="*/ 314960 h 8260080"/>
              <a:gd name="connsiteX186" fmla="*/ 2834640 w 3505200"/>
              <a:gd name="connsiteY186" fmla="*/ 355600 h 8260080"/>
              <a:gd name="connsiteX187" fmla="*/ 2682240 w 3505200"/>
              <a:gd name="connsiteY187" fmla="*/ 111760 h 8260080"/>
              <a:gd name="connsiteX188" fmla="*/ 2590800 w 3505200"/>
              <a:gd name="connsiteY188" fmla="*/ 121920 h 8260080"/>
              <a:gd name="connsiteX189" fmla="*/ 2611120 w 3505200"/>
              <a:gd name="connsiteY189" fmla="*/ 0 h 8260080"/>
              <a:gd name="connsiteX190" fmla="*/ 2438400 w 3505200"/>
              <a:gd name="connsiteY19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152400 w 3505200"/>
              <a:gd name="connsiteY70" fmla="*/ 6776720 h 8260080"/>
              <a:gd name="connsiteX71" fmla="*/ 233680 w 3505200"/>
              <a:gd name="connsiteY71" fmla="*/ 6959600 h 8260080"/>
              <a:gd name="connsiteX72" fmla="*/ 304800 w 3505200"/>
              <a:gd name="connsiteY72" fmla="*/ 7020560 h 8260080"/>
              <a:gd name="connsiteX73" fmla="*/ 264160 w 3505200"/>
              <a:gd name="connsiteY73" fmla="*/ 7122160 h 8260080"/>
              <a:gd name="connsiteX74" fmla="*/ 335280 w 3505200"/>
              <a:gd name="connsiteY74" fmla="*/ 7193280 h 8260080"/>
              <a:gd name="connsiteX75" fmla="*/ 325120 w 3505200"/>
              <a:gd name="connsiteY75" fmla="*/ 7254240 h 8260080"/>
              <a:gd name="connsiteX76" fmla="*/ 325120 w 3505200"/>
              <a:gd name="connsiteY76" fmla="*/ 7254240 h 8260080"/>
              <a:gd name="connsiteX77" fmla="*/ 325120 w 3505200"/>
              <a:gd name="connsiteY77" fmla="*/ 7355840 h 8260080"/>
              <a:gd name="connsiteX78" fmla="*/ 447040 w 3505200"/>
              <a:gd name="connsiteY78" fmla="*/ 7366000 h 8260080"/>
              <a:gd name="connsiteX79" fmla="*/ 447040 w 3505200"/>
              <a:gd name="connsiteY79" fmla="*/ 7477760 h 8260080"/>
              <a:gd name="connsiteX80" fmla="*/ 558800 w 3505200"/>
              <a:gd name="connsiteY80" fmla="*/ 7528560 h 8260080"/>
              <a:gd name="connsiteX81" fmla="*/ 508000 w 3505200"/>
              <a:gd name="connsiteY81" fmla="*/ 7630160 h 8260080"/>
              <a:gd name="connsiteX82" fmla="*/ 436880 w 3505200"/>
              <a:gd name="connsiteY82" fmla="*/ 7609840 h 8260080"/>
              <a:gd name="connsiteX83" fmla="*/ 447040 w 3505200"/>
              <a:gd name="connsiteY83" fmla="*/ 7691120 h 8260080"/>
              <a:gd name="connsiteX84" fmla="*/ 518160 w 3505200"/>
              <a:gd name="connsiteY84" fmla="*/ 7741920 h 8260080"/>
              <a:gd name="connsiteX85" fmla="*/ 457200 w 3505200"/>
              <a:gd name="connsiteY85" fmla="*/ 7792720 h 8260080"/>
              <a:gd name="connsiteX86" fmla="*/ 396240 w 3505200"/>
              <a:gd name="connsiteY86" fmla="*/ 7701280 h 8260080"/>
              <a:gd name="connsiteX87" fmla="*/ 396240 w 3505200"/>
              <a:gd name="connsiteY87" fmla="*/ 7701280 h 8260080"/>
              <a:gd name="connsiteX88" fmla="*/ 436880 w 3505200"/>
              <a:gd name="connsiteY88" fmla="*/ 7874000 h 8260080"/>
              <a:gd name="connsiteX89" fmla="*/ 436880 w 3505200"/>
              <a:gd name="connsiteY89" fmla="*/ 7924800 h 8260080"/>
              <a:gd name="connsiteX90" fmla="*/ 548640 w 3505200"/>
              <a:gd name="connsiteY90" fmla="*/ 7965440 h 8260080"/>
              <a:gd name="connsiteX91" fmla="*/ 508000 w 3505200"/>
              <a:gd name="connsiteY91" fmla="*/ 8016240 h 8260080"/>
              <a:gd name="connsiteX92" fmla="*/ 589280 w 3505200"/>
              <a:gd name="connsiteY92" fmla="*/ 8056880 h 8260080"/>
              <a:gd name="connsiteX93" fmla="*/ 497840 w 3505200"/>
              <a:gd name="connsiteY93" fmla="*/ 8117840 h 8260080"/>
              <a:gd name="connsiteX94" fmla="*/ 518160 w 3505200"/>
              <a:gd name="connsiteY94" fmla="*/ 8209280 h 8260080"/>
              <a:gd name="connsiteX95" fmla="*/ 640080 w 3505200"/>
              <a:gd name="connsiteY95" fmla="*/ 8260080 h 8260080"/>
              <a:gd name="connsiteX96" fmla="*/ 731520 w 3505200"/>
              <a:gd name="connsiteY96" fmla="*/ 8219440 h 8260080"/>
              <a:gd name="connsiteX97" fmla="*/ 853440 w 3505200"/>
              <a:gd name="connsiteY97" fmla="*/ 8209280 h 8260080"/>
              <a:gd name="connsiteX98" fmla="*/ 955040 w 3505200"/>
              <a:gd name="connsiteY98" fmla="*/ 8260080 h 8260080"/>
              <a:gd name="connsiteX99" fmla="*/ 965200 w 3505200"/>
              <a:gd name="connsiteY99" fmla="*/ 8107680 h 8260080"/>
              <a:gd name="connsiteX100" fmla="*/ 894080 w 3505200"/>
              <a:gd name="connsiteY100" fmla="*/ 8026400 h 8260080"/>
              <a:gd name="connsiteX101" fmla="*/ 1016000 w 3505200"/>
              <a:gd name="connsiteY101" fmla="*/ 7863840 h 8260080"/>
              <a:gd name="connsiteX102" fmla="*/ 1107440 w 3505200"/>
              <a:gd name="connsiteY102" fmla="*/ 7894320 h 8260080"/>
              <a:gd name="connsiteX103" fmla="*/ 1127760 w 3505200"/>
              <a:gd name="connsiteY103" fmla="*/ 7853680 h 8260080"/>
              <a:gd name="connsiteX104" fmla="*/ 1066800 w 3505200"/>
              <a:gd name="connsiteY104" fmla="*/ 7813040 h 8260080"/>
              <a:gd name="connsiteX105" fmla="*/ 1137920 w 3505200"/>
              <a:gd name="connsiteY105" fmla="*/ 7762240 h 8260080"/>
              <a:gd name="connsiteX106" fmla="*/ 1330960 w 3505200"/>
              <a:gd name="connsiteY106" fmla="*/ 7802880 h 8260080"/>
              <a:gd name="connsiteX107" fmla="*/ 1361440 w 3505200"/>
              <a:gd name="connsiteY107" fmla="*/ 7772400 h 8260080"/>
              <a:gd name="connsiteX108" fmla="*/ 1483360 w 3505200"/>
              <a:gd name="connsiteY108" fmla="*/ 7823200 h 8260080"/>
              <a:gd name="connsiteX109" fmla="*/ 1554480 w 3505200"/>
              <a:gd name="connsiteY109" fmla="*/ 7731760 h 8260080"/>
              <a:gd name="connsiteX110" fmla="*/ 1524000 w 3505200"/>
              <a:gd name="connsiteY110" fmla="*/ 7640320 h 8260080"/>
              <a:gd name="connsiteX111" fmla="*/ 1645920 w 3505200"/>
              <a:gd name="connsiteY111" fmla="*/ 7437120 h 8260080"/>
              <a:gd name="connsiteX112" fmla="*/ 1635760 w 3505200"/>
              <a:gd name="connsiteY112" fmla="*/ 7335520 h 8260080"/>
              <a:gd name="connsiteX113" fmla="*/ 1696720 w 3505200"/>
              <a:gd name="connsiteY113" fmla="*/ 7223760 h 8260080"/>
              <a:gd name="connsiteX114" fmla="*/ 1625600 w 3505200"/>
              <a:gd name="connsiteY114" fmla="*/ 7172960 h 8260080"/>
              <a:gd name="connsiteX115" fmla="*/ 1747520 w 3505200"/>
              <a:gd name="connsiteY115" fmla="*/ 6990080 h 8260080"/>
              <a:gd name="connsiteX116" fmla="*/ 1666240 w 3505200"/>
              <a:gd name="connsiteY116" fmla="*/ 6939280 h 8260080"/>
              <a:gd name="connsiteX117" fmla="*/ 1737360 w 3505200"/>
              <a:gd name="connsiteY117" fmla="*/ 6888480 h 8260080"/>
              <a:gd name="connsiteX118" fmla="*/ 1645920 w 3505200"/>
              <a:gd name="connsiteY118" fmla="*/ 6776720 h 8260080"/>
              <a:gd name="connsiteX119" fmla="*/ 1808480 w 3505200"/>
              <a:gd name="connsiteY119" fmla="*/ 6715760 h 8260080"/>
              <a:gd name="connsiteX120" fmla="*/ 1727200 w 3505200"/>
              <a:gd name="connsiteY120" fmla="*/ 6614160 h 8260080"/>
              <a:gd name="connsiteX121" fmla="*/ 1686560 w 3505200"/>
              <a:gd name="connsiteY121" fmla="*/ 6421120 h 8260080"/>
              <a:gd name="connsiteX122" fmla="*/ 1889760 w 3505200"/>
              <a:gd name="connsiteY122" fmla="*/ 6299200 h 8260080"/>
              <a:gd name="connsiteX123" fmla="*/ 1940560 w 3505200"/>
              <a:gd name="connsiteY123" fmla="*/ 6228080 h 8260080"/>
              <a:gd name="connsiteX124" fmla="*/ 2032000 w 3505200"/>
              <a:gd name="connsiteY124" fmla="*/ 6136640 h 8260080"/>
              <a:gd name="connsiteX125" fmla="*/ 2011680 w 3505200"/>
              <a:gd name="connsiteY125" fmla="*/ 6014720 h 8260080"/>
              <a:gd name="connsiteX126" fmla="*/ 2123440 w 3505200"/>
              <a:gd name="connsiteY126" fmla="*/ 6065520 h 8260080"/>
              <a:gd name="connsiteX127" fmla="*/ 2092960 w 3505200"/>
              <a:gd name="connsiteY127" fmla="*/ 6167120 h 8260080"/>
              <a:gd name="connsiteX128" fmla="*/ 2286000 w 3505200"/>
              <a:gd name="connsiteY128" fmla="*/ 5933440 h 8260080"/>
              <a:gd name="connsiteX129" fmla="*/ 2255520 w 3505200"/>
              <a:gd name="connsiteY129" fmla="*/ 5801360 h 8260080"/>
              <a:gd name="connsiteX130" fmla="*/ 2448560 w 3505200"/>
              <a:gd name="connsiteY130" fmla="*/ 5598160 h 8260080"/>
              <a:gd name="connsiteX131" fmla="*/ 2357120 w 3505200"/>
              <a:gd name="connsiteY131" fmla="*/ 5435600 h 8260080"/>
              <a:gd name="connsiteX132" fmla="*/ 2225040 w 3505200"/>
              <a:gd name="connsiteY132" fmla="*/ 5415280 h 8260080"/>
              <a:gd name="connsiteX133" fmla="*/ 2103120 w 3505200"/>
              <a:gd name="connsiteY133" fmla="*/ 5222240 h 8260080"/>
              <a:gd name="connsiteX134" fmla="*/ 2092960 w 3505200"/>
              <a:gd name="connsiteY134" fmla="*/ 5110480 h 8260080"/>
              <a:gd name="connsiteX135" fmla="*/ 2052320 w 3505200"/>
              <a:gd name="connsiteY135" fmla="*/ 5151120 h 8260080"/>
              <a:gd name="connsiteX136" fmla="*/ 2042160 w 3505200"/>
              <a:gd name="connsiteY136" fmla="*/ 5242560 h 8260080"/>
              <a:gd name="connsiteX137" fmla="*/ 1981200 w 3505200"/>
              <a:gd name="connsiteY137" fmla="*/ 5191760 h 8260080"/>
              <a:gd name="connsiteX138" fmla="*/ 2011680 w 3505200"/>
              <a:gd name="connsiteY138" fmla="*/ 5120640 h 8260080"/>
              <a:gd name="connsiteX139" fmla="*/ 1930400 w 3505200"/>
              <a:gd name="connsiteY139" fmla="*/ 5100320 h 8260080"/>
              <a:gd name="connsiteX140" fmla="*/ 1859280 w 3505200"/>
              <a:gd name="connsiteY140" fmla="*/ 4917440 h 8260080"/>
              <a:gd name="connsiteX141" fmla="*/ 1828800 w 3505200"/>
              <a:gd name="connsiteY141" fmla="*/ 4622800 h 8260080"/>
              <a:gd name="connsiteX142" fmla="*/ 1910080 w 3505200"/>
              <a:gd name="connsiteY142" fmla="*/ 4419600 h 8260080"/>
              <a:gd name="connsiteX143" fmla="*/ 1920240 w 3505200"/>
              <a:gd name="connsiteY143" fmla="*/ 4277360 h 8260080"/>
              <a:gd name="connsiteX144" fmla="*/ 1971040 w 3505200"/>
              <a:gd name="connsiteY144" fmla="*/ 4124960 h 8260080"/>
              <a:gd name="connsiteX145" fmla="*/ 1879600 w 3505200"/>
              <a:gd name="connsiteY145" fmla="*/ 4023360 h 8260080"/>
              <a:gd name="connsiteX146" fmla="*/ 2072640 w 3505200"/>
              <a:gd name="connsiteY146" fmla="*/ 4003040 h 8260080"/>
              <a:gd name="connsiteX147" fmla="*/ 2092960 w 3505200"/>
              <a:gd name="connsiteY147" fmla="*/ 3850640 h 8260080"/>
              <a:gd name="connsiteX148" fmla="*/ 2001520 w 3505200"/>
              <a:gd name="connsiteY148" fmla="*/ 3728720 h 8260080"/>
              <a:gd name="connsiteX149" fmla="*/ 2164080 w 3505200"/>
              <a:gd name="connsiteY149" fmla="*/ 3769360 h 8260080"/>
              <a:gd name="connsiteX150" fmla="*/ 2265680 w 3505200"/>
              <a:gd name="connsiteY150" fmla="*/ 3566160 h 8260080"/>
              <a:gd name="connsiteX151" fmla="*/ 2336800 w 3505200"/>
              <a:gd name="connsiteY151" fmla="*/ 3515360 h 8260080"/>
              <a:gd name="connsiteX152" fmla="*/ 2367280 w 3505200"/>
              <a:gd name="connsiteY152" fmla="*/ 3362960 h 8260080"/>
              <a:gd name="connsiteX153" fmla="*/ 2489200 w 3505200"/>
              <a:gd name="connsiteY153" fmla="*/ 3423920 h 8260080"/>
              <a:gd name="connsiteX154" fmla="*/ 2560320 w 3505200"/>
              <a:gd name="connsiteY154" fmla="*/ 3302000 h 8260080"/>
              <a:gd name="connsiteX155" fmla="*/ 2743200 w 3505200"/>
              <a:gd name="connsiteY155" fmla="*/ 3149600 h 8260080"/>
              <a:gd name="connsiteX156" fmla="*/ 2844800 w 3505200"/>
              <a:gd name="connsiteY156" fmla="*/ 3088640 h 8260080"/>
              <a:gd name="connsiteX157" fmla="*/ 2804160 w 3505200"/>
              <a:gd name="connsiteY157" fmla="*/ 2966720 h 8260080"/>
              <a:gd name="connsiteX158" fmla="*/ 2976880 w 3505200"/>
              <a:gd name="connsiteY158" fmla="*/ 2763520 h 8260080"/>
              <a:gd name="connsiteX159" fmla="*/ 2794000 w 3505200"/>
              <a:gd name="connsiteY159" fmla="*/ 2621280 h 8260080"/>
              <a:gd name="connsiteX160" fmla="*/ 2946400 w 3505200"/>
              <a:gd name="connsiteY160" fmla="*/ 2377440 h 8260080"/>
              <a:gd name="connsiteX161" fmla="*/ 2854960 w 3505200"/>
              <a:gd name="connsiteY161" fmla="*/ 2255520 h 8260080"/>
              <a:gd name="connsiteX162" fmla="*/ 3027680 w 3505200"/>
              <a:gd name="connsiteY162" fmla="*/ 2113280 h 8260080"/>
              <a:gd name="connsiteX163" fmla="*/ 3119120 w 3505200"/>
              <a:gd name="connsiteY163" fmla="*/ 2021840 h 8260080"/>
              <a:gd name="connsiteX164" fmla="*/ 3027680 w 3505200"/>
              <a:gd name="connsiteY164" fmla="*/ 1960880 h 8260080"/>
              <a:gd name="connsiteX165" fmla="*/ 3139440 w 3505200"/>
              <a:gd name="connsiteY165" fmla="*/ 1869440 h 8260080"/>
              <a:gd name="connsiteX166" fmla="*/ 3281680 w 3505200"/>
              <a:gd name="connsiteY166" fmla="*/ 1950720 h 8260080"/>
              <a:gd name="connsiteX167" fmla="*/ 3403600 w 3505200"/>
              <a:gd name="connsiteY167" fmla="*/ 1889760 h 8260080"/>
              <a:gd name="connsiteX168" fmla="*/ 3505200 w 3505200"/>
              <a:gd name="connsiteY168" fmla="*/ 1910080 h 8260080"/>
              <a:gd name="connsiteX169" fmla="*/ 3444240 w 3505200"/>
              <a:gd name="connsiteY169" fmla="*/ 1656080 h 8260080"/>
              <a:gd name="connsiteX170" fmla="*/ 3373120 w 3505200"/>
              <a:gd name="connsiteY170" fmla="*/ 1635760 h 8260080"/>
              <a:gd name="connsiteX171" fmla="*/ 3352800 w 3505200"/>
              <a:gd name="connsiteY171" fmla="*/ 1503680 h 8260080"/>
              <a:gd name="connsiteX172" fmla="*/ 3444240 w 3505200"/>
              <a:gd name="connsiteY172" fmla="*/ 1412240 h 8260080"/>
              <a:gd name="connsiteX173" fmla="*/ 3393440 w 3505200"/>
              <a:gd name="connsiteY173" fmla="*/ 1280160 h 8260080"/>
              <a:gd name="connsiteX174" fmla="*/ 3434080 w 3505200"/>
              <a:gd name="connsiteY174" fmla="*/ 1249680 h 8260080"/>
              <a:gd name="connsiteX175" fmla="*/ 3281680 w 3505200"/>
              <a:gd name="connsiteY175" fmla="*/ 1066800 h 8260080"/>
              <a:gd name="connsiteX176" fmla="*/ 3383280 w 3505200"/>
              <a:gd name="connsiteY176" fmla="*/ 975360 h 8260080"/>
              <a:gd name="connsiteX177" fmla="*/ 3302000 w 3505200"/>
              <a:gd name="connsiteY177" fmla="*/ 924560 h 8260080"/>
              <a:gd name="connsiteX178" fmla="*/ 3190240 w 3505200"/>
              <a:gd name="connsiteY178" fmla="*/ 944880 h 8260080"/>
              <a:gd name="connsiteX179" fmla="*/ 3281680 w 3505200"/>
              <a:gd name="connsiteY179" fmla="*/ 792480 h 8260080"/>
              <a:gd name="connsiteX180" fmla="*/ 3210560 w 3505200"/>
              <a:gd name="connsiteY180" fmla="*/ 650240 h 8260080"/>
              <a:gd name="connsiteX181" fmla="*/ 3302000 w 3505200"/>
              <a:gd name="connsiteY181" fmla="*/ 568960 h 8260080"/>
              <a:gd name="connsiteX182" fmla="*/ 3190240 w 3505200"/>
              <a:gd name="connsiteY182" fmla="*/ 487680 h 8260080"/>
              <a:gd name="connsiteX183" fmla="*/ 3108960 w 3505200"/>
              <a:gd name="connsiteY183" fmla="*/ 528320 h 8260080"/>
              <a:gd name="connsiteX184" fmla="*/ 3108960 w 3505200"/>
              <a:gd name="connsiteY184" fmla="*/ 406400 h 8260080"/>
              <a:gd name="connsiteX185" fmla="*/ 2926080 w 3505200"/>
              <a:gd name="connsiteY185" fmla="*/ 314960 h 8260080"/>
              <a:gd name="connsiteX186" fmla="*/ 2834640 w 3505200"/>
              <a:gd name="connsiteY186" fmla="*/ 355600 h 8260080"/>
              <a:gd name="connsiteX187" fmla="*/ 2682240 w 3505200"/>
              <a:gd name="connsiteY187" fmla="*/ 111760 h 8260080"/>
              <a:gd name="connsiteX188" fmla="*/ 2590800 w 3505200"/>
              <a:gd name="connsiteY188" fmla="*/ 121920 h 8260080"/>
              <a:gd name="connsiteX189" fmla="*/ 2611120 w 3505200"/>
              <a:gd name="connsiteY189" fmla="*/ 0 h 8260080"/>
              <a:gd name="connsiteX190" fmla="*/ 2438400 w 3505200"/>
              <a:gd name="connsiteY19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150019 w 3505200"/>
              <a:gd name="connsiteY70" fmla="*/ 6767195 h 8260080"/>
              <a:gd name="connsiteX71" fmla="*/ 233680 w 3505200"/>
              <a:gd name="connsiteY71" fmla="*/ 6959600 h 8260080"/>
              <a:gd name="connsiteX72" fmla="*/ 304800 w 3505200"/>
              <a:gd name="connsiteY72" fmla="*/ 7020560 h 8260080"/>
              <a:gd name="connsiteX73" fmla="*/ 264160 w 3505200"/>
              <a:gd name="connsiteY73" fmla="*/ 7122160 h 8260080"/>
              <a:gd name="connsiteX74" fmla="*/ 335280 w 3505200"/>
              <a:gd name="connsiteY74" fmla="*/ 7193280 h 8260080"/>
              <a:gd name="connsiteX75" fmla="*/ 325120 w 3505200"/>
              <a:gd name="connsiteY75" fmla="*/ 7254240 h 8260080"/>
              <a:gd name="connsiteX76" fmla="*/ 325120 w 3505200"/>
              <a:gd name="connsiteY76" fmla="*/ 7254240 h 8260080"/>
              <a:gd name="connsiteX77" fmla="*/ 325120 w 3505200"/>
              <a:gd name="connsiteY77" fmla="*/ 7355840 h 8260080"/>
              <a:gd name="connsiteX78" fmla="*/ 447040 w 3505200"/>
              <a:gd name="connsiteY78" fmla="*/ 7366000 h 8260080"/>
              <a:gd name="connsiteX79" fmla="*/ 447040 w 3505200"/>
              <a:gd name="connsiteY79" fmla="*/ 7477760 h 8260080"/>
              <a:gd name="connsiteX80" fmla="*/ 558800 w 3505200"/>
              <a:gd name="connsiteY80" fmla="*/ 7528560 h 8260080"/>
              <a:gd name="connsiteX81" fmla="*/ 508000 w 3505200"/>
              <a:gd name="connsiteY81" fmla="*/ 7630160 h 8260080"/>
              <a:gd name="connsiteX82" fmla="*/ 436880 w 3505200"/>
              <a:gd name="connsiteY82" fmla="*/ 7609840 h 8260080"/>
              <a:gd name="connsiteX83" fmla="*/ 447040 w 3505200"/>
              <a:gd name="connsiteY83" fmla="*/ 7691120 h 8260080"/>
              <a:gd name="connsiteX84" fmla="*/ 518160 w 3505200"/>
              <a:gd name="connsiteY84" fmla="*/ 7741920 h 8260080"/>
              <a:gd name="connsiteX85" fmla="*/ 457200 w 3505200"/>
              <a:gd name="connsiteY85" fmla="*/ 7792720 h 8260080"/>
              <a:gd name="connsiteX86" fmla="*/ 396240 w 3505200"/>
              <a:gd name="connsiteY86" fmla="*/ 7701280 h 8260080"/>
              <a:gd name="connsiteX87" fmla="*/ 396240 w 3505200"/>
              <a:gd name="connsiteY87" fmla="*/ 7701280 h 8260080"/>
              <a:gd name="connsiteX88" fmla="*/ 436880 w 3505200"/>
              <a:gd name="connsiteY88" fmla="*/ 7874000 h 8260080"/>
              <a:gd name="connsiteX89" fmla="*/ 436880 w 3505200"/>
              <a:gd name="connsiteY89" fmla="*/ 7924800 h 8260080"/>
              <a:gd name="connsiteX90" fmla="*/ 548640 w 3505200"/>
              <a:gd name="connsiteY90" fmla="*/ 7965440 h 8260080"/>
              <a:gd name="connsiteX91" fmla="*/ 508000 w 3505200"/>
              <a:gd name="connsiteY91" fmla="*/ 8016240 h 8260080"/>
              <a:gd name="connsiteX92" fmla="*/ 589280 w 3505200"/>
              <a:gd name="connsiteY92" fmla="*/ 8056880 h 8260080"/>
              <a:gd name="connsiteX93" fmla="*/ 497840 w 3505200"/>
              <a:gd name="connsiteY93" fmla="*/ 8117840 h 8260080"/>
              <a:gd name="connsiteX94" fmla="*/ 518160 w 3505200"/>
              <a:gd name="connsiteY94" fmla="*/ 8209280 h 8260080"/>
              <a:gd name="connsiteX95" fmla="*/ 640080 w 3505200"/>
              <a:gd name="connsiteY95" fmla="*/ 8260080 h 8260080"/>
              <a:gd name="connsiteX96" fmla="*/ 731520 w 3505200"/>
              <a:gd name="connsiteY96" fmla="*/ 8219440 h 8260080"/>
              <a:gd name="connsiteX97" fmla="*/ 853440 w 3505200"/>
              <a:gd name="connsiteY97" fmla="*/ 8209280 h 8260080"/>
              <a:gd name="connsiteX98" fmla="*/ 955040 w 3505200"/>
              <a:gd name="connsiteY98" fmla="*/ 8260080 h 8260080"/>
              <a:gd name="connsiteX99" fmla="*/ 965200 w 3505200"/>
              <a:gd name="connsiteY99" fmla="*/ 8107680 h 8260080"/>
              <a:gd name="connsiteX100" fmla="*/ 894080 w 3505200"/>
              <a:gd name="connsiteY100" fmla="*/ 8026400 h 8260080"/>
              <a:gd name="connsiteX101" fmla="*/ 1016000 w 3505200"/>
              <a:gd name="connsiteY101" fmla="*/ 7863840 h 8260080"/>
              <a:gd name="connsiteX102" fmla="*/ 1107440 w 3505200"/>
              <a:gd name="connsiteY102" fmla="*/ 7894320 h 8260080"/>
              <a:gd name="connsiteX103" fmla="*/ 1127760 w 3505200"/>
              <a:gd name="connsiteY103" fmla="*/ 7853680 h 8260080"/>
              <a:gd name="connsiteX104" fmla="*/ 1066800 w 3505200"/>
              <a:gd name="connsiteY104" fmla="*/ 7813040 h 8260080"/>
              <a:gd name="connsiteX105" fmla="*/ 1137920 w 3505200"/>
              <a:gd name="connsiteY105" fmla="*/ 7762240 h 8260080"/>
              <a:gd name="connsiteX106" fmla="*/ 1330960 w 3505200"/>
              <a:gd name="connsiteY106" fmla="*/ 7802880 h 8260080"/>
              <a:gd name="connsiteX107" fmla="*/ 1361440 w 3505200"/>
              <a:gd name="connsiteY107" fmla="*/ 7772400 h 8260080"/>
              <a:gd name="connsiteX108" fmla="*/ 1483360 w 3505200"/>
              <a:gd name="connsiteY108" fmla="*/ 7823200 h 8260080"/>
              <a:gd name="connsiteX109" fmla="*/ 1554480 w 3505200"/>
              <a:gd name="connsiteY109" fmla="*/ 7731760 h 8260080"/>
              <a:gd name="connsiteX110" fmla="*/ 1524000 w 3505200"/>
              <a:gd name="connsiteY110" fmla="*/ 7640320 h 8260080"/>
              <a:gd name="connsiteX111" fmla="*/ 1645920 w 3505200"/>
              <a:gd name="connsiteY111" fmla="*/ 7437120 h 8260080"/>
              <a:gd name="connsiteX112" fmla="*/ 1635760 w 3505200"/>
              <a:gd name="connsiteY112" fmla="*/ 7335520 h 8260080"/>
              <a:gd name="connsiteX113" fmla="*/ 1696720 w 3505200"/>
              <a:gd name="connsiteY113" fmla="*/ 7223760 h 8260080"/>
              <a:gd name="connsiteX114" fmla="*/ 1625600 w 3505200"/>
              <a:gd name="connsiteY114" fmla="*/ 7172960 h 8260080"/>
              <a:gd name="connsiteX115" fmla="*/ 1747520 w 3505200"/>
              <a:gd name="connsiteY115" fmla="*/ 6990080 h 8260080"/>
              <a:gd name="connsiteX116" fmla="*/ 1666240 w 3505200"/>
              <a:gd name="connsiteY116" fmla="*/ 6939280 h 8260080"/>
              <a:gd name="connsiteX117" fmla="*/ 1737360 w 3505200"/>
              <a:gd name="connsiteY117" fmla="*/ 6888480 h 8260080"/>
              <a:gd name="connsiteX118" fmla="*/ 1645920 w 3505200"/>
              <a:gd name="connsiteY118" fmla="*/ 6776720 h 8260080"/>
              <a:gd name="connsiteX119" fmla="*/ 1808480 w 3505200"/>
              <a:gd name="connsiteY119" fmla="*/ 6715760 h 8260080"/>
              <a:gd name="connsiteX120" fmla="*/ 1727200 w 3505200"/>
              <a:gd name="connsiteY120" fmla="*/ 6614160 h 8260080"/>
              <a:gd name="connsiteX121" fmla="*/ 1686560 w 3505200"/>
              <a:gd name="connsiteY121" fmla="*/ 6421120 h 8260080"/>
              <a:gd name="connsiteX122" fmla="*/ 1889760 w 3505200"/>
              <a:gd name="connsiteY122" fmla="*/ 6299200 h 8260080"/>
              <a:gd name="connsiteX123" fmla="*/ 1940560 w 3505200"/>
              <a:gd name="connsiteY123" fmla="*/ 6228080 h 8260080"/>
              <a:gd name="connsiteX124" fmla="*/ 2032000 w 3505200"/>
              <a:gd name="connsiteY124" fmla="*/ 6136640 h 8260080"/>
              <a:gd name="connsiteX125" fmla="*/ 2011680 w 3505200"/>
              <a:gd name="connsiteY125" fmla="*/ 6014720 h 8260080"/>
              <a:gd name="connsiteX126" fmla="*/ 2123440 w 3505200"/>
              <a:gd name="connsiteY126" fmla="*/ 6065520 h 8260080"/>
              <a:gd name="connsiteX127" fmla="*/ 2092960 w 3505200"/>
              <a:gd name="connsiteY127" fmla="*/ 6167120 h 8260080"/>
              <a:gd name="connsiteX128" fmla="*/ 2286000 w 3505200"/>
              <a:gd name="connsiteY128" fmla="*/ 5933440 h 8260080"/>
              <a:gd name="connsiteX129" fmla="*/ 2255520 w 3505200"/>
              <a:gd name="connsiteY129" fmla="*/ 5801360 h 8260080"/>
              <a:gd name="connsiteX130" fmla="*/ 2448560 w 3505200"/>
              <a:gd name="connsiteY130" fmla="*/ 5598160 h 8260080"/>
              <a:gd name="connsiteX131" fmla="*/ 2357120 w 3505200"/>
              <a:gd name="connsiteY131" fmla="*/ 5435600 h 8260080"/>
              <a:gd name="connsiteX132" fmla="*/ 2225040 w 3505200"/>
              <a:gd name="connsiteY132" fmla="*/ 5415280 h 8260080"/>
              <a:gd name="connsiteX133" fmla="*/ 2103120 w 3505200"/>
              <a:gd name="connsiteY133" fmla="*/ 5222240 h 8260080"/>
              <a:gd name="connsiteX134" fmla="*/ 2092960 w 3505200"/>
              <a:gd name="connsiteY134" fmla="*/ 5110480 h 8260080"/>
              <a:gd name="connsiteX135" fmla="*/ 2052320 w 3505200"/>
              <a:gd name="connsiteY135" fmla="*/ 5151120 h 8260080"/>
              <a:gd name="connsiteX136" fmla="*/ 2042160 w 3505200"/>
              <a:gd name="connsiteY136" fmla="*/ 5242560 h 8260080"/>
              <a:gd name="connsiteX137" fmla="*/ 1981200 w 3505200"/>
              <a:gd name="connsiteY137" fmla="*/ 5191760 h 8260080"/>
              <a:gd name="connsiteX138" fmla="*/ 2011680 w 3505200"/>
              <a:gd name="connsiteY138" fmla="*/ 5120640 h 8260080"/>
              <a:gd name="connsiteX139" fmla="*/ 1930400 w 3505200"/>
              <a:gd name="connsiteY139" fmla="*/ 5100320 h 8260080"/>
              <a:gd name="connsiteX140" fmla="*/ 1859280 w 3505200"/>
              <a:gd name="connsiteY140" fmla="*/ 4917440 h 8260080"/>
              <a:gd name="connsiteX141" fmla="*/ 1828800 w 3505200"/>
              <a:gd name="connsiteY141" fmla="*/ 4622800 h 8260080"/>
              <a:gd name="connsiteX142" fmla="*/ 1910080 w 3505200"/>
              <a:gd name="connsiteY142" fmla="*/ 4419600 h 8260080"/>
              <a:gd name="connsiteX143" fmla="*/ 1920240 w 3505200"/>
              <a:gd name="connsiteY143" fmla="*/ 4277360 h 8260080"/>
              <a:gd name="connsiteX144" fmla="*/ 1971040 w 3505200"/>
              <a:gd name="connsiteY144" fmla="*/ 4124960 h 8260080"/>
              <a:gd name="connsiteX145" fmla="*/ 1879600 w 3505200"/>
              <a:gd name="connsiteY145" fmla="*/ 4023360 h 8260080"/>
              <a:gd name="connsiteX146" fmla="*/ 2072640 w 3505200"/>
              <a:gd name="connsiteY146" fmla="*/ 4003040 h 8260080"/>
              <a:gd name="connsiteX147" fmla="*/ 2092960 w 3505200"/>
              <a:gd name="connsiteY147" fmla="*/ 3850640 h 8260080"/>
              <a:gd name="connsiteX148" fmla="*/ 2001520 w 3505200"/>
              <a:gd name="connsiteY148" fmla="*/ 3728720 h 8260080"/>
              <a:gd name="connsiteX149" fmla="*/ 2164080 w 3505200"/>
              <a:gd name="connsiteY149" fmla="*/ 3769360 h 8260080"/>
              <a:gd name="connsiteX150" fmla="*/ 2265680 w 3505200"/>
              <a:gd name="connsiteY150" fmla="*/ 3566160 h 8260080"/>
              <a:gd name="connsiteX151" fmla="*/ 2336800 w 3505200"/>
              <a:gd name="connsiteY151" fmla="*/ 3515360 h 8260080"/>
              <a:gd name="connsiteX152" fmla="*/ 2367280 w 3505200"/>
              <a:gd name="connsiteY152" fmla="*/ 3362960 h 8260080"/>
              <a:gd name="connsiteX153" fmla="*/ 2489200 w 3505200"/>
              <a:gd name="connsiteY153" fmla="*/ 3423920 h 8260080"/>
              <a:gd name="connsiteX154" fmla="*/ 2560320 w 3505200"/>
              <a:gd name="connsiteY154" fmla="*/ 3302000 h 8260080"/>
              <a:gd name="connsiteX155" fmla="*/ 2743200 w 3505200"/>
              <a:gd name="connsiteY155" fmla="*/ 3149600 h 8260080"/>
              <a:gd name="connsiteX156" fmla="*/ 2844800 w 3505200"/>
              <a:gd name="connsiteY156" fmla="*/ 3088640 h 8260080"/>
              <a:gd name="connsiteX157" fmla="*/ 2804160 w 3505200"/>
              <a:gd name="connsiteY157" fmla="*/ 2966720 h 8260080"/>
              <a:gd name="connsiteX158" fmla="*/ 2976880 w 3505200"/>
              <a:gd name="connsiteY158" fmla="*/ 2763520 h 8260080"/>
              <a:gd name="connsiteX159" fmla="*/ 2794000 w 3505200"/>
              <a:gd name="connsiteY159" fmla="*/ 2621280 h 8260080"/>
              <a:gd name="connsiteX160" fmla="*/ 2946400 w 3505200"/>
              <a:gd name="connsiteY160" fmla="*/ 2377440 h 8260080"/>
              <a:gd name="connsiteX161" fmla="*/ 2854960 w 3505200"/>
              <a:gd name="connsiteY161" fmla="*/ 2255520 h 8260080"/>
              <a:gd name="connsiteX162" fmla="*/ 3027680 w 3505200"/>
              <a:gd name="connsiteY162" fmla="*/ 2113280 h 8260080"/>
              <a:gd name="connsiteX163" fmla="*/ 3119120 w 3505200"/>
              <a:gd name="connsiteY163" fmla="*/ 2021840 h 8260080"/>
              <a:gd name="connsiteX164" fmla="*/ 3027680 w 3505200"/>
              <a:gd name="connsiteY164" fmla="*/ 1960880 h 8260080"/>
              <a:gd name="connsiteX165" fmla="*/ 3139440 w 3505200"/>
              <a:gd name="connsiteY165" fmla="*/ 1869440 h 8260080"/>
              <a:gd name="connsiteX166" fmla="*/ 3281680 w 3505200"/>
              <a:gd name="connsiteY166" fmla="*/ 1950720 h 8260080"/>
              <a:gd name="connsiteX167" fmla="*/ 3403600 w 3505200"/>
              <a:gd name="connsiteY167" fmla="*/ 1889760 h 8260080"/>
              <a:gd name="connsiteX168" fmla="*/ 3505200 w 3505200"/>
              <a:gd name="connsiteY168" fmla="*/ 1910080 h 8260080"/>
              <a:gd name="connsiteX169" fmla="*/ 3444240 w 3505200"/>
              <a:gd name="connsiteY169" fmla="*/ 1656080 h 8260080"/>
              <a:gd name="connsiteX170" fmla="*/ 3373120 w 3505200"/>
              <a:gd name="connsiteY170" fmla="*/ 1635760 h 8260080"/>
              <a:gd name="connsiteX171" fmla="*/ 3352800 w 3505200"/>
              <a:gd name="connsiteY171" fmla="*/ 1503680 h 8260080"/>
              <a:gd name="connsiteX172" fmla="*/ 3444240 w 3505200"/>
              <a:gd name="connsiteY172" fmla="*/ 1412240 h 8260080"/>
              <a:gd name="connsiteX173" fmla="*/ 3393440 w 3505200"/>
              <a:gd name="connsiteY173" fmla="*/ 1280160 h 8260080"/>
              <a:gd name="connsiteX174" fmla="*/ 3434080 w 3505200"/>
              <a:gd name="connsiteY174" fmla="*/ 1249680 h 8260080"/>
              <a:gd name="connsiteX175" fmla="*/ 3281680 w 3505200"/>
              <a:gd name="connsiteY175" fmla="*/ 1066800 h 8260080"/>
              <a:gd name="connsiteX176" fmla="*/ 3383280 w 3505200"/>
              <a:gd name="connsiteY176" fmla="*/ 975360 h 8260080"/>
              <a:gd name="connsiteX177" fmla="*/ 3302000 w 3505200"/>
              <a:gd name="connsiteY177" fmla="*/ 924560 h 8260080"/>
              <a:gd name="connsiteX178" fmla="*/ 3190240 w 3505200"/>
              <a:gd name="connsiteY178" fmla="*/ 944880 h 8260080"/>
              <a:gd name="connsiteX179" fmla="*/ 3281680 w 3505200"/>
              <a:gd name="connsiteY179" fmla="*/ 792480 h 8260080"/>
              <a:gd name="connsiteX180" fmla="*/ 3210560 w 3505200"/>
              <a:gd name="connsiteY180" fmla="*/ 650240 h 8260080"/>
              <a:gd name="connsiteX181" fmla="*/ 3302000 w 3505200"/>
              <a:gd name="connsiteY181" fmla="*/ 568960 h 8260080"/>
              <a:gd name="connsiteX182" fmla="*/ 3190240 w 3505200"/>
              <a:gd name="connsiteY182" fmla="*/ 487680 h 8260080"/>
              <a:gd name="connsiteX183" fmla="*/ 3108960 w 3505200"/>
              <a:gd name="connsiteY183" fmla="*/ 528320 h 8260080"/>
              <a:gd name="connsiteX184" fmla="*/ 3108960 w 3505200"/>
              <a:gd name="connsiteY184" fmla="*/ 406400 h 8260080"/>
              <a:gd name="connsiteX185" fmla="*/ 2926080 w 3505200"/>
              <a:gd name="connsiteY185" fmla="*/ 314960 h 8260080"/>
              <a:gd name="connsiteX186" fmla="*/ 2834640 w 3505200"/>
              <a:gd name="connsiteY186" fmla="*/ 355600 h 8260080"/>
              <a:gd name="connsiteX187" fmla="*/ 2682240 w 3505200"/>
              <a:gd name="connsiteY187" fmla="*/ 111760 h 8260080"/>
              <a:gd name="connsiteX188" fmla="*/ 2590800 w 3505200"/>
              <a:gd name="connsiteY188" fmla="*/ 121920 h 8260080"/>
              <a:gd name="connsiteX189" fmla="*/ 2611120 w 3505200"/>
              <a:gd name="connsiteY189" fmla="*/ 0 h 8260080"/>
              <a:gd name="connsiteX190" fmla="*/ 2438400 w 3505200"/>
              <a:gd name="connsiteY19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150019 w 3505200"/>
              <a:gd name="connsiteY70" fmla="*/ 6767195 h 8260080"/>
              <a:gd name="connsiteX71" fmla="*/ 233680 w 3505200"/>
              <a:gd name="connsiteY71" fmla="*/ 6959600 h 8260080"/>
              <a:gd name="connsiteX72" fmla="*/ 304800 w 3505200"/>
              <a:gd name="connsiteY72" fmla="*/ 7020560 h 8260080"/>
              <a:gd name="connsiteX73" fmla="*/ 264160 w 3505200"/>
              <a:gd name="connsiteY73" fmla="*/ 7122160 h 8260080"/>
              <a:gd name="connsiteX74" fmla="*/ 335280 w 3505200"/>
              <a:gd name="connsiteY74" fmla="*/ 7193280 h 8260080"/>
              <a:gd name="connsiteX75" fmla="*/ 325120 w 3505200"/>
              <a:gd name="connsiteY75" fmla="*/ 7254240 h 8260080"/>
              <a:gd name="connsiteX76" fmla="*/ 325120 w 3505200"/>
              <a:gd name="connsiteY76" fmla="*/ 7254240 h 8260080"/>
              <a:gd name="connsiteX77" fmla="*/ 325120 w 3505200"/>
              <a:gd name="connsiteY77" fmla="*/ 7355840 h 8260080"/>
              <a:gd name="connsiteX78" fmla="*/ 447040 w 3505200"/>
              <a:gd name="connsiteY78" fmla="*/ 7366000 h 8260080"/>
              <a:gd name="connsiteX79" fmla="*/ 447040 w 3505200"/>
              <a:gd name="connsiteY79" fmla="*/ 7477760 h 8260080"/>
              <a:gd name="connsiteX80" fmla="*/ 558800 w 3505200"/>
              <a:gd name="connsiteY80" fmla="*/ 7528560 h 8260080"/>
              <a:gd name="connsiteX81" fmla="*/ 508000 w 3505200"/>
              <a:gd name="connsiteY81" fmla="*/ 7630160 h 8260080"/>
              <a:gd name="connsiteX82" fmla="*/ 436880 w 3505200"/>
              <a:gd name="connsiteY82" fmla="*/ 7609840 h 8260080"/>
              <a:gd name="connsiteX83" fmla="*/ 447040 w 3505200"/>
              <a:gd name="connsiteY83" fmla="*/ 7691120 h 8260080"/>
              <a:gd name="connsiteX84" fmla="*/ 518160 w 3505200"/>
              <a:gd name="connsiteY84" fmla="*/ 7741920 h 8260080"/>
              <a:gd name="connsiteX85" fmla="*/ 457200 w 3505200"/>
              <a:gd name="connsiteY85" fmla="*/ 7792720 h 8260080"/>
              <a:gd name="connsiteX86" fmla="*/ 396240 w 3505200"/>
              <a:gd name="connsiteY86" fmla="*/ 7701280 h 8260080"/>
              <a:gd name="connsiteX87" fmla="*/ 396240 w 3505200"/>
              <a:gd name="connsiteY87" fmla="*/ 7701280 h 8260080"/>
              <a:gd name="connsiteX88" fmla="*/ 436880 w 3505200"/>
              <a:gd name="connsiteY88" fmla="*/ 7874000 h 8260080"/>
              <a:gd name="connsiteX89" fmla="*/ 436880 w 3505200"/>
              <a:gd name="connsiteY89" fmla="*/ 7924800 h 8260080"/>
              <a:gd name="connsiteX90" fmla="*/ 548640 w 3505200"/>
              <a:gd name="connsiteY90" fmla="*/ 7965440 h 8260080"/>
              <a:gd name="connsiteX91" fmla="*/ 508000 w 3505200"/>
              <a:gd name="connsiteY91" fmla="*/ 8016240 h 8260080"/>
              <a:gd name="connsiteX92" fmla="*/ 589280 w 3505200"/>
              <a:gd name="connsiteY92" fmla="*/ 8056880 h 8260080"/>
              <a:gd name="connsiteX93" fmla="*/ 497840 w 3505200"/>
              <a:gd name="connsiteY93" fmla="*/ 8117840 h 8260080"/>
              <a:gd name="connsiteX94" fmla="*/ 518160 w 3505200"/>
              <a:gd name="connsiteY94" fmla="*/ 8209280 h 8260080"/>
              <a:gd name="connsiteX95" fmla="*/ 640080 w 3505200"/>
              <a:gd name="connsiteY95" fmla="*/ 8260080 h 8260080"/>
              <a:gd name="connsiteX96" fmla="*/ 731520 w 3505200"/>
              <a:gd name="connsiteY96" fmla="*/ 8219440 h 8260080"/>
              <a:gd name="connsiteX97" fmla="*/ 853440 w 3505200"/>
              <a:gd name="connsiteY97" fmla="*/ 8209280 h 8260080"/>
              <a:gd name="connsiteX98" fmla="*/ 955040 w 3505200"/>
              <a:gd name="connsiteY98" fmla="*/ 8260080 h 8260080"/>
              <a:gd name="connsiteX99" fmla="*/ 965200 w 3505200"/>
              <a:gd name="connsiteY99" fmla="*/ 8107680 h 8260080"/>
              <a:gd name="connsiteX100" fmla="*/ 894080 w 3505200"/>
              <a:gd name="connsiteY100" fmla="*/ 8026400 h 8260080"/>
              <a:gd name="connsiteX101" fmla="*/ 1016000 w 3505200"/>
              <a:gd name="connsiteY101" fmla="*/ 7863840 h 8260080"/>
              <a:gd name="connsiteX102" fmla="*/ 1107440 w 3505200"/>
              <a:gd name="connsiteY102" fmla="*/ 7894320 h 8260080"/>
              <a:gd name="connsiteX103" fmla="*/ 1127760 w 3505200"/>
              <a:gd name="connsiteY103" fmla="*/ 7853680 h 8260080"/>
              <a:gd name="connsiteX104" fmla="*/ 1066800 w 3505200"/>
              <a:gd name="connsiteY104" fmla="*/ 7813040 h 8260080"/>
              <a:gd name="connsiteX105" fmla="*/ 1137920 w 3505200"/>
              <a:gd name="connsiteY105" fmla="*/ 7762240 h 8260080"/>
              <a:gd name="connsiteX106" fmla="*/ 1330960 w 3505200"/>
              <a:gd name="connsiteY106" fmla="*/ 7802880 h 8260080"/>
              <a:gd name="connsiteX107" fmla="*/ 1361440 w 3505200"/>
              <a:gd name="connsiteY107" fmla="*/ 7772400 h 8260080"/>
              <a:gd name="connsiteX108" fmla="*/ 1483360 w 3505200"/>
              <a:gd name="connsiteY108" fmla="*/ 7823200 h 8260080"/>
              <a:gd name="connsiteX109" fmla="*/ 1554480 w 3505200"/>
              <a:gd name="connsiteY109" fmla="*/ 7731760 h 8260080"/>
              <a:gd name="connsiteX110" fmla="*/ 1524000 w 3505200"/>
              <a:gd name="connsiteY110" fmla="*/ 7640320 h 8260080"/>
              <a:gd name="connsiteX111" fmla="*/ 1645920 w 3505200"/>
              <a:gd name="connsiteY111" fmla="*/ 7437120 h 8260080"/>
              <a:gd name="connsiteX112" fmla="*/ 1635760 w 3505200"/>
              <a:gd name="connsiteY112" fmla="*/ 7335520 h 8260080"/>
              <a:gd name="connsiteX113" fmla="*/ 1696720 w 3505200"/>
              <a:gd name="connsiteY113" fmla="*/ 7223760 h 8260080"/>
              <a:gd name="connsiteX114" fmla="*/ 1625600 w 3505200"/>
              <a:gd name="connsiteY114" fmla="*/ 7172960 h 8260080"/>
              <a:gd name="connsiteX115" fmla="*/ 1747520 w 3505200"/>
              <a:gd name="connsiteY115" fmla="*/ 6990080 h 8260080"/>
              <a:gd name="connsiteX116" fmla="*/ 1666240 w 3505200"/>
              <a:gd name="connsiteY116" fmla="*/ 6939280 h 8260080"/>
              <a:gd name="connsiteX117" fmla="*/ 1737360 w 3505200"/>
              <a:gd name="connsiteY117" fmla="*/ 6888480 h 8260080"/>
              <a:gd name="connsiteX118" fmla="*/ 1645920 w 3505200"/>
              <a:gd name="connsiteY118" fmla="*/ 6776720 h 8260080"/>
              <a:gd name="connsiteX119" fmla="*/ 1808480 w 3505200"/>
              <a:gd name="connsiteY119" fmla="*/ 6715760 h 8260080"/>
              <a:gd name="connsiteX120" fmla="*/ 1727200 w 3505200"/>
              <a:gd name="connsiteY120" fmla="*/ 6614160 h 8260080"/>
              <a:gd name="connsiteX121" fmla="*/ 1686560 w 3505200"/>
              <a:gd name="connsiteY121" fmla="*/ 6421120 h 8260080"/>
              <a:gd name="connsiteX122" fmla="*/ 1889760 w 3505200"/>
              <a:gd name="connsiteY122" fmla="*/ 6299200 h 8260080"/>
              <a:gd name="connsiteX123" fmla="*/ 1940560 w 3505200"/>
              <a:gd name="connsiteY123" fmla="*/ 6228080 h 8260080"/>
              <a:gd name="connsiteX124" fmla="*/ 2032000 w 3505200"/>
              <a:gd name="connsiteY124" fmla="*/ 6136640 h 8260080"/>
              <a:gd name="connsiteX125" fmla="*/ 2011680 w 3505200"/>
              <a:gd name="connsiteY125" fmla="*/ 6014720 h 8260080"/>
              <a:gd name="connsiteX126" fmla="*/ 2123440 w 3505200"/>
              <a:gd name="connsiteY126" fmla="*/ 6065520 h 8260080"/>
              <a:gd name="connsiteX127" fmla="*/ 2092960 w 3505200"/>
              <a:gd name="connsiteY127" fmla="*/ 6167120 h 8260080"/>
              <a:gd name="connsiteX128" fmla="*/ 2286000 w 3505200"/>
              <a:gd name="connsiteY128" fmla="*/ 5933440 h 8260080"/>
              <a:gd name="connsiteX129" fmla="*/ 2255520 w 3505200"/>
              <a:gd name="connsiteY129" fmla="*/ 5801360 h 8260080"/>
              <a:gd name="connsiteX130" fmla="*/ 2448560 w 3505200"/>
              <a:gd name="connsiteY130" fmla="*/ 5598160 h 8260080"/>
              <a:gd name="connsiteX131" fmla="*/ 2357120 w 3505200"/>
              <a:gd name="connsiteY131" fmla="*/ 5435600 h 8260080"/>
              <a:gd name="connsiteX132" fmla="*/ 2225040 w 3505200"/>
              <a:gd name="connsiteY132" fmla="*/ 5415280 h 8260080"/>
              <a:gd name="connsiteX133" fmla="*/ 2103120 w 3505200"/>
              <a:gd name="connsiteY133" fmla="*/ 5222240 h 8260080"/>
              <a:gd name="connsiteX134" fmla="*/ 2092960 w 3505200"/>
              <a:gd name="connsiteY134" fmla="*/ 5110480 h 8260080"/>
              <a:gd name="connsiteX135" fmla="*/ 2052320 w 3505200"/>
              <a:gd name="connsiteY135" fmla="*/ 5151120 h 8260080"/>
              <a:gd name="connsiteX136" fmla="*/ 2042160 w 3505200"/>
              <a:gd name="connsiteY136" fmla="*/ 5242560 h 8260080"/>
              <a:gd name="connsiteX137" fmla="*/ 1981200 w 3505200"/>
              <a:gd name="connsiteY137" fmla="*/ 5191760 h 8260080"/>
              <a:gd name="connsiteX138" fmla="*/ 2011680 w 3505200"/>
              <a:gd name="connsiteY138" fmla="*/ 5120640 h 8260080"/>
              <a:gd name="connsiteX139" fmla="*/ 1930400 w 3505200"/>
              <a:gd name="connsiteY139" fmla="*/ 5100320 h 8260080"/>
              <a:gd name="connsiteX140" fmla="*/ 1859280 w 3505200"/>
              <a:gd name="connsiteY140" fmla="*/ 4917440 h 8260080"/>
              <a:gd name="connsiteX141" fmla="*/ 1828800 w 3505200"/>
              <a:gd name="connsiteY141" fmla="*/ 4622800 h 8260080"/>
              <a:gd name="connsiteX142" fmla="*/ 1910080 w 3505200"/>
              <a:gd name="connsiteY142" fmla="*/ 4419600 h 8260080"/>
              <a:gd name="connsiteX143" fmla="*/ 1920240 w 3505200"/>
              <a:gd name="connsiteY143" fmla="*/ 4277360 h 8260080"/>
              <a:gd name="connsiteX144" fmla="*/ 1971040 w 3505200"/>
              <a:gd name="connsiteY144" fmla="*/ 4124960 h 8260080"/>
              <a:gd name="connsiteX145" fmla="*/ 1879600 w 3505200"/>
              <a:gd name="connsiteY145" fmla="*/ 4023360 h 8260080"/>
              <a:gd name="connsiteX146" fmla="*/ 2072640 w 3505200"/>
              <a:gd name="connsiteY146" fmla="*/ 4003040 h 8260080"/>
              <a:gd name="connsiteX147" fmla="*/ 2092960 w 3505200"/>
              <a:gd name="connsiteY147" fmla="*/ 3850640 h 8260080"/>
              <a:gd name="connsiteX148" fmla="*/ 2001520 w 3505200"/>
              <a:gd name="connsiteY148" fmla="*/ 3728720 h 8260080"/>
              <a:gd name="connsiteX149" fmla="*/ 2164080 w 3505200"/>
              <a:gd name="connsiteY149" fmla="*/ 3769360 h 8260080"/>
              <a:gd name="connsiteX150" fmla="*/ 2265680 w 3505200"/>
              <a:gd name="connsiteY150" fmla="*/ 3566160 h 8260080"/>
              <a:gd name="connsiteX151" fmla="*/ 2336800 w 3505200"/>
              <a:gd name="connsiteY151" fmla="*/ 3515360 h 8260080"/>
              <a:gd name="connsiteX152" fmla="*/ 2367280 w 3505200"/>
              <a:gd name="connsiteY152" fmla="*/ 3362960 h 8260080"/>
              <a:gd name="connsiteX153" fmla="*/ 2489200 w 3505200"/>
              <a:gd name="connsiteY153" fmla="*/ 3423920 h 8260080"/>
              <a:gd name="connsiteX154" fmla="*/ 2560320 w 3505200"/>
              <a:gd name="connsiteY154" fmla="*/ 3302000 h 8260080"/>
              <a:gd name="connsiteX155" fmla="*/ 2743200 w 3505200"/>
              <a:gd name="connsiteY155" fmla="*/ 3149600 h 8260080"/>
              <a:gd name="connsiteX156" fmla="*/ 2844800 w 3505200"/>
              <a:gd name="connsiteY156" fmla="*/ 3088640 h 8260080"/>
              <a:gd name="connsiteX157" fmla="*/ 2804160 w 3505200"/>
              <a:gd name="connsiteY157" fmla="*/ 2966720 h 8260080"/>
              <a:gd name="connsiteX158" fmla="*/ 2976880 w 3505200"/>
              <a:gd name="connsiteY158" fmla="*/ 2763520 h 8260080"/>
              <a:gd name="connsiteX159" fmla="*/ 2794000 w 3505200"/>
              <a:gd name="connsiteY159" fmla="*/ 2621280 h 8260080"/>
              <a:gd name="connsiteX160" fmla="*/ 2946400 w 3505200"/>
              <a:gd name="connsiteY160" fmla="*/ 2377440 h 8260080"/>
              <a:gd name="connsiteX161" fmla="*/ 2854960 w 3505200"/>
              <a:gd name="connsiteY161" fmla="*/ 2255520 h 8260080"/>
              <a:gd name="connsiteX162" fmla="*/ 3027680 w 3505200"/>
              <a:gd name="connsiteY162" fmla="*/ 2113280 h 8260080"/>
              <a:gd name="connsiteX163" fmla="*/ 3119120 w 3505200"/>
              <a:gd name="connsiteY163" fmla="*/ 2021840 h 8260080"/>
              <a:gd name="connsiteX164" fmla="*/ 3027680 w 3505200"/>
              <a:gd name="connsiteY164" fmla="*/ 1960880 h 8260080"/>
              <a:gd name="connsiteX165" fmla="*/ 3139440 w 3505200"/>
              <a:gd name="connsiteY165" fmla="*/ 1869440 h 8260080"/>
              <a:gd name="connsiteX166" fmla="*/ 3281680 w 3505200"/>
              <a:gd name="connsiteY166" fmla="*/ 1950720 h 8260080"/>
              <a:gd name="connsiteX167" fmla="*/ 3403600 w 3505200"/>
              <a:gd name="connsiteY167" fmla="*/ 1889760 h 8260080"/>
              <a:gd name="connsiteX168" fmla="*/ 3505200 w 3505200"/>
              <a:gd name="connsiteY168" fmla="*/ 1910080 h 8260080"/>
              <a:gd name="connsiteX169" fmla="*/ 3444240 w 3505200"/>
              <a:gd name="connsiteY169" fmla="*/ 1656080 h 8260080"/>
              <a:gd name="connsiteX170" fmla="*/ 3373120 w 3505200"/>
              <a:gd name="connsiteY170" fmla="*/ 1635760 h 8260080"/>
              <a:gd name="connsiteX171" fmla="*/ 3352800 w 3505200"/>
              <a:gd name="connsiteY171" fmla="*/ 1503680 h 8260080"/>
              <a:gd name="connsiteX172" fmla="*/ 3444240 w 3505200"/>
              <a:gd name="connsiteY172" fmla="*/ 1412240 h 8260080"/>
              <a:gd name="connsiteX173" fmla="*/ 3393440 w 3505200"/>
              <a:gd name="connsiteY173" fmla="*/ 1280160 h 8260080"/>
              <a:gd name="connsiteX174" fmla="*/ 3434080 w 3505200"/>
              <a:gd name="connsiteY174" fmla="*/ 1249680 h 8260080"/>
              <a:gd name="connsiteX175" fmla="*/ 3281680 w 3505200"/>
              <a:gd name="connsiteY175" fmla="*/ 1066800 h 8260080"/>
              <a:gd name="connsiteX176" fmla="*/ 3383280 w 3505200"/>
              <a:gd name="connsiteY176" fmla="*/ 975360 h 8260080"/>
              <a:gd name="connsiteX177" fmla="*/ 3302000 w 3505200"/>
              <a:gd name="connsiteY177" fmla="*/ 924560 h 8260080"/>
              <a:gd name="connsiteX178" fmla="*/ 3190240 w 3505200"/>
              <a:gd name="connsiteY178" fmla="*/ 944880 h 8260080"/>
              <a:gd name="connsiteX179" fmla="*/ 3281680 w 3505200"/>
              <a:gd name="connsiteY179" fmla="*/ 792480 h 8260080"/>
              <a:gd name="connsiteX180" fmla="*/ 3210560 w 3505200"/>
              <a:gd name="connsiteY180" fmla="*/ 650240 h 8260080"/>
              <a:gd name="connsiteX181" fmla="*/ 3302000 w 3505200"/>
              <a:gd name="connsiteY181" fmla="*/ 568960 h 8260080"/>
              <a:gd name="connsiteX182" fmla="*/ 3190240 w 3505200"/>
              <a:gd name="connsiteY182" fmla="*/ 487680 h 8260080"/>
              <a:gd name="connsiteX183" fmla="*/ 3108960 w 3505200"/>
              <a:gd name="connsiteY183" fmla="*/ 528320 h 8260080"/>
              <a:gd name="connsiteX184" fmla="*/ 3108960 w 3505200"/>
              <a:gd name="connsiteY184" fmla="*/ 406400 h 8260080"/>
              <a:gd name="connsiteX185" fmla="*/ 2926080 w 3505200"/>
              <a:gd name="connsiteY185" fmla="*/ 314960 h 8260080"/>
              <a:gd name="connsiteX186" fmla="*/ 2834640 w 3505200"/>
              <a:gd name="connsiteY186" fmla="*/ 355600 h 8260080"/>
              <a:gd name="connsiteX187" fmla="*/ 2682240 w 3505200"/>
              <a:gd name="connsiteY187" fmla="*/ 111760 h 8260080"/>
              <a:gd name="connsiteX188" fmla="*/ 2590800 w 3505200"/>
              <a:gd name="connsiteY188" fmla="*/ 121920 h 8260080"/>
              <a:gd name="connsiteX189" fmla="*/ 2611120 w 3505200"/>
              <a:gd name="connsiteY189" fmla="*/ 0 h 8260080"/>
              <a:gd name="connsiteX190" fmla="*/ 2438400 w 3505200"/>
              <a:gd name="connsiteY19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190574 w 3505200"/>
              <a:gd name="connsiteY70" fmla="*/ 6693346 h 8260080"/>
              <a:gd name="connsiteX71" fmla="*/ 150019 w 3505200"/>
              <a:gd name="connsiteY71" fmla="*/ 6767195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0019 w 3505200"/>
              <a:gd name="connsiteY71" fmla="*/ 6767195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0019 w 3505200"/>
              <a:gd name="connsiteY71" fmla="*/ 6767195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0019 w 3505200"/>
              <a:gd name="connsiteY71" fmla="*/ 6767195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7163 w 3505200"/>
              <a:gd name="connsiteY71" fmla="*/ 6779101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80 w 3505200"/>
              <a:gd name="connsiteY72" fmla="*/ 6959600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26536 w 3505200"/>
              <a:gd name="connsiteY72" fmla="*/ 6973887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26536 w 3505200"/>
              <a:gd name="connsiteY72" fmla="*/ 6973887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25120 w 3505200"/>
              <a:gd name="connsiteY78" fmla="*/ 7355840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25120 w 3505200"/>
              <a:gd name="connsiteY77" fmla="*/ 7254240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25120 w 3505200"/>
              <a:gd name="connsiteY76" fmla="*/ 7254240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56077 w 3505200"/>
              <a:gd name="connsiteY76" fmla="*/ 7270909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56077 w 3505200"/>
              <a:gd name="connsiteY76" fmla="*/ 7270909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335280 w 3505200"/>
              <a:gd name="connsiteY75" fmla="*/ 7193280 h 8260080"/>
              <a:gd name="connsiteX76" fmla="*/ 356077 w 3505200"/>
              <a:gd name="connsiteY76" fmla="*/ 7270909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282892 w 3505200"/>
              <a:gd name="connsiteY75" fmla="*/ 7300436 h 8260080"/>
              <a:gd name="connsiteX76" fmla="*/ 356077 w 3505200"/>
              <a:gd name="connsiteY76" fmla="*/ 7270909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282892 w 3505200"/>
              <a:gd name="connsiteY75" fmla="*/ 7300436 h 8260080"/>
              <a:gd name="connsiteX76" fmla="*/ 334645 w 3505200"/>
              <a:gd name="connsiteY76" fmla="*/ 7194709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282892 w 3505200"/>
              <a:gd name="connsiteY75" fmla="*/ 7300436 h 8260080"/>
              <a:gd name="connsiteX76" fmla="*/ 334645 w 3505200"/>
              <a:gd name="connsiteY76" fmla="*/ 7194709 h 8260080"/>
              <a:gd name="connsiteX77" fmla="*/ 360839 w 3505200"/>
              <a:gd name="connsiteY77" fmla="*/ 7313772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282892 w 3505200"/>
              <a:gd name="connsiteY75" fmla="*/ 7300436 h 8260080"/>
              <a:gd name="connsiteX76" fmla="*/ 334645 w 3505200"/>
              <a:gd name="connsiteY76" fmla="*/ 7194709 h 8260080"/>
              <a:gd name="connsiteX77" fmla="*/ 337026 w 3505200"/>
              <a:gd name="connsiteY77" fmla="*/ 7316154 h 8260080"/>
              <a:gd name="connsiteX78" fmla="*/ 370364 w 3505200"/>
              <a:gd name="connsiteY78" fmla="*/ 7360602 h 8260080"/>
              <a:gd name="connsiteX79" fmla="*/ 447040 w 3505200"/>
              <a:gd name="connsiteY79" fmla="*/ 7366000 h 8260080"/>
              <a:gd name="connsiteX80" fmla="*/ 447040 w 3505200"/>
              <a:gd name="connsiteY80" fmla="*/ 7477760 h 8260080"/>
              <a:gd name="connsiteX81" fmla="*/ 558800 w 3505200"/>
              <a:gd name="connsiteY81" fmla="*/ 7528560 h 8260080"/>
              <a:gd name="connsiteX82" fmla="*/ 508000 w 3505200"/>
              <a:gd name="connsiteY82" fmla="*/ 7630160 h 8260080"/>
              <a:gd name="connsiteX83" fmla="*/ 436880 w 3505200"/>
              <a:gd name="connsiteY83" fmla="*/ 7609840 h 8260080"/>
              <a:gd name="connsiteX84" fmla="*/ 447040 w 3505200"/>
              <a:gd name="connsiteY84" fmla="*/ 7691120 h 8260080"/>
              <a:gd name="connsiteX85" fmla="*/ 518160 w 3505200"/>
              <a:gd name="connsiteY85" fmla="*/ 7741920 h 8260080"/>
              <a:gd name="connsiteX86" fmla="*/ 457200 w 3505200"/>
              <a:gd name="connsiteY86" fmla="*/ 7792720 h 8260080"/>
              <a:gd name="connsiteX87" fmla="*/ 396240 w 3505200"/>
              <a:gd name="connsiteY87" fmla="*/ 7701280 h 8260080"/>
              <a:gd name="connsiteX88" fmla="*/ 396240 w 3505200"/>
              <a:gd name="connsiteY88" fmla="*/ 7701280 h 8260080"/>
              <a:gd name="connsiteX89" fmla="*/ 436880 w 3505200"/>
              <a:gd name="connsiteY89" fmla="*/ 7874000 h 8260080"/>
              <a:gd name="connsiteX90" fmla="*/ 436880 w 3505200"/>
              <a:gd name="connsiteY90" fmla="*/ 7924800 h 8260080"/>
              <a:gd name="connsiteX91" fmla="*/ 548640 w 3505200"/>
              <a:gd name="connsiteY91" fmla="*/ 7965440 h 8260080"/>
              <a:gd name="connsiteX92" fmla="*/ 508000 w 3505200"/>
              <a:gd name="connsiteY92" fmla="*/ 8016240 h 8260080"/>
              <a:gd name="connsiteX93" fmla="*/ 589280 w 3505200"/>
              <a:gd name="connsiteY93" fmla="*/ 8056880 h 8260080"/>
              <a:gd name="connsiteX94" fmla="*/ 497840 w 3505200"/>
              <a:gd name="connsiteY94" fmla="*/ 8117840 h 8260080"/>
              <a:gd name="connsiteX95" fmla="*/ 518160 w 3505200"/>
              <a:gd name="connsiteY95" fmla="*/ 8209280 h 8260080"/>
              <a:gd name="connsiteX96" fmla="*/ 640080 w 3505200"/>
              <a:gd name="connsiteY96" fmla="*/ 8260080 h 8260080"/>
              <a:gd name="connsiteX97" fmla="*/ 731520 w 3505200"/>
              <a:gd name="connsiteY97" fmla="*/ 8219440 h 8260080"/>
              <a:gd name="connsiteX98" fmla="*/ 853440 w 3505200"/>
              <a:gd name="connsiteY98" fmla="*/ 8209280 h 8260080"/>
              <a:gd name="connsiteX99" fmla="*/ 955040 w 3505200"/>
              <a:gd name="connsiteY99" fmla="*/ 8260080 h 8260080"/>
              <a:gd name="connsiteX100" fmla="*/ 965200 w 3505200"/>
              <a:gd name="connsiteY100" fmla="*/ 8107680 h 8260080"/>
              <a:gd name="connsiteX101" fmla="*/ 894080 w 3505200"/>
              <a:gd name="connsiteY101" fmla="*/ 8026400 h 8260080"/>
              <a:gd name="connsiteX102" fmla="*/ 1016000 w 3505200"/>
              <a:gd name="connsiteY102" fmla="*/ 7863840 h 8260080"/>
              <a:gd name="connsiteX103" fmla="*/ 1107440 w 3505200"/>
              <a:gd name="connsiteY103" fmla="*/ 7894320 h 8260080"/>
              <a:gd name="connsiteX104" fmla="*/ 1127760 w 3505200"/>
              <a:gd name="connsiteY104" fmla="*/ 7853680 h 8260080"/>
              <a:gd name="connsiteX105" fmla="*/ 1066800 w 3505200"/>
              <a:gd name="connsiteY105" fmla="*/ 7813040 h 8260080"/>
              <a:gd name="connsiteX106" fmla="*/ 1137920 w 3505200"/>
              <a:gd name="connsiteY106" fmla="*/ 7762240 h 8260080"/>
              <a:gd name="connsiteX107" fmla="*/ 1330960 w 3505200"/>
              <a:gd name="connsiteY107" fmla="*/ 7802880 h 8260080"/>
              <a:gd name="connsiteX108" fmla="*/ 1361440 w 3505200"/>
              <a:gd name="connsiteY108" fmla="*/ 7772400 h 8260080"/>
              <a:gd name="connsiteX109" fmla="*/ 1483360 w 3505200"/>
              <a:gd name="connsiteY109" fmla="*/ 7823200 h 8260080"/>
              <a:gd name="connsiteX110" fmla="*/ 1554480 w 3505200"/>
              <a:gd name="connsiteY110" fmla="*/ 7731760 h 8260080"/>
              <a:gd name="connsiteX111" fmla="*/ 1524000 w 3505200"/>
              <a:gd name="connsiteY111" fmla="*/ 7640320 h 8260080"/>
              <a:gd name="connsiteX112" fmla="*/ 1645920 w 3505200"/>
              <a:gd name="connsiteY112" fmla="*/ 7437120 h 8260080"/>
              <a:gd name="connsiteX113" fmla="*/ 1635760 w 3505200"/>
              <a:gd name="connsiteY113" fmla="*/ 7335520 h 8260080"/>
              <a:gd name="connsiteX114" fmla="*/ 1696720 w 3505200"/>
              <a:gd name="connsiteY114" fmla="*/ 7223760 h 8260080"/>
              <a:gd name="connsiteX115" fmla="*/ 1625600 w 3505200"/>
              <a:gd name="connsiteY115" fmla="*/ 7172960 h 8260080"/>
              <a:gd name="connsiteX116" fmla="*/ 1747520 w 3505200"/>
              <a:gd name="connsiteY116" fmla="*/ 6990080 h 8260080"/>
              <a:gd name="connsiteX117" fmla="*/ 1666240 w 3505200"/>
              <a:gd name="connsiteY117" fmla="*/ 6939280 h 8260080"/>
              <a:gd name="connsiteX118" fmla="*/ 1737360 w 3505200"/>
              <a:gd name="connsiteY118" fmla="*/ 6888480 h 8260080"/>
              <a:gd name="connsiteX119" fmla="*/ 1645920 w 3505200"/>
              <a:gd name="connsiteY119" fmla="*/ 6776720 h 8260080"/>
              <a:gd name="connsiteX120" fmla="*/ 1808480 w 3505200"/>
              <a:gd name="connsiteY120" fmla="*/ 6715760 h 8260080"/>
              <a:gd name="connsiteX121" fmla="*/ 1727200 w 3505200"/>
              <a:gd name="connsiteY121" fmla="*/ 6614160 h 8260080"/>
              <a:gd name="connsiteX122" fmla="*/ 1686560 w 3505200"/>
              <a:gd name="connsiteY122" fmla="*/ 6421120 h 8260080"/>
              <a:gd name="connsiteX123" fmla="*/ 1889760 w 3505200"/>
              <a:gd name="connsiteY123" fmla="*/ 6299200 h 8260080"/>
              <a:gd name="connsiteX124" fmla="*/ 1940560 w 3505200"/>
              <a:gd name="connsiteY124" fmla="*/ 6228080 h 8260080"/>
              <a:gd name="connsiteX125" fmla="*/ 2032000 w 3505200"/>
              <a:gd name="connsiteY125" fmla="*/ 6136640 h 8260080"/>
              <a:gd name="connsiteX126" fmla="*/ 2011680 w 3505200"/>
              <a:gd name="connsiteY126" fmla="*/ 6014720 h 8260080"/>
              <a:gd name="connsiteX127" fmla="*/ 2123440 w 3505200"/>
              <a:gd name="connsiteY127" fmla="*/ 6065520 h 8260080"/>
              <a:gd name="connsiteX128" fmla="*/ 2092960 w 3505200"/>
              <a:gd name="connsiteY128" fmla="*/ 6167120 h 8260080"/>
              <a:gd name="connsiteX129" fmla="*/ 2286000 w 3505200"/>
              <a:gd name="connsiteY129" fmla="*/ 5933440 h 8260080"/>
              <a:gd name="connsiteX130" fmla="*/ 2255520 w 3505200"/>
              <a:gd name="connsiteY130" fmla="*/ 5801360 h 8260080"/>
              <a:gd name="connsiteX131" fmla="*/ 2448560 w 3505200"/>
              <a:gd name="connsiteY131" fmla="*/ 5598160 h 8260080"/>
              <a:gd name="connsiteX132" fmla="*/ 2357120 w 3505200"/>
              <a:gd name="connsiteY132" fmla="*/ 5435600 h 8260080"/>
              <a:gd name="connsiteX133" fmla="*/ 2225040 w 3505200"/>
              <a:gd name="connsiteY133" fmla="*/ 5415280 h 8260080"/>
              <a:gd name="connsiteX134" fmla="*/ 2103120 w 3505200"/>
              <a:gd name="connsiteY134" fmla="*/ 5222240 h 8260080"/>
              <a:gd name="connsiteX135" fmla="*/ 2092960 w 3505200"/>
              <a:gd name="connsiteY135" fmla="*/ 5110480 h 8260080"/>
              <a:gd name="connsiteX136" fmla="*/ 2052320 w 3505200"/>
              <a:gd name="connsiteY136" fmla="*/ 5151120 h 8260080"/>
              <a:gd name="connsiteX137" fmla="*/ 2042160 w 3505200"/>
              <a:gd name="connsiteY137" fmla="*/ 5242560 h 8260080"/>
              <a:gd name="connsiteX138" fmla="*/ 1981200 w 3505200"/>
              <a:gd name="connsiteY138" fmla="*/ 5191760 h 8260080"/>
              <a:gd name="connsiteX139" fmla="*/ 2011680 w 3505200"/>
              <a:gd name="connsiteY139" fmla="*/ 5120640 h 8260080"/>
              <a:gd name="connsiteX140" fmla="*/ 1930400 w 3505200"/>
              <a:gd name="connsiteY140" fmla="*/ 5100320 h 8260080"/>
              <a:gd name="connsiteX141" fmla="*/ 1859280 w 3505200"/>
              <a:gd name="connsiteY141" fmla="*/ 4917440 h 8260080"/>
              <a:gd name="connsiteX142" fmla="*/ 1828800 w 3505200"/>
              <a:gd name="connsiteY142" fmla="*/ 4622800 h 8260080"/>
              <a:gd name="connsiteX143" fmla="*/ 1910080 w 3505200"/>
              <a:gd name="connsiteY143" fmla="*/ 4419600 h 8260080"/>
              <a:gd name="connsiteX144" fmla="*/ 1920240 w 3505200"/>
              <a:gd name="connsiteY144" fmla="*/ 4277360 h 8260080"/>
              <a:gd name="connsiteX145" fmla="*/ 1971040 w 3505200"/>
              <a:gd name="connsiteY145" fmla="*/ 4124960 h 8260080"/>
              <a:gd name="connsiteX146" fmla="*/ 1879600 w 3505200"/>
              <a:gd name="connsiteY146" fmla="*/ 4023360 h 8260080"/>
              <a:gd name="connsiteX147" fmla="*/ 2072640 w 3505200"/>
              <a:gd name="connsiteY147" fmla="*/ 4003040 h 8260080"/>
              <a:gd name="connsiteX148" fmla="*/ 2092960 w 3505200"/>
              <a:gd name="connsiteY148" fmla="*/ 3850640 h 8260080"/>
              <a:gd name="connsiteX149" fmla="*/ 2001520 w 3505200"/>
              <a:gd name="connsiteY149" fmla="*/ 3728720 h 8260080"/>
              <a:gd name="connsiteX150" fmla="*/ 2164080 w 3505200"/>
              <a:gd name="connsiteY150" fmla="*/ 3769360 h 8260080"/>
              <a:gd name="connsiteX151" fmla="*/ 2265680 w 3505200"/>
              <a:gd name="connsiteY151" fmla="*/ 3566160 h 8260080"/>
              <a:gd name="connsiteX152" fmla="*/ 2336800 w 3505200"/>
              <a:gd name="connsiteY152" fmla="*/ 3515360 h 8260080"/>
              <a:gd name="connsiteX153" fmla="*/ 2367280 w 3505200"/>
              <a:gd name="connsiteY153" fmla="*/ 3362960 h 8260080"/>
              <a:gd name="connsiteX154" fmla="*/ 2489200 w 3505200"/>
              <a:gd name="connsiteY154" fmla="*/ 3423920 h 8260080"/>
              <a:gd name="connsiteX155" fmla="*/ 2560320 w 3505200"/>
              <a:gd name="connsiteY155" fmla="*/ 3302000 h 8260080"/>
              <a:gd name="connsiteX156" fmla="*/ 2743200 w 3505200"/>
              <a:gd name="connsiteY156" fmla="*/ 3149600 h 8260080"/>
              <a:gd name="connsiteX157" fmla="*/ 2844800 w 3505200"/>
              <a:gd name="connsiteY157" fmla="*/ 3088640 h 8260080"/>
              <a:gd name="connsiteX158" fmla="*/ 2804160 w 3505200"/>
              <a:gd name="connsiteY158" fmla="*/ 2966720 h 8260080"/>
              <a:gd name="connsiteX159" fmla="*/ 2976880 w 3505200"/>
              <a:gd name="connsiteY159" fmla="*/ 2763520 h 8260080"/>
              <a:gd name="connsiteX160" fmla="*/ 2794000 w 3505200"/>
              <a:gd name="connsiteY160" fmla="*/ 2621280 h 8260080"/>
              <a:gd name="connsiteX161" fmla="*/ 2946400 w 3505200"/>
              <a:gd name="connsiteY161" fmla="*/ 2377440 h 8260080"/>
              <a:gd name="connsiteX162" fmla="*/ 2854960 w 3505200"/>
              <a:gd name="connsiteY162" fmla="*/ 2255520 h 8260080"/>
              <a:gd name="connsiteX163" fmla="*/ 3027680 w 3505200"/>
              <a:gd name="connsiteY163" fmla="*/ 2113280 h 8260080"/>
              <a:gd name="connsiteX164" fmla="*/ 3119120 w 3505200"/>
              <a:gd name="connsiteY164" fmla="*/ 2021840 h 8260080"/>
              <a:gd name="connsiteX165" fmla="*/ 3027680 w 3505200"/>
              <a:gd name="connsiteY165" fmla="*/ 1960880 h 8260080"/>
              <a:gd name="connsiteX166" fmla="*/ 3139440 w 3505200"/>
              <a:gd name="connsiteY166" fmla="*/ 1869440 h 8260080"/>
              <a:gd name="connsiteX167" fmla="*/ 3281680 w 3505200"/>
              <a:gd name="connsiteY167" fmla="*/ 1950720 h 8260080"/>
              <a:gd name="connsiteX168" fmla="*/ 3403600 w 3505200"/>
              <a:gd name="connsiteY168" fmla="*/ 1889760 h 8260080"/>
              <a:gd name="connsiteX169" fmla="*/ 3505200 w 3505200"/>
              <a:gd name="connsiteY169" fmla="*/ 1910080 h 8260080"/>
              <a:gd name="connsiteX170" fmla="*/ 3444240 w 3505200"/>
              <a:gd name="connsiteY170" fmla="*/ 1656080 h 8260080"/>
              <a:gd name="connsiteX171" fmla="*/ 3373120 w 3505200"/>
              <a:gd name="connsiteY171" fmla="*/ 1635760 h 8260080"/>
              <a:gd name="connsiteX172" fmla="*/ 3352800 w 3505200"/>
              <a:gd name="connsiteY172" fmla="*/ 1503680 h 8260080"/>
              <a:gd name="connsiteX173" fmla="*/ 3444240 w 3505200"/>
              <a:gd name="connsiteY173" fmla="*/ 1412240 h 8260080"/>
              <a:gd name="connsiteX174" fmla="*/ 3393440 w 3505200"/>
              <a:gd name="connsiteY174" fmla="*/ 1280160 h 8260080"/>
              <a:gd name="connsiteX175" fmla="*/ 3434080 w 3505200"/>
              <a:gd name="connsiteY175" fmla="*/ 1249680 h 8260080"/>
              <a:gd name="connsiteX176" fmla="*/ 3281680 w 3505200"/>
              <a:gd name="connsiteY176" fmla="*/ 1066800 h 8260080"/>
              <a:gd name="connsiteX177" fmla="*/ 3383280 w 3505200"/>
              <a:gd name="connsiteY177" fmla="*/ 975360 h 8260080"/>
              <a:gd name="connsiteX178" fmla="*/ 3302000 w 3505200"/>
              <a:gd name="connsiteY178" fmla="*/ 924560 h 8260080"/>
              <a:gd name="connsiteX179" fmla="*/ 3190240 w 3505200"/>
              <a:gd name="connsiteY179" fmla="*/ 944880 h 8260080"/>
              <a:gd name="connsiteX180" fmla="*/ 3281680 w 3505200"/>
              <a:gd name="connsiteY180" fmla="*/ 792480 h 8260080"/>
              <a:gd name="connsiteX181" fmla="*/ 3210560 w 3505200"/>
              <a:gd name="connsiteY181" fmla="*/ 650240 h 8260080"/>
              <a:gd name="connsiteX182" fmla="*/ 3302000 w 3505200"/>
              <a:gd name="connsiteY182" fmla="*/ 568960 h 8260080"/>
              <a:gd name="connsiteX183" fmla="*/ 3190240 w 3505200"/>
              <a:gd name="connsiteY183" fmla="*/ 487680 h 8260080"/>
              <a:gd name="connsiteX184" fmla="*/ 3108960 w 3505200"/>
              <a:gd name="connsiteY184" fmla="*/ 528320 h 8260080"/>
              <a:gd name="connsiteX185" fmla="*/ 3108960 w 3505200"/>
              <a:gd name="connsiteY185" fmla="*/ 406400 h 8260080"/>
              <a:gd name="connsiteX186" fmla="*/ 2926080 w 3505200"/>
              <a:gd name="connsiteY186" fmla="*/ 314960 h 8260080"/>
              <a:gd name="connsiteX187" fmla="*/ 2834640 w 3505200"/>
              <a:gd name="connsiteY187" fmla="*/ 355600 h 8260080"/>
              <a:gd name="connsiteX188" fmla="*/ 2682240 w 3505200"/>
              <a:gd name="connsiteY188" fmla="*/ 111760 h 8260080"/>
              <a:gd name="connsiteX189" fmla="*/ 2590800 w 3505200"/>
              <a:gd name="connsiteY189" fmla="*/ 121920 h 8260080"/>
              <a:gd name="connsiteX190" fmla="*/ 2611120 w 3505200"/>
              <a:gd name="connsiteY190" fmla="*/ 0 h 8260080"/>
              <a:gd name="connsiteX191" fmla="*/ 2438400 w 3505200"/>
              <a:gd name="connsiteY19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282892 w 3505200"/>
              <a:gd name="connsiteY75" fmla="*/ 7300436 h 8260080"/>
              <a:gd name="connsiteX76" fmla="*/ 334645 w 3505200"/>
              <a:gd name="connsiteY76" fmla="*/ 7194709 h 8260080"/>
              <a:gd name="connsiteX77" fmla="*/ 354881 w 3505200"/>
              <a:gd name="connsiteY77" fmla="*/ 7257702 h 8260080"/>
              <a:gd name="connsiteX78" fmla="*/ 337026 w 3505200"/>
              <a:gd name="connsiteY78" fmla="*/ 7316154 h 8260080"/>
              <a:gd name="connsiteX79" fmla="*/ 370364 w 3505200"/>
              <a:gd name="connsiteY79" fmla="*/ 7360602 h 8260080"/>
              <a:gd name="connsiteX80" fmla="*/ 447040 w 3505200"/>
              <a:gd name="connsiteY80" fmla="*/ 7366000 h 8260080"/>
              <a:gd name="connsiteX81" fmla="*/ 447040 w 3505200"/>
              <a:gd name="connsiteY81" fmla="*/ 7477760 h 8260080"/>
              <a:gd name="connsiteX82" fmla="*/ 558800 w 3505200"/>
              <a:gd name="connsiteY82" fmla="*/ 7528560 h 8260080"/>
              <a:gd name="connsiteX83" fmla="*/ 508000 w 3505200"/>
              <a:gd name="connsiteY83" fmla="*/ 7630160 h 8260080"/>
              <a:gd name="connsiteX84" fmla="*/ 436880 w 3505200"/>
              <a:gd name="connsiteY84" fmla="*/ 7609840 h 8260080"/>
              <a:gd name="connsiteX85" fmla="*/ 447040 w 3505200"/>
              <a:gd name="connsiteY85" fmla="*/ 7691120 h 8260080"/>
              <a:gd name="connsiteX86" fmla="*/ 518160 w 3505200"/>
              <a:gd name="connsiteY86" fmla="*/ 7741920 h 8260080"/>
              <a:gd name="connsiteX87" fmla="*/ 457200 w 3505200"/>
              <a:gd name="connsiteY87" fmla="*/ 7792720 h 8260080"/>
              <a:gd name="connsiteX88" fmla="*/ 396240 w 3505200"/>
              <a:gd name="connsiteY88" fmla="*/ 7701280 h 8260080"/>
              <a:gd name="connsiteX89" fmla="*/ 396240 w 3505200"/>
              <a:gd name="connsiteY89" fmla="*/ 7701280 h 8260080"/>
              <a:gd name="connsiteX90" fmla="*/ 436880 w 3505200"/>
              <a:gd name="connsiteY90" fmla="*/ 7874000 h 8260080"/>
              <a:gd name="connsiteX91" fmla="*/ 436880 w 3505200"/>
              <a:gd name="connsiteY91" fmla="*/ 7924800 h 8260080"/>
              <a:gd name="connsiteX92" fmla="*/ 548640 w 3505200"/>
              <a:gd name="connsiteY92" fmla="*/ 7965440 h 8260080"/>
              <a:gd name="connsiteX93" fmla="*/ 508000 w 3505200"/>
              <a:gd name="connsiteY93" fmla="*/ 8016240 h 8260080"/>
              <a:gd name="connsiteX94" fmla="*/ 589280 w 3505200"/>
              <a:gd name="connsiteY94" fmla="*/ 8056880 h 8260080"/>
              <a:gd name="connsiteX95" fmla="*/ 497840 w 3505200"/>
              <a:gd name="connsiteY95" fmla="*/ 8117840 h 8260080"/>
              <a:gd name="connsiteX96" fmla="*/ 518160 w 3505200"/>
              <a:gd name="connsiteY96" fmla="*/ 8209280 h 8260080"/>
              <a:gd name="connsiteX97" fmla="*/ 640080 w 3505200"/>
              <a:gd name="connsiteY97" fmla="*/ 8260080 h 8260080"/>
              <a:gd name="connsiteX98" fmla="*/ 731520 w 3505200"/>
              <a:gd name="connsiteY98" fmla="*/ 8219440 h 8260080"/>
              <a:gd name="connsiteX99" fmla="*/ 853440 w 3505200"/>
              <a:gd name="connsiteY99" fmla="*/ 8209280 h 8260080"/>
              <a:gd name="connsiteX100" fmla="*/ 955040 w 3505200"/>
              <a:gd name="connsiteY100" fmla="*/ 8260080 h 8260080"/>
              <a:gd name="connsiteX101" fmla="*/ 965200 w 3505200"/>
              <a:gd name="connsiteY101" fmla="*/ 8107680 h 8260080"/>
              <a:gd name="connsiteX102" fmla="*/ 894080 w 3505200"/>
              <a:gd name="connsiteY102" fmla="*/ 8026400 h 8260080"/>
              <a:gd name="connsiteX103" fmla="*/ 1016000 w 3505200"/>
              <a:gd name="connsiteY103" fmla="*/ 7863840 h 8260080"/>
              <a:gd name="connsiteX104" fmla="*/ 1107440 w 3505200"/>
              <a:gd name="connsiteY104" fmla="*/ 7894320 h 8260080"/>
              <a:gd name="connsiteX105" fmla="*/ 1127760 w 3505200"/>
              <a:gd name="connsiteY105" fmla="*/ 7853680 h 8260080"/>
              <a:gd name="connsiteX106" fmla="*/ 1066800 w 3505200"/>
              <a:gd name="connsiteY106" fmla="*/ 7813040 h 8260080"/>
              <a:gd name="connsiteX107" fmla="*/ 1137920 w 3505200"/>
              <a:gd name="connsiteY107" fmla="*/ 7762240 h 8260080"/>
              <a:gd name="connsiteX108" fmla="*/ 1330960 w 3505200"/>
              <a:gd name="connsiteY108" fmla="*/ 7802880 h 8260080"/>
              <a:gd name="connsiteX109" fmla="*/ 1361440 w 3505200"/>
              <a:gd name="connsiteY109" fmla="*/ 7772400 h 8260080"/>
              <a:gd name="connsiteX110" fmla="*/ 1483360 w 3505200"/>
              <a:gd name="connsiteY110" fmla="*/ 7823200 h 8260080"/>
              <a:gd name="connsiteX111" fmla="*/ 1554480 w 3505200"/>
              <a:gd name="connsiteY111" fmla="*/ 7731760 h 8260080"/>
              <a:gd name="connsiteX112" fmla="*/ 1524000 w 3505200"/>
              <a:gd name="connsiteY112" fmla="*/ 7640320 h 8260080"/>
              <a:gd name="connsiteX113" fmla="*/ 1645920 w 3505200"/>
              <a:gd name="connsiteY113" fmla="*/ 7437120 h 8260080"/>
              <a:gd name="connsiteX114" fmla="*/ 1635760 w 3505200"/>
              <a:gd name="connsiteY114" fmla="*/ 7335520 h 8260080"/>
              <a:gd name="connsiteX115" fmla="*/ 1696720 w 3505200"/>
              <a:gd name="connsiteY115" fmla="*/ 7223760 h 8260080"/>
              <a:gd name="connsiteX116" fmla="*/ 1625600 w 3505200"/>
              <a:gd name="connsiteY116" fmla="*/ 7172960 h 8260080"/>
              <a:gd name="connsiteX117" fmla="*/ 1747520 w 3505200"/>
              <a:gd name="connsiteY117" fmla="*/ 6990080 h 8260080"/>
              <a:gd name="connsiteX118" fmla="*/ 1666240 w 3505200"/>
              <a:gd name="connsiteY118" fmla="*/ 6939280 h 8260080"/>
              <a:gd name="connsiteX119" fmla="*/ 1737360 w 3505200"/>
              <a:gd name="connsiteY119" fmla="*/ 6888480 h 8260080"/>
              <a:gd name="connsiteX120" fmla="*/ 1645920 w 3505200"/>
              <a:gd name="connsiteY120" fmla="*/ 6776720 h 8260080"/>
              <a:gd name="connsiteX121" fmla="*/ 1808480 w 3505200"/>
              <a:gd name="connsiteY121" fmla="*/ 6715760 h 8260080"/>
              <a:gd name="connsiteX122" fmla="*/ 1727200 w 3505200"/>
              <a:gd name="connsiteY122" fmla="*/ 6614160 h 8260080"/>
              <a:gd name="connsiteX123" fmla="*/ 1686560 w 3505200"/>
              <a:gd name="connsiteY123" fmla="*/ 6421120 h 8260080"/>
              <a:gd name="connsiteX124" fmla="*/ 1889760 w 3505200"/>
              <a:gd name="connsiteY124" fmla="*/ 6299200 h 8260080"/>
              <a:gd name="connsiteX125" fmla="*/ 1940560 w 3505200"/>
              <a:gd name="connsiteY125" fmla="*/ 6228080 h 8260080"/>
              <a:gd name="connsiteX126" fmla="*/ 2032000 w 3505200"/>
              <a:gd name="connsiteY126" fmla="*/ 6136640 h 8260080"/>
              <a:gd name="connsiteX127" fmla="*/ 2011680 w 3505200"/>
              <a:gd name="connsiteY127" fmla="*/ 6014720 h 8260080"/>
              <a:gd name="connsiteX128" fmla="*/ 2123440 w 3505200"/>
              <a:gd name="connsiteY128" fmla="*/ 6065520 h 8260080"/>
              <a:gd name="connsiteX129" fmla="*/ 2092960 w 3505200"/>
              <a:gd name="connsiteY129" fmla="*/ 6167120 h 8260080"/>
              <a:gd name="connsiteX130" fmla="*/ 2286000 w 3505200"/>
              <a:gd name="connsiteY130" fmla="*/ 5933440 h 8260080"/>
              <a:gd name="connsiteX131" fmla="*/ 2255520 w 3505200"/>
              <a:gd name="connsiteY131" fmla="*/ 5801360 h 8260080"/>
              <a:gd name="connsiteX132" fmla="*/ 2448560 w 3505200"/>
              <a:gd name="connsiteY132" fmla="*/ 5598160 h 8260080"/>
              <a:gd name="connsiteX133" fmla="*/ 2357120 w 3505200"/>
              <a:gd name="connsiteY133" fmla="*/ 5435600 h 8260080"/>
              <a:gd name="connsiteX134" fmla="*/ 2225040 w 3505200"/>
              <a:gd name="connsiteY134" fmla="*/ 5415280 h 8260080"/>
              <a:gd name="connsiteX135" fmla="*/ 2103120 w 3505200"/>
              <a:gd name="connsiteY135" fmla="*/ 5222240 h 8260080"/>
              <a:gd name="connsiteX136" fmla="*/ 2092960 w 3505200"/>
              <a:gd name="connsiteY136" fmla="*/ 5110480 h 8260080"/>
              <a:gd name="connsiteX137" fmla="*/ 2052320 w 3505200"/>
              <a:gd name="connsiteY137" fmla="*/ 5151120 h 8260080"/>
              <a:gd name="connsiteX138" fmla="*/ 2042160 w 3505200"/>
              <a:gd name="connsiteY138" fmla="*/ 5242560 h 8260080"/>
              <a:gd name="connsiteX139" fmla="*/ 1981200 w 3505200"/>
              <a:gd name="connsiteY139" fmla="*/ 5191760 h 8260080"/>
              <a:gd name="connsiteX140" fmla="*/ 2011680 w 3505200"/>
              <a:gd name="connsiteY140" fmla="*/ 5120640 h 8260080"/>
              <a:gd name="connsiteX141" fmla="*/ 1930400 w 3505200"/>
              <a:gd name="connsiteY141" fmla="*/ 5100320 h 8260080"/>
              <a:gd name="connsiteX142" fmla="*/ 1859280 w 3505200"/>
              <a:gd name="connsiteY142" fmla="*/ 4917440 h 8260080"/>
              <a:gd name="connsiteX143" fmla="*/ 1828800 w 3505200"/>
              <a:gd name="connsiteY143" fmla="*/ 4622800 h 8260080"/>
              <a:gd name="connsiteX144" fmla="*/ 1910080 w 3505200"/>
              <a:gd name="connsiteY144" fmla="*/ 4419600 h 8260080"/>
              <a:gd name="connsiteX145" fmla="*/ 1920240 w 3505200"/>
              <a:gd name="connsiteY145" fmla="*/ 4277360 h 8260080"/>
              <a:gd name="connsiteX146" fmla="*/ 1971040 w 3505200"/>
              <a:gd name="connsiteY146" fmla="*/ 4124960 h 8260080"/>
              <a:gd name="connsiteX147" fmla="*/ 1879600 w 3505200"/>
              <a:gd name="connsiteY147" fmla="*/ 4023360 h 8260080"/>
              <a:gd name="connsiteX148" fmla="*/ 2072640 w 3505200"/>
              <a:gd name="connsiteY148" fmla="*/ 4003040 h 8260080"/>
              <a:gd name="connsiteX149" fmla="*/ 2092960 w 3505200"/>
              <a:gd name="connsiteY149" fmla="*/ 3850640 h 8260080"/>
              <a:gd name="connsiteX150" fmla="*/ 2001520 w 3505200"/>
              <a:gd name="connsiteY150" fmla="*/ 3728720 h 8260080"/>
              <a:gd name="connsiteX151" fmla="*/ 2164080 w 3505200"/>
              <a:gd name="connsiteY151" fmla="*/ 3769360 h 8260080"/>
              <a:gd name="connsiteX152" fmla="*/ 2265680 w 3505200"/>
              <a:gd name="connsiteY152" fmla="*/ 3566160 h 8260080"/>
              <a:gd name="connsiteX153" fmla="*/ 2336800 w 3505200"/>
              <a:gd name="connsiteY153" fmla="*/ 3515360 h 8260080"/>
              <a:gd name="connsiteX154" fmla="*/ 2367280 w 3505200"/>
              <a:gd name="connsiteY154" fmla="*/ 3362960 h 8260080"/>
              <a:gd name="connsiteX155" fmla="*/ 2489200 w 3505200"/>
              <a:gd name="connsiteY155" fmla="*/ 3423920 h 8260080"/>
              <a:gd name="connsiteX156" fmla="*/ 2560320 w 3505200"/>
              <a:gd name="connsiteY156" fmla="*/ 3302000 h 8260080"/>
              <a:gd name="connsiteX157" fmla="*/ 2743200 w 3505200"/>
              <a:gd name="connsiteY157" fmla="*/ 3149600 h 8260080"/>
              <a:gd name="connsiteX158" fmla="*/ 2844800 w 3505200"/>
              <a:gd name="connsiteY158" fmla="*/ 3088640 h 8260080"/>
              <a:gd name="connsiteX159" fmla="*/ 2804160 w 3505200"/>
              <a:gd name="connsiteY159" fmla="*/ 2966720 h 8260080"/>
              <a:gd name="connsiteX160" fmla="*/ 2976880 w 3505200"/>
              <a:gd name="connsiteY160" fmla="*/ 2763520 h 8260080"/>
              <a:gd name="connsiteX161" fmla="*/ 2794000 w 3505200"/>
              <a:gd name="connsiteY161" fmla="*/ 2621280 h 8260080"/>
              <a:gd name="connsiteX162" fmla="*/ 2946400 w 3505200"/>
              <a:gd name="connsiteY162" fmla="*/ 2377440 h 8260080"/>
              <a:gd name="connsiteX163" fmla="*/ 2854960 w 3505200"/>
              <a:gd name="connsiteY163" fmla="*/ 2255520 h 8260080"/>
              <a:gd name="connsiteX164" fmla="*/ 3027680 w 3505200"/>
              <a:gd name="connsiteY164" fmla="*/ 2113280 h 8260080"/>
              <a:gd name="connsiteX165" fmla="*/ 3119120 w 3505200"/>
              <a:gd name="connsiteY165" fmla="*/ 2021840 h 8260080"/>
              <a:gd name="connsiteX166" fmla="*/ 3027680 w 3505200"/>
              <a:gd name="connsiteY166" fmla="*/ 1960880 h 8260080"/>
              <a:gd name="connsiteX167" fmla="*/ 3139440 w 3505200"/>
              <a:gd name="connsiteY167" fmla="*/ 1869440 h 8260080"/>
              <a:gd name="connsiteX168" fmla="*/ 3281680 w 3505200"/>
              <a:gd name="connsiteY168" fmla="*/ 1950720 h 8260080"/>
              <a:gd name="connsiteX169" fmla="*/ 3403600 w 3505200"/>
              <a:gd name="connsiteY169" fmla="*/ 1889760 h 8260080"/>
              <a:gd name="connsiteX170" fmla="*/ 3505200 w 3505200"/>
              <a:gd name="connsiteY170" fmla="*/ 1910080 h 8260080"/>
              <a:gd name="connsiteX171" fmla="*/ 3444240 w 3505200"/>
              <a:gd name="connsiteY171" fmla="*/ 1656080 h 8260080"/>
              <a:gd name="connsiteX172" fmla="*/ 3373120 w 3505200"/>
              <a:gd name="connsiteY172" fmla="*/ 1635760 h 8260080"/>
              <a:gd name="connsiteX173" fmla="*/ 3352800 w 3505200"/>
              <a:gd name="connsiteY173" fmla="*/ 1503680 h 8260080"/>
              <a:gd name="connsiteX174" fmla="*/ 3444240 w 3505200"/>
              <a:gd name="connsiteY174" fmla="*/ 1412240 h 8260080"/>
              <a:gd name="connsiteX175" fmla="*/ 3393440 w 3505200"/>
              <a:gd name="connsiteY175" fmla="*/ 1280160 h 8260080"/>
              <a:gd name="connsiteX176" fmla="*/ 3434080 w 3505200"/>
              <a:gd name="connsiteY176" fmla="*/ 1249680 h 8260080"/>
              <a:gd name="connsiteX177" fmla="*/ 3281680 w 3505200"/>
              <a:gd name="connsiteY177" fmla="*/ 1066800 h 8260080"/>
              <a:gd name="connsiteX178" fmla="*/ 3383280 w 3505200"/>
              <a:gd name="connsiteY178" fmla="*/ 975360 h 8260080"/>
              <a:gd name="connsiteX179" fmla="*/ 3302000 w 3505200"/>
              <a:gd name="connsiteY179" fmla="*/ 924560 h 8260080"/>
              <a:gd name="connsiteX180" fmla="*/ 3190240 w 3505200"/>
              <a:gd name="connsiteY180" fmla="*/ 944880 h 8260080"/>
              <a:gd name="connsiteX181" fmla="*/ 3281680 w 3505200"/>
              <a:gd name="connsiteY181" fmla="*/ 792480 h 8260080"/>
              <a:gd name="connsiteX182" fmla="*/ 3210560 w 3505200"/>
              <a:gd name="connsiteY182" fmla="*/ 650240 h 8260080"/>
              <a:gd name="connsiteX183" fmla="*/ 3302000 w 3505200"/>
              <a:gd name="connsiteY183" fmla="*/ 568960 h 8260080"/>
              <a:gd name="connsiteX184" fmla="*/ 3190240 w 3505200"/>
              <a:gd name="connsiteY184" fmla="*/ 487680 h 8260080"/>
              <a:gd name="connsiteX185" fmla="*/ 3108960 w 3505200"/>
              <a:gd name="connsiteY185" fmla="*/ 528320 h 8260080"/>
              <a:gd name="connsiteX186" fmla="*/ 3108960 w 3505200"/>
              <a:gd name="connsiteY186" fmla="*/ 406400 h 8260080"/>
              <a:gd name="connsiteX187" fmla="*/ 2926080 w 3505200"/>
              <a:gd name="connsiteY187" fmla="*/ 314960 h 8260080"/>
              <a:gd name="connsiteX188" fmla="*/ 2834640 w 3505200"/>
              <a:gd name="connsiteY188" fmla="*/ 355600 h 8260080"/>
              <a:gd name="connsiteX189" fmla="*/ 2682240 w 3505200"/>
              <a:gd name="connsiteY189" fmla="*/ 111760 h 8260080"/>
              <a:gd name="connsiteX190" fmla="*/ 2590800 w 3505200"/>
              <a:gd name="connsiteY190" fmla="*/ 121920 h 8260080"/>
              <a:gd name="connsiteX191" fmla="*/ 2611120 w 3505200"/>
              <a:gd name="connsiteY191" fmla="*/ 0 h 8260080"/>
              <a:gd name="connsiteX192" fmla="*/ 2438400 w 3505200"/>
              <a:gd name="connsiteY19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64160 w 3505200"/>
              <a:gd name="connsiteY74" fmla="*/ 7122160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304800 w 3505200"/>
              <a:gd name="connsiteY73" fmla="*/ 7020560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43205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2481 w 3505200"/>
              <a:gd name="connsiteY70" fmla="*/ 6705252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9624 w 3505200"/>
              <a:gd name="connsiteY70" fmla="*/ 6602858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9624 w 3505200"/>
              <a:gd name="connsiteY70" fmla="*/ 6602858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52400 w 3505200"/>
              <a:gd name="connsiteY71" fmla="*/ 6781482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38112 w 3505200"/>
              <a:gd name="connsiteY71" fmla="*/ 6767194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38112 w 3505200"/>
              <a:gd name="connsiteY71" fmla="*/ 6767194 h 8260080"/>
              <a:gd name="connsiteX72" fmla="*/ 233679 w 3505200"/>
              <a:gd name="connsiteY72" fmla="*/ 6971505 h 8260080"/>
              <a:gd name="connsiteX73" fmla="*/ 271463 w 3505200"/>
              <a:gd name="connsiteY73" fmla="*/ 7030085 h 8260080"/>
              <a:gd name="connsiteX74" fmla="*/ 280829 w 3505200"/>
              <a:gd name="connsiteY74" fmla="*/ 7148354 h 8260080"/>
              <a:gd name="connsiteX75" fmla="*/ 242962 w 3505200"/>
              <a:gd name="connsiteY75" fmla="*/ 7226746 h 8260080"/>
              <a:gd name="connsiteX76" fmla="*/ 282892 w 3505200"/>
              <a:gd name="connsiteY76" fmla="*/ 7300436 h 8260080"/>
              <a:gd name="connsiteX77" fmla="*/ 334645 w 3505200"/>
              <a:gd name="connsiteY77" fmla="*/ 7194709 h 8260080"/>
              <a:gd name="connsiteX78" fmla="*/ 354881 w 3505200"/>
              <a:gd name="connsiteY78" fmla="*/ 7257702 h 8260080"/>
              <a:gd name="connsiteX79" fmla="*/ 337026 w 3505200"/>
              <a:gd name="connsiteY79" fmla="*/ 7316154 h 8260080"/>
              <a:gd name="connsiteX80" fmla="*/ 370364 w 3505200"/>
              <a:gd name="connsiteY80" fmla="*/ 7360602 h 8260080"/>
              <a:gd name="connsiteX81" fmla="*/ 447040 w 3505200"/>
              <a:gd name="connsiteY81" fmla="*/ 7366000 h 8260080"/>
              <a:gd name="connsiteX82" fmla="*/ 447040 w 3505200"/>
              <a:gd name="connsiteY82" fmla="*/ 7477760 h 8260080"/>
              <a:gd name="connsiteX83" fmla="*/ 558800 w 3505200"/>
              <a:gd name="connsiteY83" fmla="*/ 7528560 h 8260080"/>
              <a:gd name="connsiteX84" fmla="*/ 508000 w 3505200"/>
              <a:gd name="connsiteY84" fmla="*/ 7630160 h 8260080"/>
              <a:gd name="connsiteX85" fmla="*/ 436880 w 3505200"/>
              <a:gd name="connsiteY85" fmla="*/ 7609840 h 8260080"/>
              <a:gd name="connsiteX86" fmla="*/ 447040 w 3505200"/>
              <a:gd name="connsiteY86" fmla="*/ 7691120 h 8260080"/>
              <a:gd name="connsiteX87" fmla="*/ 518160 w 3505200"/>
              <a:gd name="connsiteY87" fmla="*/ 7741920 h 8260080"/>
              <a:gd name="connsiteX88" fmla="*/ 457200 w 3505200"/>
              <a:gd name="connsiteY88" fmla="*/ 7792720 h 8260080"/>
              <a:gd name="connsiteX89" fmla="*/ 396240 w 3505200"/>
              <a:gd name="connsiteY89" fmla="*/ 7701280 h 8260080"/>
              <a:gd name="connsiteX90" fmla="*/ 396240 w 3505200"/>
              <a:gd name="connsiteY90" fmla="*/ 7701280 h 8260080"/>
              <a:gd name="connsiteX91" fmla="*/ 436880 w 3505200"/>
              <a:gd name="connsiteY91" fmla="*/ 7874000 h 8260080"/>
              <a:gd name="connsiteX92" fmla="*/ 436880 w 3505200"/>
              <a:gd name="connsiteY92" fmla="*/ 7924800 h 8260080"/>
              <a:gd name="connsiteX93" fmla="*/ 548640 w 3505200"/>
              <a:gd name="connsiteY93" fmla="*/ 7965440 h 8260080"/>
              <a:gd name="connsiteX94" fmla="*/ 508000 w 3505200"/>
              <a:gd name="connsiteY94" fmla="*/ 8016240 h 8260080"/>
              <a:gd name="connsiteX95" fmla="*/ 589280 w 3505200"/>
              <a:gd name="connsiteY95" fmla="*/ 8056880 h 8260080"/>
              <a:gd name="connsiteX96" fmla="*/ 497840 w 3505200"/>
              <a:gd name="connsiteY96" fmla="*/ 8117840 h 8260080"/>
              <a:gd name="connsiteX97" fmla="*/ 518160 w 3505200"/>
              <a:gd name="connsiteY97" fmla="*/ 8209280 h 8260080"/>
              <a:gd name="connsiteX98" fmla="*/ 640080 w 3505200"/>
              <a:gd name="connsiteY98" fmla="*/ 8260080 h 8260080"/>
              <a:gd name="connsiteX99" fmla="*/ 731520 w 3505200"/>
              <a:gd name="connsiteY99" fmla="*/ 8219440 h 8260080"/>
              <a:gd name="connsiteX100" fmla="*/ 853440 w 3505200"/>
              <a:gd name="connsiteY100" fmla="*/ 8209280 h 8260080"/>
              <a:gd name="connsiteX101" fmla="*/ 955040 w 3505200"/>
              <a:gd name="connsiteY101" fmla="*/ 8260080 h 8260080"/>
              <a:gd name="connsiteX102" fmla="*/ 965200 w 3505200"/>
              <a:gd name="connsiteY102" fmla="*/ 8107680 h 8260080"/>
              <a:gd name="connsiteX103" fmla="*/ 894080 w 3505200"/>
              <a:gd name="connsiteY103" fmla="*/ 8026400 h 8260080"/>
              <a:gd name="connsiteX104" fmla="*/ 1016000 w 3505200"/>
              <a:gd name="connsiteY104" fmla="*/ 7863840 h 8260080"/>
              <a:gd name="connsiteX105" fmla="*/ 1107440 w 3505200"/>
              <a:gd name="connsiteY105" fmla="*/ 7894320 h 8260080"/>
              <a:gd name="connsiteX106" fmla="*/ 1127760 w 3505200"/>
              <a:gd name="connsiteY106" fmla="*/ 7853680 h 8260080"/>
              <a:gd name="connsiteX107" fmla="*/ 1066800 w 3505200"/>
              <a:gd name="connsiteY107" fmla="*/ 7813040 h 8260080"/>
              <a:gd name="connsiteX108" fmla="*/ 1137920 w 3505200"/>
              <a:gd name="connsiteY108" fmla="*/ 7762240 h 8260080"/>
              <a:gd name="connsiteX109" fmla="*/ 1330960 w 3505200"/>
              <a:gd name="connsiteY109" fmla="*/ 7802880 h 8260080"/>
              <a:gd name="connsiteX110" fmla="*/ 1361440 w 3505200"/>
              <a:gd name="connsiteY110" fmla="*/ 7772400 h 8260080"/>
              <a:gd name="connsiteX111" fmla="*/ 1483360 w 3505200"/>
              <a:gd name="connsiteY111" fmla="*/ 7823200 h 8260080"/>
              <a:gd name="connsiteX112" fmla="*/ 1554480 w 3505200"/>
              <a:gd name="connsiteY112" fmla="*/ 7731760 h 8260080"/>
              <a:gd name="connsiteX113" fmla="*/ 1524000 w 3505200"/>
              <a:gd name="connsiteY113" fmla="*/ 7640320 h 8260080"/>
              <a:gd name="connsiteX114" fmla="*/ 1645920 w 3505200"/>
              <a:gd name="connsiteY114" fmla="*/ 7437120 h 8260080"/>
              <a:gd name="connsiteX115" fmla="*/ 1635760 w 3505200"/>
              <a:gd name="connsiteY115" fmla="*/ 7335520 h 8260080"/>
              <a:gd name="connsiteX116" fmla="*/ 1696720 w 3505200"/>
              <a:gd name="connsiteY116" fmla="*/ 7223760 h 8260080"/>
              <a:gd name="connsiteX117" fmla="*/ 1625600 w 3505200"/>
              <a:gd name="connsiteY117" fmla="*/ 7172960 h 8260080"/>
              <a:gd name="connsiteX118" fmla="*/ 1747520 w 3505200"/>
              <a:gd name="connsiteY118" fmla="*/ 6990080 h 8260080"/>
              <a:gd name="connsiteX119" fmla="*/ 1666240 w 3505200"/>
              <a:gd name="connsiteY119" fmla="*/ 6939280 h 8260080"/>
              <a:gd name="connsiteX120" fmla="*/ 1737360 w 3505200"/>
              <a:gd name="connsiteY120" fmla="*/ 6888480 h 8260080"/>
              <a:gd name="connsiteX121" fmla="*/ 1645920 w 3505200"/>
              <a:gd name="connsiteY121" fmla="*/ 6776720 h 8260080"/>
              <a:gd name="connsiteX122" fmla="*/ 1808480 w 3505200"/>
              <a:gd name="connsiteY122" fmla="*/ 6715760 h 8260080"/>
              <a:gd name="connsiteX123" fmla="*/ 1727200 w 3505200"/>
              <a:gd name="connsiteY123" fmla="*/ 6614160 h 8260080"/>
              <a:gd name="connsiteX124" fmla="*/ 1686560 w 3505200"/>
              <a:gd name="connsiteY124" fmla="*/ 6421120 h 8260080"/>
              <a:gd name="connsiteX125" fmla="*/ 1889760 w 3505200"/>
              <a:gd name="connsiteY125" fmla="*/ 6299200 h 8260080"/>
              <a:gd name="connsiteX126" fmla="*/ 1940560 w 3505200"/>
              <a:gd name="connsiteY126" fmla="*/ 6228080 h 8260080"/>
              <a:gd name="connsiteX127" fmla="*/ 2032000 w 3505200"/>
              <a:gd name="connsiteY127" fmla="*/ 6136640 h 8260080"/>
              <a:gd name="connsiteX128" fmla="*/ 2011680 w 3505200"/>
              <a:gd name="connsiteY128" fmla="*/ 6014720 h 8260080"/>
              <a:gd name="connsiteX129" fmla="*/ 2123440 w 3505200"/>
              <a:gd name="connsiteY129" fmla="*/ 6065520 h 8260080"/>
              <a:gd name="connsiteX130" fmla="*/ 2092960 w 3505200"/>
              <a:gd name="connsiteY130" fmla="*/ 6167120 h 8260080"/>
              <a:gd name="connsiteX131" fmla="*/ 2286000 w 3505200"/>
              <a:gd name="connsiteY131" fmla="*/ 5933440 h 8260080"/>
              <a:gd name="connsiteX132" fmla="*/ 2255520 w 3505200"/>
              <a:gd name="connsiteY132" fmla="*/ 5801360 h 8260080"/>
              <a:gd name="connsiteX133" fmla="*/ 2448560 w 3505200"/>
              <a:gd name="connsiteY133" fmla="*/ 5598160 h 8260080"/>
              <a:gd name="connsiteX134" fmla="*/ 2357120 w 3505200"/>
              <a:gd name="connsiteY134" fmla="*/ 5435600 h 8260080"/>
              <a:gd name="connsiteX135" fmla="*/ 2225040 w 3505200"/>
              <a:gd name="connsiteY135" fmla="*/ 5415280 h 8260080"/>
              <a:gd name="connsiteX136" fmla="*/ 2103120 w 3505200"/>
              <a:gd name="connsiteY136" fmla="*/ 5222240 h 8260080"/>
              <a:gd name="connsiteX137" fmla="*/ 2092960 w 3505200"/>
              <a:gd name="connsiteY137" fmla="*/ 5110480 h 8260080"/>
              <a:gd name="connsiteX138" fmla="*/ 2052320 w 3505200"/>
              <a:gd name="connsiteY138" fmla="*/ 5151120 h 8260080"/>
              <a:gd name="connsiteX139" fmla="*/ 2042160 w 3505200"/>
              <a:gd name="connsiteY139" fmla="*/ 5242560 h 8260080"/>
              <a:gd name="connsiteX140" fmla="*/ 1981200 w 3505200"/>
              <a:gd name="connsiteY140" fmla="*/ 5191760 h 8260080"/>
              <a:gd name="connsiteX141" fmla="*/ 2011680 w 3505200"/>
              <a:gd name="connsiteY141" fmla="*/ 5120640 h 8260080"/>
              <a:gd name="connsiteX142" fmla="*/ 1930400 w 3505200"/>
              <a:gd name="connsiteY142" fmla="*/ 5100320 h 8260080"/>
              <a:gd name="connsiteX143" fmla="*/ 1859280 w 3505200"/>
              <a:gd name="connsiteY143" fmla="*/ 4917440 h 8260080"/>
              <a:gd name="connsiteX144" fmla="*/ 1828800 w 3505200"/>
              <a:gd name="connsiteY144" fmla="*/ 4622800 h 8260080"/>
              <a:gd name="connsiteX145" fmla="*/ 1910080 w 3505200"/>
              <a:gd name="connsiteY145" fmla="*/ 4419600 h 8260080"/>
              <a:gd name="connsiteX146" fmla="*/ 1920240 w 3505200"/>
              <a:gd name="connsiteY146" fmla="*/ 4277360 h 8260080"/>
              <a:gd name="connsiteX147" fmla="*/ 1971040 w 3505200"/>
              <a:gd name="connsiteY147" fmla="*/ 4124960 h 8260080"/>
              <a:gd name="connsiteX148" fmla="*/ 1879600 w 3505200"/>
              <a:gd name="connsiteY148" fmla="*/ 4023360 h 8260080"/>
              <a:gd name="connsiteX149" fmla="*/ 2072640 w 3505200"/>
              <a:gd name="connsiteY149" fmla="*/ 4003040 h 8260080"/>
              <a:gd name="connsiteX150" fmla="*/ 2092960 w 3505200"/>
              <a:gd name="connsiteY150" fmla="*/ 3850640 h 8260080"/>
              <a:gd name="connsiteX151" fmla="*/ 2001520 w 3505200"/>
              <a:gd name="connsiteY151" fmla="*/ 3728720 h 8260080"/>
              <a:gd name="connsiteX152" fmla="*/ 2164080 w 3505200"/>
              <a:gd name="connsiteY152" fmla="*/ 3769360 h 8260080"/>
              <a:gd name="connsiteX153" fmla="*/ 2265680 w 3505200"/>
              <a:gd name="connsiteY153" fmla="*/ 3566160 h 8260080"/>
              <a:gd name="connsiteX154" fmla="*/ 2336800 w 3505200"/>
              <a:gd name="connsiteY154" fmla="*/ 3515360 h 8260080"/>
              <a:gd name="connsiteX155" fmla="*/ 2367280 w 3505200"/>
              <a:gd name="connsiteY155" fmla="*/ 3362960 h 8260080"/>
              <a:gd name="connsiteX156" fmla="*/ 2489200 w 3505200"/>
              <a:gd name="connsiteY156" fmla="*/ 3423920 h 8260080"/>
              <a:gd name="connsiteX157" fmla="*/ 2560320 w 3505200"/>
              <a:gd name="connsiteY157" fmla="*/ 3302000 h 8260080"/>
              <a:gd name="connsiteX158" fmla="*/ 2743200 w 3505200"/>
              <a:gd name="connsiteY158" fmla="*/ 3149600 h 8260080"/>
              <a:gd name="connsiteX159" fmla="*/ 2844800 w 3505200"/>
              <a:gd name="connsiteY159" fmla="*/ 3088640 h 8260080"/>
              <a:gd name="connsiteX160" fmla="*/ 2804160 w 3505200"/>
              <a:gd name="connsiteY160" fmla="*/ 2966720 h 8260080"/>
              <a:gd name="connsiteX161" fmla="*/ 2976880 w 3505200"/>
              <a:gd name="connsiteY161" fmla="*/ 2763520 h 8260080"/>
              <a:gd name="connsiteX162" fmla="*/ 2794000 w 3505200"/>
              <a:gd name="connsiteY162" fmla="*/ 2621280 h 8260080"/>
              <a:gd name="connsiteX163" fmla="*/ 2946400 w 3505200"/>
              <a:gd name="connsiteY163" fmla="*/ 2377440 h 8260080"/>
              <a:gd name="connsiteX164" fmla="*/ 2854960 w 3505200"/>
              <a:gd name="connsiteY164" fmla="*/ 2255520 h 8260080"/>
              <a:gd name="connsiteX165" fmla="*/ 3027680 w 3505200"/>
              <a:gd name="connsiteY165" fmla="*/ 2113280 h 8260080"/>
              <a:gd name="connsiteX166" fmla="*/ 3119120 w 3505200"/>
              <a:gd name="connsiteY166" fmla="*/ 2021840 h 8260080"/>
              <a:gd name="connsiteX167" fmla="*/ 3027680 w 3505200"/>
              <a:gd name="connsiteY167" fmla="*/ 1960880 h 8260080"/>
              <a:gd name="connsiteX168" fmla="*/ 3139440 w 3505200"/>
              <a:gd name="connsiteY168" fmla="*/ 1869440 h 8260080"/>
              <a:gd name="connsiteX169" fmla="*/ 3281680 w 3505200"/>
              <a:gd name="connsiteY169" fmla="*/ 1950720 h 8260080"/>
              <a:gd name="connsiteX170" fmla="*/ 3403600 w 3505200"/>
              <a:gd name="connsiteY170" fmla="*/ 1889760 h 8260080"/>
              <a:gd name="connsiteX171" fmla="*/ 3505200 w 3505200"/>
              <a:gd name="connsiteY171" fmla="*/ 1910080 h 8260080"/>
              <a:gd name="connsiteX172" fmla="*/ 3444240 w 3505200"/>
              <a:gd name="connsiteY172" fmla="*/ 1656080 h 8260080"/>
              <a:gd name="connsiteX173" fmla="*/ 3373120 w 3505200"/>
              <a:gd name="connsiteY173" fmla="*/ 1635760 h 8260080"/>
              <a:gd name="connsiteX174" fmla="*/ 3352800 w 3505200"/>
              <a:gd name="connsiteY174" fmla="*/ 1503680 h 8260080"/>
              <a:gd name="connsiteX175" fmla="*/ 3444240 w 3505200"/>
              <a:gd name="connsiteY175" fmla="*/ 1412240 h 8260080"/>
              <a:gd name="connsiteX176" fmla="*/ 3393440 w 3505200"/>
              <a:gd name="connsiteY176" fmla="*/ 1280160 h 8260080"/>
              <a:gd name="connsiteX177" fmla="*/ 3434080 w 3505200"/>
              <a:gd name="connsiteY177" fmla="*/ 1249680 h 8260080"/>
              <a:gd name="connsiteX178" fmla="*/ 3281680 w 3505200"/>
              <a:gd name="connsiteY178" fmla="*/ 1066800 h 8260080"/>
              <a:gd name="connsiteX179" fmla="*/ 3383280 w 3505200"/>
              <a:gd name="connsiteY179" fmla="*/ 975360 h 8260080"/>
              <a:gd name="connsiteX180" fmla="*/ 3302000 w 3505200"/>
              <a:gd name="connsiteY180" fmla="*/ 924560 h 8260080"/>
              <a:gd name="connsiteX181" fmla="*/ 3190240 w 3505200"/>
              <a:gd name="connsiteY181" fmla="*/ 944880 h 8260080"/>
              <a:gd name="connsiteX182" fmla="*/ 3281680 w 3505200"/>
              <a:gd name="connsiteY182" fmla="*/ 792480 h 8260080"/>
              <a:gd name="connsiteX183" fmla="*/ 3210560 w 3505200"/>
              <a:gd name="connsiteY183" fmla="*/ 650240 h 8260080"/>
              <a:gd name="connsiteX184" fmla="*/ 3302000 w 3505200"/>
              <a:gd name="connsiteY184" fmla="*/ 568960 h 8260080"/>
              <a:gd name="connsiteX185" fmla="*/ 3190240 w 3505200"/>
              <a:gd name="connsiteY185" fmla="*/ 487680 h 8260080"/>
              <a:gd name="connsiteX186" fmla="*/ 3108960 w 3505200"/>
              <a:gd name="connsiteY186" fmla="*/ 528320 h 8260080"/>
              <a:gd name="connsiteX187" fmla="*/ 3108960 w 3505200"/>
              <a:gd name="connsiteY187" fmla="*/ 406400 h 8260080"/>
              <a:gd name="connsiteX188" fmla="*/ 2926080 w 3505200"/>
              <a:gd name="connsiteY188" fmla="*/ 314960 h 8260080"/>
              <a:gd name="connsiteX189" fmla="*/ 2834640 w 3505200"/>
              <a:gd name="connsiteY189" fmla="*/ 355600 h 8260080"/>
              <a:gd name="connsiteX190" fmla="*/ 2682240 w 3505200"/>
              <a:gd name="connsiteY190" fmla="*/ 111760 h 8260080"/>
              <a:gd name="connsiteX191" fmla="*/ 2590800 w 3505200"/>
              <a:gd name="connsiteY191" fmla="*/ 121920 h 8260080"/>
              <a:gd name="connsiteX192" fmla="*/ 2611120 w 3505200"/>
              <a:gd name="connsiteY192" fmla="*/ 0 h 8260080"/>
              <a:gd name="connsiteX193" fmla="*/ 2438400 w 3505200"/>
              <a:gd name="connsiteY193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38112 w 3505200"/>
              <a:gd name="connsiteY72" fmla="*/ 6767194 h 8260080"/>
              <a:gd name="connsiteX73" fmla="*/ 233679 w 3505200"/>
              <a:gd name="connsiteY73" fmla="*/ 6971505 h 8260080"/>
              <a:gd name="connsiteX74" fmla="*/ 271463 w 3505200"/>
              <a:gd name="connsiteY74" fmla="*/ 7030085 h 8260080"/>
              <a:gd name="connsiteX75" fmla="*/ 280829 w 3505200"/>
              <a:gd name="connsiteY75" fmla="*/ 7148354 h 8260080"/>
              <a:gd name="connsiteX76" fmla="*/ 242962 w 3505200"/>
              <a:gd name="connsiteY76" fmla="*/ 7226746 h 8260080"/>
              <a:gd name="connsiteX77" fmla="*/ 282892 w 3505200"/>
              <a:gd name="connsiteY77" fmla="*/ 7300436 h 8260080"/>
              <a:gd name="connsiteX78" fmla="*/ 334645 w 3505200"/>
              <a:gd name="connsiteY78" fmla="*/ 7194709 h 8260080"/>
              <a:gd name="connsiteX79" fmla="*/ 354881 w 3505200"/>
              <a:gd name="connsiteY79" fmla="*/ 7257702 h 8260080"/>
              <a:gd name="connsiteX80" fmla="*/ 337026 w 3505200"/>
              <a:gd name="connsiteY80" fmla="*/ 7316154 h 8260080"/>
              <a:gd name="connsiteX81" fmla="*/ 370364 w 3505200"/>
              <a:gd name="connsiteY81" fmla="*/ 7360602 h 8260080"/>
              <a:gd name="connsiteX82" fmla="*/ 447040 w 3505200"/>
              <a:gd name="connsiteY82" fmla="*/ 7366000 h 8260080"/>
              <a:gd name="connsiteX83" fmla="*/ 447040 w 3505200"/>
              <a:gd name="connsiteY83" fmla="*/ 7477760 h 8260080"/>
              <a:gd name="connsiteX84" fmla="*/ 558800 w 3505200"/>
              <a:gd name="connsiteY84" fmla="*/ 7528560 h 8260080"/>
              <a:gd name="connsiteX85" fmla="*/ 508000 w 3505200"/>
              <a:gd name="connsiteY85" fmla="*/ 7630160 h 8260080"/>
              <a:gd name="connsiteX86" fmla="*/ 436880 w 3505200"/>
              <a:gd name="connsiteY86" fmla="*/ 7609840 h 8260080"/>
              <a:gd name="connsiteX87" fmla="*/ 447040 w 3505200"/>
              <a:gd name="connsiteY87" fmla="*/ 7691120 h 8260080"/>
              <a:gd name="connsiteX88" fmla="*/ 518160 w 3505200"/>
              <a:gd name="connsiteY88" fmla="*/ 7741920 h 8260080"/>
              <a:gd name="connsiteX89" fmla="*/ 457200 w 3505200"/>
              <a:gd name="connsiteY89" fmla="*/ 7792720 h 8260080"/>
              <a:gd name="connsiteX90" fmla="*/ 396240 w 3505200"/>
              <a:gd name="connsiteY90" fmla="*/ 7701280 h 8260080"/>
              <a:gd name="connsiteX91" fmla="*/ 396240 w 3505200"/>
              <a:gd name="connsiteY91" fmla="*/ 7701280 h 8260080"/>
              <a:gd name="connsiteX92" fmla="*/ 436880 w 3505200"/>
              <a:gd name="connsiteY92" fmla="*/ 7874000 h 8260080"/>
              <a:gd name="connsiteX93" fmla="*/ 436880 w 3505200"/>
              <a:gd name="connsiteY93" fmla="*/ 7924800 h 8260080"/>
              <a:gd name="connsiteX94" fmla="*/ 548640 w 3505200"/>
              <a:gd name="connsiteY94" fmla="*/ 7965440 h 8260080"/>
              <a:gd name="connsiteX95" fmla="*/ 508000 w 3505200"/>
              <a:gd name="connsiteY95" fmla="*/ 8016240 h 8260080"/>
              <a:gd name="connsiteX96" fmla="*/ 589280 w 3505200"/>
              <a:gd name="connsiteY96" fmla="*/ 8056880 h 8260080"/>
              <a:gd name="connsiteX97" fmla="*/ 497840 w 3505200"/>
              <a:gd name="connsiteY97" fmla="*/ 8117840 h 8260080"/>
              <a:gd name="connsiteX98" fmla="*/ 518160 w 3505200"/>
              <a:gd name="connsiteY98" fmla="*/ 8209280 h 8260080"/>
              <a:gd name="connsiteX99" fmla="*/ 640080 w 3505200"/>
              <a:gd name="connsiteY99" fmla="*/ 8260080 h 8260080"/>
              <a:gd name="connsiteX100" fmla="*/ 731520 w 3505200"/>
              <a:gd name="connsiteY100" fmla="*/ 8219440 h 8260080"/>
              <a:gd name="connsiteX101" fmla="*/ 853440 w 3505200"/>
              <a:gd name="connsiteY101" fmla="*/ 8209280 h 8260080"/>
              <a:gd name="connsiteX102" fmla="*/ 955040 w 3505200"/>
              <a:gd name="connsiteY102" fmla="*/ 8260080 h 8260080"/>
              <a:gd name="connsiteX103" fmla="*/ 965200 w 3505200"/>
              <a:gd name="connsiteY103" fmla="*/ 8107680 h 8260080"/>
              <a:gd name="connsiteX104" fmla="*/ 894080 w 3505200"/>
              <a:gd name="connsiteY104" fmla="*/ 8026400 h 8260080"/>
              <a:gd name="connsiteX105" fmla="*/ 1016000 w 3505200"/>
              <a:gd name="connsiteY105" fmla="*/ 7863840 h 8260080"/>
              <a:gd name="connsiteX106" fmla="*/ 1107440 w 3505200"/>
              <a:gd name="connsiteY106" fmla="*/ 7894320 h 8260080"/>
              <a:gd name="connsiteX107" fmla="*/ 1127760 w 3505200"/>
              <a:gd name="connsiteY107" fmla="*/ 7853680 h 8260080"/>
              <a:gd name="connsiteX108" fmla="*/ 1066800 w 3505200"/>
              <a:gd name="connsiteY108" fmla="*/ 7813040 h 8260080"/>
              <a:gd name="connsiteX109" fmla="*/ 1137920 w 3505200"/>
              <a:gd name="connsiteY109" fmla="*/ 7762240 h 8260080"/>
              <a:gd name="connsiteX110" fmla="*/ 1330960 w 3505200"/>
              <a:gd name="connsiteY110" fmla="*/ 7802880 h 8260080"/>
              <a:gd name="connsiteX111" fmla="*/ 1361440 w 3505200"/>
              <a:gd name="connsiteY111" fmla="*/ 7772400 h 8260080"/>
              <a:gd name="connsiteX112" fmla="*/ 1483360 w 3505200"/>
              <a:gd name="connsiteY112" fmla="*/ 7823200 h 8260080"/>
              <a:gd name="connsiteX113" fmla="*/ 1554480 w 3505200"/>
              <a:gd name="connsiteY113" fmla="*/ 7731760 h 8260080"/>
              <a:gd name="connsiteX114" fmla="*/ 1524000 w 3505200"/>
              <a:gd name="connsiteY114" fmla="*/ 7640320 h 8260080"/>
              <a:gd name="connsiteX115" fmla="*/ 1645920 w 3505200"/>
              <a:gd name="connsiteY115" fmla="*/ 7437120 h 8260080"/>
              <a:gd name="connsiteX116" fmla="*/ 1635760 w 3505200"/>
              <a:gd name="connsiteY116" fmla="*/ 7335520 h 8260080"/>
              <a:gd name="connsiteX117" fmla="*/ 1696720 w 3505200"/>
              <a:gd name="connsiteY117" fmla="*/ 7223760 h 8260080"/>
              <a:gd name="connsiteX118" fmla="*/ 1625600 w 3505200"/>
              <a:gd name="connsiteY118" fmla="*/ 7172960 h 8260080"/>
              <a:gd name="connsiteX119" fmla="*/ 1747520 w 3505200"/>
              <a:gd name="connsiteY119" fmla="*/ 6990080 h 8260080"/>
              <a:gd name="connsiteX120" fmla="*/ 1666240 w 3505200"/>
              <a:gd name="connsiteY120" fmla="*/ 6939280 h 8260080"/>
              <a:gd name="connsiteX121" fmla="*/ 1737360 w 3505200"/>
              <a:gd name="connsiteY121" fmla="*/ 6888480 h 8260080"/>
              <a:gd name="connsiteX122" fmla="*/ 1645920 w 3505200"/>
              <a:gd name="connsiteY122" fmla="*/ 6776720 h 8260080"/>
              <a:gd name="connsiteX123" fmla="*/ 1808480 w 3505200"/>
              <a:gd name="connsiteY123" fmla="*/ 6715760 h 8260080"/>
              <a:gd name="connsiteX124" fmla="*/ 1727200 w 3505200"/>
              <a:gd name="connsiteY124" fmla="*/ 6614160 h 8260080"/>
              <a:gd name="connsiteX125" fmla="*/ 1686560 w 3505200"/>
              <a:gd name="connsiteY125" fmla="*/ 6421120 h 8260080"/>
              <a:gd name="connsiteX126" fmla="*/ 1889760 w 3505200"/>
              <a:gd name="connsiteY126" fmla="*/ 6299200 h 8260080"/>
              <a:gd name="connsiteX127" fmla="*/ 1940560 w 3505200"/>
              <a:gd name="connsiteY127" fmla="*/ 6228080 h 8260080"/>
              <a:gd name="connsiteX128" fmla="*/ 2032000 w 3505200"/>
              <a:gd name="connsiteY128" fmla="*/ 6136640 h 8260080"/>
              <a:gd name="connsiteX129" fmla="*/ 2011680 w 3505200"/>
              <a:gd name="connsiteY129" fmla="*/ 6014720 h 8260080"/>
              <a:gd name="connsiteX130" fmla="*/ 2123440 w 3505200"/>
              <a:gd name="connsiteY130" fmla="*/ 6065520 h 8260080"/>
              <a:gd name="connsiteX131" fmla="*/ 2092960 w 3505200"/>
              <a:gd name="connsiteY131" fmla="*/ 6167120 h 8260080"/>
              <a:gd name="connsiteX132" fmla="*/ 2286000 w 3505200"/>
              <a:gd name="connsiteY132" fmla="*/ 5933440 h 8260080"/>
              <a:gd name="connsiteX133" fmla="*/ 2255520 w 3505200"/>
              <a:gd name="connsiteY133" fmla="*/ 5801360 h 8260080"/>
              <a:gd name="connsiteX134" fmla="*/ 2448560 w 3505200"/>
              <a:gd name="connsiteY134" fmla="*/ 5598160 h 8260080"/>
              <a:gd name="connsiteX135" fmla="*/ 2357120 w 3505200"/>
              <a:gd name="connsiteY135" fmla="*/ 5435600 h 8260080"/>
              <a:gd name="connsiteX136" fmla="*/ 2225040 w 3505200"/>
              <a:gd name="connsiteY136" fmla="*/ 5415280 h 8260080"/>
              <a:gd name="connsiteX137" fmla="*/ 2103120 w 3505200"/>
              <a:gd name="connsiteY137" fmla="*/ 5222240 h 8260080"/>
              <a:gd name="connsiteX138" fmla="*/ 2092960 w 3505200"/>
              <a:gd name="connsiteY138" fmla="*/ 5110480 h 8260080"/>
              <a:gd name="connsiteX139" fmla="*/ 2052320 w 3505200"/>
              <a:gd name="connsiteY139" fmla="*/ 5151120 h 8260080"/>
              <a:gd name="connsiteX140" fmla="*/ 2042160 w 3505200"/>
              <a:gd name="connsiteY140" fmla="*/ 5242560 h 8260080"/>
              <a:gd name="connsiteX141" fmla="*/ 1981200 w 3505200"/>
              <a:gd name="connsiteY141" fmla="*/ 5191760 h 8260080"/>
              <a:gd name="connsiteX142" fmla="*/ 2011680 w 3505200"/>
              <a:gd name="connsiteY142" fmla="*/ 5120640 h 8260080"/>
              <a:gd name="connsiteX143" fmla="*/ 1930400 w 3505200"/>
              <a:gd name="connsiteY143" fmla="*/ 5100320 h 8260080"/>
              <a:gd name="connsiteX144" fmla="*/ 1859280 w 3505200"/>
              <a:gd name="connsiteY144" fmla="*/ 4917440 h 8260080"/>
              <a:gd name="connsiteX145" fmla="*/ 1828800 w 3505200"/>
              <a:gd name="connsiteY145" fmla="*/ 4622800 h 8260080"/>
              <a:gd name="connsiteX146" fmla="*/ 1910080 w 3505200"/>
              <a:gd name="connsiteY146" fmla="*/ 4419600 h 8260080"/>
              <a:gd name="connsiteX147" fmla="*/ 1920240 w 3505200"/>
              <a:gd name="connsiteY147" fmla="*/ 4277360 h 8260080"/>
              <a:gd name="connsiteX148" fmla="*/ 1971040 w 3505200"/>
              <a:gd name="connsiteY148" fmla="*/ 4124960 h 8260080"/>
              <a:gd name="connsiteX149" fmla="*/ 1879600 w 3505200"/>
              <a:gd name="connsiteY149" fmla="*/ 4023360 h 8260080"/>
              <a:gd name="connsiteX150" fmla="*/ 2072640 w 3505200"/>
              <a:gd name="connsiteY150" fmla="*/ 4003040 h 8260080"/>
              <a:gd name="connsiteX151" fmla="*/ 2092960 w 3505200"/>
              <a:gd name="connsiteY151" fmla="*/ 3850640 h 8260080"/>
              <a:gd name="connsiteX152" fmla="*/ 2001520 w 3505200"/>
              <a:gd name="connsiteY152" fmla="*/ 3728720 h 8260080"/>
              <a:gd name="connsiteX153" fmla="*/ 2164080 w 3505200"/>
              <a:gd name="connsiteY153" fmla="*/ 3769360 h 8260080"/>
              <a:gd name="connsiteX154" fmla="*/ 2265680 w 3505200"/>
              <a:gd name="connsiteY154" fmla="*/ 3566160 h 8260080"/>
              <a:gd name="connsiteX155" fmla="*/ 2336800 w 3505200"/>
              <a:gd name="connsiteY155" fmla="*/ 3515360 h 8260080"/>
              <a:gd name="connsiteX156" fmla="*/ 2367280 w 3505200"/>
              <a:gd name="connsiteY156" fmla="*/ 3362960 h 8260080"/>
              <a:gd name="connsiteX157" fmla="*/ 2489200 w 3505200"/>
              <a:gd name="connsiteY157" fmla="*/ 3423920 h 8260080"/>
              <a:gd name="connsiteX158" fmla="*/ 2560320 w 3505200"/>
              <a:gd name="connsiteY158" fmla="*/ 3302000 h 8260080"/>
              <a:gd name="connsiteX159" fmla="*/ 2743200 w 3505200"/>
              <a:gd name="connsiteY159" fmla="*/ 3149600 h 8260080"/>
              <a:gd name="connsiteX160" fmla="*/ 2844800 w 3505200"/>
              <a:gd name="connsiteY160" fmla="*/ 3088640 h 8260080"/>
              <a:gd name="connsiteX161" fmla="*/ 2804160 w 3505200"/>
              <a:gd name="connsiteY161" fmla="*/ 2966720 h 8260080"/>
              <a:gd name="connsiteX162" fmla="*/ 2976880 w 3505200"/>
              <a:gd name="connsiteY162" fmla="*/ 2763520 h 8260080"/>
              <a:gd name="connsiteX163" fmla="*/ 2794000 w 3505200"/>
              <a:gd name="connsiteY163" fmla="*/ 2621280 h 8260080"/>
              <a:gd name="connsiteX164" fmla="*/ 2946400 w 3505200"/>
              <a:gd name="connsiteY164" fmla="*/ 2377440 h 8260080"/>
              <a:gd name="connsiteX165" fmla="*/ 2854960 w 3505200"/>
              <a:gd name="connsiteY165" fmla="*/ 2255520 h 8260080"/>
              <a:gd name="connsiteX166" fmla="*/ 3027680 w 3505200"/>
              <a:gd name="connsiteY166" fmla="*/ 2113280 h 8260080"/>
              <a:gd name="connsiteX167" fmla="*/ 3119120 w 3505200"/>
              <a:gd name="connsiteY167" fmla="*/ 2021840 h 8260080"/>
              <a:gd name="connsiteX168" fmla="*/ 3027680 w 3505200"/>
              <a:gd name="connsiteY168" fmla="*/ 1960880 h 8260080"/>
              <a:gd name="connsiteX169" fmla="*/ 3139440 w 3505200"/>
              <a:gd name="connsiteY169" fmla="*/ 1869440 h 8260080"/>
              <a:gd name="connsiteX170" fmla="*/ 3281680 w 3505200"/>
              <a:gd name="connsiteY170" fmla="*/ 1950720 h 8260080"/>
              <a:gd name="connsiteX171" fmla="*/ 3403600 w 3505200"/>
              <a:gd name="connsiteY171" fmla="*/ 1889760 h 8260080"/>
              <a:gd name="connsiteX172" fmla="*/ 3505200 w 3505200"/>
              <a:gd name="connsiteY172" fmla="*/ 1910080 h 8260080"/>
              <a:gd name="connsiteX173" fmla="*/ 3444240 w 3505200"/>
              <a:gd name="connsiteY173" fmla="*/ 1656080 h 8260080"/>
              <a:gd name="connsiteX174" fmla="*/ 3373120 w 3505200"/>
              <a:gd name="connsiteY174" fmla="*/ 1635760 h 8260080"/>
              <a:gd name="connsiteX175" fmla="*/ 3352800 w 3505200"/>
              <a:gd name="connsiteY175" fmla="*/ 1503680 h 8260080"/>
              <a:gd name="connsiteX176" fmla="*/ 3444240 w 3505200"/>
              <a:gd name="connsiteY176" fmla="*/ 1412240 h 8260080"/>
              <a:gd name="connsiteX177" fmla="*/ 3393440 w 3505200"/>
              <a:gd name="connsiteY177" fmla="*/ 1280160 h 8260080"/>
              <a:gd name="connsiteX178" fmla="*/ 3434080 w 3505200"/>
              <a:gd name="connsiteY178" fmla="*/ 1249680 h 8260080"/>
              <a:gd name="connsiteX179" fmla="*/ 3281680 w 3505200"/>
              <a:gd name="connsiteY179" fmla="*/ 1066800 h 8260080"/>
              <a:gd name="connsiteX180" fmla="*/ 3383280 w 3505200"/>
              <a:gd name="connsiteY180" fmla="*/ 975360 h 8260080"/>
              <a:gd name="connsiteX181" fmla="*/ 3302000 w 3505200"/>
              <a:gd name="connsiteY181" fmla="*/ 924560 h 8260080"/>
              <a:gd name="connsiteX182" fmla="*/ 3190240 w 3505200"/>
              <a:gd name="connsiteY182" fmla="*/ 944880 h 8260080"/>
              <a:gd name="connsiteX183" fmla="*/ 3281680 w 3505200"/>
              <a:gd name="connsiteY183" fmla="*/ 792480 h 8260080"/>
              <a:gd name="connsiteX184" fmla="*/ 3210560 w 3505200"/>
              <a:gd name="connsiteY184" fmla="*/ 650240 h 8260080"/>
              <a:gd name="connsiteX185" fmla="*/ 3302000 w 3505200"/>
              <a:gd name="connsiteY185" fmla="*/ 568960 h 8260080"/>
              <a:gd name="connsiteX186" fmla="*/ 3190240 w 3505200"/>
              <a:gd name="connsiteY186" fmla="*/ 487680 h 8260080"/>
              <a:gd name="connsiteX187" fmla="*/ 3108960 w 3505200"/>
              <a:gd name="connsiteY187" fmla="*/ 528320 h 8260080"/>
              <a:gd name="connsiteX188" fmla="*/ 3108960 w 3505200"/>
              <a:gd name="connsiteY188" fmla="*/ 406400 h 8260080"/>
              <a:gd name="connsiteX189" fmla="*/ 2926080 w 3505200"/>
              <a:gd name="connsiteY189" fmla="*/ 314960 h 8260080"/>
              <a:gd name="connsiteX190" fmla="*/ 2834640 w 3505200"/>
              <a:gd name="connsiteY190" fmla="*/ 355600 h 8260080"/>
              <a:gd name="connsiteX191" fmla="*/ 2682240 w 3505200"/>
              <a:gd name="connsiteY191" fmla="*/ 111760 h 8260080"/>
              <a:gd name="connsiteX192" fmla="*/ 2590800 w 3505200"/>
              <a:gd name="connsiteY192" fmla="*/ 121920 h 8260080"/>
              <a:gd name="connsiteX193" fmla="*/ 2611120 w 3505200"/>
              <a:gd name="connsiteY193" fmla="*/ 0 h 8260080"/>
              <a:gd name="connsiteX194" fmla="*/ 2438400 w 3505200"/>
              <a:gd name="connsiteY194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233679 w 3505200"/>
              <a:gd name="connsiteY74" fmla="*/ 6971505 h 8260080"/>
              <a:gd name="connsiteX75" fmla="*/ 271463 w 3505200"/>
              <a:gd name="connsiteY75" fmla="*/ 7030085 h 8260080"/>
              <a:gd name="connsiteX76" fmla="*/ 280829 w 3505200"/>
              <a:gd name="connsiteY76" fmla="*/ 7148354 h 8260080"/>
              <a:gd name="connsiteX77" fmla="*/ 242962 w 3505200"/>
              <a:gd name="connsiteY77" fmla="*/ 7226746 h 8260080"/>
              <a:gd name="connsiteX78" fmla="*/ 282892 w 3505200"/>
              <a:gd name="connsiteY78" fmla="*/ 7300436 h 8260080"/>
              <a:gd name="connsiteX79" fmla="*/ 334645 w 3505200"/>
              <a:gd name="connsiteY79" fmla="*/ 7194709 h 8260080"/>
              <a:gd name="connsiteX80" fmla="*/ 354881 w 3505200"/>
              <a:gd name="connsiteY80" fmla="*/ 7257702 h 8260080"/>
              <a:gd name="connsiteX81" fmla="*/ 337026 w 3505200"/>
              <a:gd name="connsiteY81" fmla="*/ 7316154 h 8260080"/>
              <a:gd name="connsiteX82" fmla="*/ 370364 w 3505200"/>
              <a:gd name="connsiteY82" fmla="*/ 7360602 h 8260080"/>
              <a:gd name="connsiteX83" fmla="*/ 447040 w 3505200"/>
              <a:gd name="connsiteY83" fmla="*/ 7366000 h 8260080"/>
              <a:gd name="connsiteX84" fmla="*/ 447040 w 3505200"/>
              <a:gd name="connsiteY84" fmla="*/ 7477760 h 8260080"/>
              <a:gd name="connsiteX85" fmla="*/ 558800 w 3505200"/>
              <a:gd name="connsiteY85" fmla="*/ 7528560 h 8260080"/>
              <a:gd name="connsiteX86" fmla="*/ 508000 w 3505200"/>
              <a:gd name="connsiteY86" fmla="*/ 7630160 h 8260080"/>
              <a:gd name="connsiteX87" fmla="*/ 436880 w 3505200"/>
              <a:gd name="connsiteY87" fmla="*/ 7609840 h 8260080"/>
              <a:gd name="connsiteX88" fmla="*/ 447040 w 3505200"/>
              <a:gd name="connsiteY88" fmla="*/ 7691120 h 8260080"/>
              <a:gd name="connsiteX89" fmla="*/ 518160 w 3505200"/>
              <a:gd name="connsiteY89" fmla="*/ 7741920 h 8260080"/>
              <a:gd name="connsiteX90" fmla="*/ 457200 w 3505200"/>
              <a:gd name="connsiteY90" fmla="*/ 7792720 h 8260080"/>
              <a:gd name="connsiteX91" fmla="*/ 396240 w 3505200"/>
              <a:gd name="connsiteY91" fmla="*/ 7701280 h 8260080"/>
              <a:gd name="connsiteX92" fmla="*/ 396240 w 3505200"/>
              <a:gd name="connsiteY92" fmla="*/ 7701280 h 8260080"/>
              <a:gd name="connsiteX93" fmla="*/ 436880 w 3505200"/>
              <a:gd name="connsiteY93" fmla="*/ 7874000 h 8260080"/>
              <a:gd name="connsiteX94" fmla="*/ 436880 w 3505200"/>
              <a:gd name="connsiteY94" fmla="*/ 7924800 h 8260080"/>
              <a:gd name="connsiteX95" fmla="*/ 548640 w 3505200"/>
              <a:gd name="connsiteY95" fmla="*/ 7965440 h 8260080"/>
              <a:gd name="connsiteX96" fmla="*/ 508000 w 3505200"/>
              <a:gd name="connsiteY96" fmla="*/ 8016240 h 8260080"/>
              <a:gd name="connsiteX97" fmla="*/ 589280 w 3505200"/>
              <a:gd name="connsiteY97" fmla="*/ 8056880 h 8260080"/>
              <a:gd name="connsiteX98" fmla="*/ 497840 w 3505200"/>
              <a:gd name="connsiteY98" fmla="*/ 8117840 h 8260080"/>
              <a:gd name="connsiteX99" fmla="*/ 518160 w 3505200"/>
              <a:gd name="connsiteY99" fmla="*/ 8209280 h 8260080"/>
              <a:gd name="connsiteX100" fmla="*/ 640080 w 3505200"/>
              <a:gd name="connsiteY100" fmla="*/ 8260080 h 8260080"/>
              <a:gd name="connsiteX101" fmla="*/ 731520 w 3505200"/>
              <a:gd name="connsiteY101" fmla="*/ 8219440 h 8260080"/>
              <a:gd name="connsiteX102" fmla="*/ 853440 w 3505200"/>
              <a:gd name="connsiteY102" fmla="*/ 8209280 h 8260080"/>
              <a:gd name="connsiteX103" fmla="*/ 955040 w 3505200"/>
              <a:gd name="connsiteY103" fmla="*/ 8260080 h 8260080"/>
              <a:gd name="connsiteX104" fmla="*/ 965200 w 3505200"/>
              <a:gd name="connsiteY104" fmla="*/ 8107680 h 8260080"/>
              <a:gd name="connsiteX105" fmla="*/ 894080 w 3505200"/>
              <a:gd name="connsiteY105" fmla="*/ 8026400 h 8260080"/>
              <a:gd name="connsiteX106" fmla="*/ 1016000 w 3505200"/>
              <a:gd name="connsiteY106" fmla="*/ 7863840 h 8260080"/>
              <a:gd name="connsiteX107" fmla="*/ 1107440 w 3505200"/>
              <a:gd name="connsiteY107" fmla="*/ 7894320 h 8260080"/>
              <a:gd name="connsiteX108" fmla="*/ 1127760 w 3505200"/>
              <a:gd name="connsiteY108" fmla="*/ 7853680 h 8260080"/>
              <a:gd name="connsiteX109" fmla="*/ 1066800 w 3505200"/>
              <a:gd name="connsiteY109" fmla="*/ 7813040 h 8260080"/>
              <a:gd name="connsiteX110" fmla="*/ 1137920 w 3505200"/>
              <a:gd name="connsiteY110" fmla="*/ 7762240 h 8260080"/>
              <a:gd name="connsiteX111" fmla="*/ 1330960 w 3505200"/>
              <a:gd name="connsiteY111" fmla="*/ 7802880 h 8260080"/>
              <a:gd name="connsiteX112" fmla="*/ 1361440 w 3505200"/>
              <a:gd name="connsiteY112" fmla="*/ 7772400 h 8260080"/>
              <a:gd name="connsiteX113" fmla="*/ 1483360 w 3505200"/>
              <a:gd name="connsiteY113" fmla="*/ 7823200 h 8260080"/>
              <a:gd name="connsiteX114" fmla="*/ 1554480 w 3505200"/>
              <a:gd name="connsiteY114" fmla="*/ 7731760 h 8260080"/>
              <a:gd name="connsiteX115" fmla="*/ 1524000 w 3505200"/>
              <a:gd name="connsiteY115" fmla="*/ 7640320 h 8260080"/>
              <a:gd name="connsiteX116" fmla="*/ 1645920 w 3505200"/>
              <a:gd name="connsiteY116" fmla="*/ 7437120 h 8260080"/>
              <a:gd name="connsiteX117" fmla="*/ 1635760 w 3505200"/>
              <a:gd name="connsiteY117" fmla="*/ 7335520 h 8260080"/>
              <a:gd name="connsiteX118" fmla="*/ 1696720 w 3505200"/>
              <a:gd name="connsiteY118" fmla="*/ 7223760 h 8260080"/>
              <a:gd name="connsiteX119" fmla="*/ 1625600 w 3505200"/>
              <a:gd name="connsiteY119" fmla="*/ 7172960 h 8260080"/>
              <a:gd name="connsiteX120" fmla="*/ 1747520 w 3505200"/>
              <a:gd name="connsiteY120" fmla="*/ 6990080 h 8260080"/>
              <a:gd name="connsiteX121" fmla="*/ 1666240 w 3505200"/>
              <a:gd name="connsiteY121" fmla="*/ 6939280 h 8260080"/>
              <a:gd name="connsiteX122" fmla="*/ 1737360 w 3505200"/>
              <a:gd name="connsiteY122" fmla="*/ 6888480 h 8260080"/>
              <a:gd name="connsiteX123" fmla="*/ 1645920 w 3505200"/>
              <a:gd name="connsiteY123" fmla="*/ 6776720 h 8260080"/>
              <a:gd name="connsiteX124" fmla="*/ 1808480 w 3505200"/>
              <a:gd name="connsiteY124" fmla="*/ 6715760 h 8260080"/>
              <a:gd name="connsiteX125" fmla="*/ 1727200 w 3505200"/>
              <a:gd name="connsiteY125" fmla="*/ 6614160 h 8260080"/>
              <a:gd name="connsiteX126" fmla="*/ 1686560 w 3505200"/>
              <a:gd name="connsiteY126" fmla="*/ 6421120 h 8260080"/>
              <a:gd name="connsiteX127" fmla="*/ 1889760 w 3505200"/>
              <a:gd name="connsiteY127" fmla="*/ 6299200 h 8260080"/>
              <a:gd name="connsiteX128" fmla="*/ 1940560 w 3505200"/>
              <a:gd name="connsiteY128" fmla="*/ 6228080 h 8260080"/>
              <a:gd name="connsiteX129" fmla="*/ 2032000 w 3505200"/>
              <a:gd name="connsiteY129" fmla="*/ 6136640 h 8260080"/>
              <a:gd name="connsiteX130" fmla="*/ 2011680 w 3505200"/>
              <a:gd name="connsiteY130" fmla="*/ 6014720 h 8260080"/>
              <a:gd name="connsiteX131" fmla="*/ 2123440 w 3505200"/>
              <a:gd name="connsiteY131" fmla="*/ 6065520 h 8260080"/>
              <a:gd name="connsiteX132" fmla="*/ 2092960 w 3505200"/>
              <a:gd name="connsiteY132" fmla="*/ 6167120 h 8260080"/>
              <a:gd name="connsiteX133" fmla="*/ 2286000 w 3505200"/>
              <a:gd name="connsiteY133" fmla="*/ 5933440 h 8260080"/>
              <a:gd name="connsiteX134" fmla="*/ 2255520 w 3505200"/>
              <a:gd name="connsiteY134" fmla="*/ 5801360 h 8260080"/>
              <a:gd name="connsiteX135" fmla="*/ 2448560 w 3505200"/>
              <a:gd name="connsiteY135" fmla="*/ 5598160 h 8260080"/>
              <a:gd name="connsiteX136" fmla="*/ 2357120 w 3505200"/>
              <a:gd name="connsiteY136" fmla="*/ 5435600 h 8260080"/>
              <a:gd name="connsiteX137" fmla="*/ 2225040 w 3505200"/>
              <a:gd name="connsiteY137" fmla="*/ 5415280 h 8260080"/>
              <a:gd name="connsiteX138" fmla="*/ 2103120 w 3505200"/>
              <a:gd name="connsiteY138" fmla="*/ 5222240 h 8260080"/>
              <a:gd name="connsiteX139" fmla="*/ 2092960 w 3505200"/>
              <a:gd name="connsiteY139" fmla="*/ 5110480 h 8260080"/>
              <a:gd name="connsiteX140" fmla="*/ 2052320 w 3505200"/>
              <a:gd name="connsiteY140" fmla="*/ 5151120 h 8260080"/>
              <a:gd name="connsiteX141" fmla="*/ 2042160 w 3505200"/>
              <a:gd name="connsiteY141" fmla="*/ 5242560 h 8260080"/>
              <a:gd name="connsiteX142" fmla="*/ 1981200 w 3505200"/>
              <a:gd name="connsiteY142" fmla="*/ 5191760 h 8260080"/>
              <a:gd name="connsiteX143" fmla="*/ 2011680 w 3505200"/>
              <a:gd name="connsiteY143" fmla="*/ 5120640 h 8260080"/>
              <a:gd name="connsiteX144" fmla="*/ 1930400 w 3505200"/>
              <a:gd name="connsiteY144" fmla="*/ 5100320 h 8260080"/>
              <a:gd name="connsiteX145" fmla="*/ 1859280 w 3505200"/>
              <a:gd name="connsiteY145" fmla="*/ 4917440 h 8260080"/>
              <a:gd name="connsiteX146" fmla="*/ 1828800 w 3505200"/>
              <a:gd name="connsiteY146" fmla="*/ 4622800 h 8260080"/>
              <a:gd name="connsiteX147" fmla="*/ 1910080 w 3505200"/>
              <a:gd name="connsiteY147" fmla="*/ 4419600 h 8260080"/>
              <a:gd name="connsiteX148" fmla="*/ 1920240 w 3505200"/>
              <a:gd name="connsiteY148" fmla="*/ 4277360 h 8260080"/>
              <a:gd name="connsiteX149" fmla="*/ 1971040 w 3505200"/>
              <a:gd name="connsiteY149" fmla="*/ 4124960 h 8260080"/>
              <a:gd name="connsiteX150" fmla="*/ 1879600 w 3505200"/>
              <a:gd name="connsiteY150" fmla="*/ 4023360 h 8260080"/>
              <a:gd name="connsiteX151" fmla="*/ 2072640 w 3505200"/>
              <a:gd name="connsiteY151" fmla="*/ 4003040 h 8260080"/>
              <a:gd name="connsiteX152" fmla="*/ 2092960 w 3505200"/>
              <a:gd name="connsiteY152" fmla="*/ 3850640 h 8260080"/>
              <a:gd name="connsiteX153" fmla="*/ 2001520 w 3505200"/>
              <a:gd name="connsiteY153" fmla="*/ 3728720 h 8260080"/>
              <a:gd name="connsiteX154" fmla="*/ 2164080 w 3505200"/>
              <a:gd name="connsiteY154" fmla="*/ 3769360 h 8260080"/>
              <a:gd name="connsiteX155" fmla="*/ 2265680 w 3505200"/>
              <a:gd name="connsiteY155" fmla="*/ 3566160 h 8260080"/>
              <a:gd name="connsiteX156" fmla="*/ 2336800 w 3505200"/>
              <a:gd name="connsiteY156" fmla="*/ 3515360 h 8260080"/>
              <a:gd name="connsiteX157" fmla="*/ 2367280 w 3505200"/>
              <a:gd name="connsiteY157" fmla="*/ 3362960 h 8260080"/>
              <a:gd name="connsiteX158" fmla="*/ 2489200 w 3505200"/>
              <a:gd name="connsiteY158" fmla="*/ 3423920 h 8260080"/>
              <a:gd name="connsiteX159" fmla="*/ 2560320 w 3505200"/>
              <a:gd name="connsiteY159" fmla="*/ 3302000 h 8260080"/>
              <a:gd name="connsiteX160" fmla="*/ 2743200 w 3505200"/>
              <a:gd name="connsiteY160" fmla="*/ 3149600 h 8260080"/>
              <a:gd name="connsiteX161" fmla="*/ 2844800 w 3505200"/>
              <a:gd name="connsiteY161" fmla="*/ 3088640 h 8260080"/>
              <a:gd name="connsiteX162" fmla="*/ 2804160 w 3505200"/>
              <a:gd name="connsiteY162" fmla="*/ 2966720 h 8260080"/>
              <a:gd name="connsiteX163" fmla="*/ 2976880 w 3505200"/>
              <a:gd name="connsiteY163" fmla="*/ 2763520 h 8260080"/>
              <a:gd name="connsiteX164" fmla="*/ 2794000 w 3505200"/>
              <a:gd name="connsiteY164" fmla="*/ 2621280 h 8260080"/>
              <a:gd name="connsiteX165" fmla="*/ 2946400 w 3505200"/>
              <a:gd name="connsiteY165" fmla="*/ 2377440 h 8260080"/>
              <a:gd name="connsiteX166" fmla="*/ 2854960 w 3505200"/>
              <a:gd name="connsiteY166" fmla="*/ 2255520 h 8260080"/>
              <a:gd name="connsiteX167" fmla="*/ 3027680 w 3505200"/>
              <a:gd name="connsiteY167" fmla="*/ 2113280 h 8260080"/>
              <a:gd name="connsiteX168" fmla="*/ 3119120 w 3505200"/>
              <a:gd name="connsiteY168" fmla="*/ 2021840 h 8260080"/>
              <a:gd name="connsiteX169" fmla="*/ 3027680 w 3505200"/>
              <a:gd name="connsiteY169" fmla="*/ 1960880 h 8260080"/>
              <a:gd name="connsiteX170" fmla="*/ 3139440 w 3505200"/>
              <a:gd name="connsiteY170" fmla="*/ 1869440 h 8260080"/>
              <a:gd name="connsiteX171" fmla="*/ 3281680 w 3505200"/>
              <a:gd name="connsiteY171" fmla="*/ 1950720 h 8260080"/>
              <a:gd name="connsiteX172" fmla="*/ 3403600 w 3505200"/>
              <a:gd name="connsiteY172" fmla="*/ 1889760 h 8260080"/>
              <a:gd name="connsiteX173" fmla="*/ 3505200 w 3505200"/>
              <a:gd name="connsiteY173" fmla="*/ 1910080 h 8260080"/>
              <a:gd name="connsiteX174" fmla="*/ 3444240 w 3505200"/>
              <a:gd name="connsiteY174" fmla="*/ 1656080 h 8260080"/>
              <a:gd name="connsiteX175" fmla="*/ 3373120 w 3505200"/>
              <a:gd name="connsiteY175" fmla="*/ 1635760 h 8260080"/>
              <a:gd name="connsiteX176" fmla="*/ 3352800 w 3505200"/>
              <a:gd name="connsiteY176" fmla="*/ 1503680 h 8260080"/>
              <a:gd name="connsiteX177" fmla="*/ 3444240 w 3505200"/>
              <a:gd name="connsiteY177" fmla="*/ 1412240 h 8260080"/>
              <a:gd name="connsiteX178" fmla="*/ 3393440 w 3505200"/>
              <a:gd name="connsiteY178" fmla="*/ 1280160 h 8260080"/>
              <a:gd name="connsiteX179" fmla="*/ 3434080 w 3505200"/>
              <a:gd name="connsiteY179" fmla="*/ 1249680 h 8260080"/>
              <a:gd name="connsiteX180" fmla="*/ 3281680 w 3505200"/>
              <a:gd name="connsiteY180" fmla="*/ 1066800 h 8260080"/>
              <a:gd name="connsiteX181" fmla="*/ 3383280 w 3505200"/>
              <a:gd name="connsiteY181" fmla="*/ 975360 h 8260080"/>
              <a:gd name="connsiteX182" fmla="*/ 3302000 w 3505200"/>
              <a:gd name="connsiteY182" fmla="*/ 924560 h 8260080"/>
              <a:gd name="connsiteX183" fmla="*/ 3190240 w 3505200"/>
              <a:gd name="connsiteY183" fmla="*/ 944880 h 8260080"/>
              <a:gd name="connsiteX184" fmla="*/ 3281680 w 3505200"/>
              <a:gd name="connsiteY184" fmla="*/ 792480 h 8260080"/>
              <a:gd name="connsiteX185" fmla="*/ 3210560 w 3505200"/>
              <a:gd name="connsiteY185" fmla="*/ 650240 h 8260080"/>
              <a:gd name="connsiteX186" fmla="*/ 3302000 w 3505200"/>
              <a:gd name="connsiteY186" fmla="*/ 568960 h 8260080"/>
              <a:gd name="connsiteX187" fmla="*/ 3190240 w 3505200"/>
              <a:gd name="connsiteY187" fmla="*/ 487680 h 8260080"/>
              <a:gd name="connsiteX188" fmla="*/ 3108960 w 3505200"/>
              <a:gd name="connsiteY188" fmla="*/ 528320 h 8260080"/>
              <a:gd name="connsiteX189" fmla="*/ 3108960 w 3505200"/>
              <a:gd name="connsiteY189" fmla="*/ 406400 h 8260080"/>
              <a:gd name="connsiteX190" fmla="*/ 2926080 w 3505200"/>
              <a:gd name="connsiteY190" fmla="*/ 314960 h 8260080"/>
              <a:gd name="connsiteX191" fmla="*/ 2834640 w 3505200"/>
              <a:gd name="connsiteY191" fmla="*/ 355600 h 8260080"/>
              <a:gd name="connsiteX192" fmla="*/ 2682240 w 3505200"/>
              <a:gd name="connsiteY192" fmla="*/ 111760 h 8260080"/>
              <a:gd name="connsiteX193" fmla="*/ 2590800 w 3505200"/>
              <a:gd name="connsiteY193" fmla="*/ 121920 h 8260080"/>
              <a:gd name="connsiteX194" fmla="*/ 2611120 w 3505200"/>
              <a:gd name="connsiteY194" fmla="*/ 0 h 8260080"/>
              <a:gd name="connsiteX195" fmla="*/ 2438400 w 3505200"/>
              <a:gd name="connsiteY195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95337 w 3505200"/>
              <a:gd name="connsiteY74" fmla="*/ 6907659 h 8260080"/>
              <a:gd name="connsiteX75" fmla="*/ 233679 w 3505200"/>
              <a:gd name="connsiteY75" fmla="*/ 6971505 h 8260080"/>
              <a:gd name="connsiteX76" fmla="*/ 271463 w 3505200"/>
              <a:gd name="connsiteY76" fmla="*/ 7030085 h 8260080"/>
              <a:gd name="connsiteX77" fmla="*/ 280829 w 3505200"/>
              <a:gd name="connsiteY77" fmla="*/ 7148354 h 8260080"/>
              <a:gd name="connsiteX78" fmla="*/ 242962 w 3505200"/>
              <a:gd name="connsiteY78" fmla="*/ 7226746 h 8260080"/>
              <a:gd name="connsiteX79" fmla="*/ 282892 w 3505200"/>
              <a:gd name="connsiteY79" fmla="*/ 7300436 h 8260080"/>
              <a:gd name="connsiteX80" fmla="*/ 334645 w 3505200"/>
              <a:gd name="connsiteY80" fmla="*/ 7194709 h 8260080"/>
              <a:gd name="connsiteX81" fmla="*/ 354881 w 3505200"/>
              <a:gd name="connsiteY81" fmla="*/ 7257702 h 8260080"/>
              <a:gd name="connsiteX82" fmla="*/ 337026 w 3505200"/>
              <a:gd name="connsiteY82" fmla="*/ 7316154 h 8260080"/>
              <a:gd name="connsiteX83" fmla="*/ 370364 w 3505200"/>
              <a:gd name="connsiteY83" fmla="*/ 7360602 h 8260080"/>
              <a:gd name="connsiteX84" fmla="*/ 447040 w 3505200"/>
              <a:gd name="connsiteY84" fmla="*/ 7366000 h 8260080"/>
              <a:gd name="connsiteX85" fmla="*/ 447040 w 3505200"/>
              <a:gd name="connsiteY85" fmla="*/ 7477760 h 8260080"/>
              <a:gd name="connsiteX86" fmla="*/ 558800 w 3505200"/>
              <a:gd name="connsiteY86" fmla="*/ 7528560 h 8260080"/>
              <a:gd name="connsiteX87" fmla="*/ 508000 w 3505200"/>
              <a:gd name="connsiteY87" fmla="*/ 7630160 h 8260080"/>
              <a:gd name="connsiteX88" fmla="*/ 436880 w 3505200"/>
              <a:gd name="connsiteY88" fmla="*/ 7609840 h 8260080"/>
              <a:gd name="connsiteX89" fmla="*/ 447040 w 3505200"/>
              <a:gd name="connsiteY89" fmla="*/ 7691120 h 8260080"/>
              <a:gd name="connsiteX90" fmla="*/ 518160 w 3505200"/>
              <a:gd name="connsiteY90" fmla="*/ 7741920 h 8260080"/>
              <a:gd name="connsiteX91" fmla="*/ 457200 w 3505200"/>
              <a:gd name="connsiteY91" fmla="*/ 7792720 h 8260080"/>
              <a:gd name="connsiteX92" fmla="*/ 396240 w 3505200"/>
              <a:gd name="connsiteY92" fmla="*/ 7701280 h 8260080"/>
              <a:gd name="connsiteX93" fmla="*/ 396240 w 3505200"/>
              <a:gd name="connsiteY93" fmla="*/ 7701280 h 8260080"/>
              <a:gd name="connsiteX94" fmla="*/ 436880 w 3505200"/>
              <a:gd name="connsiteY94" fmla="*/ 7874000 h 8260080"/>
              <a:gd name="connsiteX95" fmla="*/ 436880 w 3505200"/>
              <a:gd name="connsiteY95" fmla="*/ 7924800 h 8260080"/>
              <a:gd name="connsiteX96" fmla="*/ 548640 w 3505200"/>
              <a:gd name="connsiteY96" fmla="*/ 7965440 h 8260080"/>
              <a:gd name="connsiteX97" fmla="*/ 508000 w 3505200"/>
              <a:gd name="connsiteY97" fmla="*/ 8016240 h 8260080"/>
              <a:gd name="connsiteX98" fmla="*/ 589280 w 3505200"/>
              <a:gd name="connsiteY98" fmla="*/ 8056880 h 8260080"/>
              <a:gd name="connsiteX99" fmla="*/ 497840 w 3505200"/>
              <a:gd name="connsiteY99" fmla="*/ 8117840 h 8260080"/>
              <a:gd name="connsiteX100" fmla="*/ 518160 w 3505200"/>
              <a:gd name="connsiteY100" fmla="*/ 8209280 h 8260080"/>
              <a:gd name="connsiteX101" fmla="*/ 640080 w 3505200"/>
              <a:gd name="connsiteY101" fmla="*/ 8260080 h 8260080"/>
              <a:gd name="connsiteX102" fmla="*/ 731520 w 3505200"/>
              <a:gd name="connsiteY102" fmla="*/ 8219440 h 8260080"/>
              <a:gd name="connsiteX103" fmla="*/ 853440 w 3505200"/>
              <a:gd name="connsiteY103" fmla="*/ 8209280 h 8260080"/>
              <a:gd name="connsiteX104" fmla="*/ 955040 w 3505200"/>
              <a:gd name="connsiteY104" fmla="*/ 8260080 h 8260080"/>
              <a:gd name="connsiteX105" fmla="*/ 965200 w 3505200"/>
              <a:gd name="connsiteY105" fmla="*/ 8107680 h 8260080"/>
              <a:gd name="connsiteX106" fmla="*/ 894080 w 3505200"/>
              <a:gd name="connsiteY106" fmla="*/ 8026400 h 8260080"/>
              <a:gd name="connsiteX107" fmla="*/ 1016000 w 3505200"/>
              <a:gd name="connsiteY107" fmla="*/ 7863840 h 8260080"/>
              <a:gd name="connsiteX108" fmla="*/ 1107440 w 3505200"/>
              <a:gd name="connsiteY108" fmla="*/ 7894320 h 8260080"/>
              <a:gd name="connsiteX109" fmla="*/ 1127760 w 3505200"/>
              <a:gd name="connsiteY109" fmla="*/ 7853680 h 8260080"/>
              <a:gd name="connsiteX110" fmla="*/ 1066800 w 3505200"/>
              <a:gd name="connsiteY110" fmla="*/ 7813040 h 8260080"/>
              <a:gd name="connsiteX111" fmla="*/ 1137920 w 3505200"/>
              <a:gd name="connsiteY111" fmla="*/ 7762240 h 8260080"/>
              <a:gd name="connsiteX112" fmla="*/ 1330960 w 3505200"/>
              <a:gd name="connsiteY112" fmla="*/ 7802880 h 8260080"/>
              <a:gd name="connsiteX113" fmla="*/ 1361440 w 3505200"/>
              <a:gd name="connsiteY113" fmla="*/ 7772400 h 8260080"/>
              <a:gd name="connsiteX114" fmla="*/ 1483360 w 3505200"/>
              <a:gd name="connsiteY114" fmla="*/ 7823200 h 8260080"/>
              <a:gd name="connsiteX115" fmla="*/ 1554480 w 3505200"/>
              <a:gd name="connsiteY115" fmla="*/ 7731760 h 8260080"/>
              <a:gd name="connsiteX116" fmla="*/ 1524000 w 3505200"/>
              <a:gd name="connsiteY116" fmla="*/ 7640320 h 8260080"/>
              <a:gd name="connsiteX117" fmla="*/ 1645920 w 3505200"/>
              <a:gd name="connsiteY117" fmla="*/ 7437120 h 8260080"/>
              <a:gd name="connsiteX118" fmla="*/ 1635760 w 3505200"/>
              <a:gd name="connsiteY118" fmla="*/ 7335520 h 8260080"/>
              <a:gd name="connsiteX119" fmla="*/ 1696720 w 3505200"/>
              <a:gd name="connsiteY119" fmla="*/ 7223760 h 8260080"/>
              <a:gd name="connsiteX120" fmla="*/ 1625600 w 3505200"/>
              <a:gd name="connsiteY120" fmla="*/ 7172960 h 8260080"/>
              <a:gd name="connsiteX121" fmla="*/ 1747520 w 3505200"/>
              <a:gd name="connsiteY121" fmla="*/ 6990080 h 8260080"/>
              <a:gd name="connsiteX122" fmla="*/ 1666240 w 3505200"/>
              <a:gd name="connsiteY122" fmla="*/ 6939280 h 8260080"/>
              <a:gd name="connsiteX123" fmla="*/ 1737360 w 3505200"/>
              <a:gd name="connsiteY123" fmla="*/ 6888480 h 8260080"/>
              <a:gd name="connsiteX124" fmla="*/ 1645920 w 3505200"/>
              <a:gd name="connsiteY124" fmla="*/ 6776720 h 8260080"/>
              <a:gd name="connsiteX125" fmla="*/ 1808480 w 3505200"/>
              <a:gd name="connsiteY125" fmla="*/ 6715760 h 8260080"/>
              <a:gd name="connsiteX126" fmla="*/ 1727200 w 3505200"/>
              <a:gd name="connsiteY126" fmla="*/ 6614160 h 8260080"/>
              <a:gd name="connsiteX127" fmla="*/ 1686560 w 3505200"/>
              <a:gd name="connsiteY127" fmla="*/ 6421120 h 8260080"/>
              <a:gd name="connsiteX128" fmla="*/ 1889760 w 3505200"/>
              <a:gd name="connsiteY128" fmla="*/ 6299200 h 8260080"/>
              <a:gd name="connsiteX129" fmla="*/ 1940560 w 3505200"/>
              <a:gd name="connsiteY129" fmla="*/ 6228080 h 8260080"/>
              <a:gd name="connsiteX130" fmla="*/ 2032000 w 3505200"/>
              <a:gd name="connsiteY130" fmla="*/ 6136640 h 8260080"/>
              <a:gd name="connsiteX131" fmla="*/ 2011680 w 3505200"/>
              <a:gd name="connsiteY131" fmla="*/ 6014720 h 8260080"/>
              <a:gd name="connsiteX132" fmla="*/ 2123440 w 3505200"/>
              <a:gd name="connsiteY132" fmla="*/ 6065520 h 8260080"/>
              <a:gd name="connsiteX133" fmla="*/ 2092960 w 3505200"/>
              <a:gd name="connsiteY133" fmla="*/ 6167120 h 8260080"/>
              <a:gd name="connsiteX134" fmla="*/ 2286000 w 3505200"/>
              <a:gd name="connsiteY134" fmla="*/ 5933440 h 8260080"/>
              <a:gd name="connsiteX135" fmla="*/ 2255520 w 3505200"/>
              <a:gd name="connsiteY135" fmla="*/ 5801360 h 8260080"/>
              <a:gd name="connsiteX136" fmla="*/ 2448560 w 3505200"/>
              <a:gd name="connsiteY136" fmla="*/ 5598160 h 8260080"/>
              <a:gd name="connsiteX137" fmla="*/ 2357120 w 3505200"/>
              <a:gd name="connsiteY137" fmla="*/ 5435600 h 8260080"/>
              <a:gd name="connsiteX138" fmla="*/ 2225040 w 3505200"/>
              <a:gd name="connsiteY138" fmla="*/ 5415280 h 8260080"/>
              <a:gd name="connsiteX139" fmla="*/ 2103120 w 3505200"/>
              <a:gd name="connsiteY139" fmla="*/ 5222240 h 8260080"/>
              <a:gd name="connsiteX140" fmla="*/ 2092960 w 3505200"/>
              <a:gd name="connsiteY140" fmla="*/ 5110480 h 8260080"/>
              <a:gd name="connsiteX141" fmla="*/ 2052320 w 3505200"/>
              <a:gd name="connsiteY141" fmla="*/ 5151120 h 8260080"/>
              <a:gd name="connsiteX142" fmla="*/ 2042160 w 3505200"/>
              <a:gd name="connsiteY142" fmla="*/ 5242560 h 8260080"/>
              <a:gd name="connsiteX143" fmla="*/ 1981200 w 3505200"/>
              <a:gd name="connsiteY143" fmla="*/ 5191760 h 8260080"/>
              <a:gd name="connsiteX144" fmla="*/ 2011680 w 3505200"/>
              <a:gd name="connsiteY144" fmla="*/ 5120640 h 8260080"/>
              <a:gd name="connsiteX145" fmla="*/ 1930400 w 3505200"/>
              <a:gd name="connsiteY145" fmla="*/ 5100320 h 8260080"/>
              <a:gd name="connsiteX146" fmla="*/ 1859280 w 3505200"/>
              <a:gd name="connsiteY146" fmla="*/ 4917440 h 8260080"/>
              <a:gd name="connsiteX147" fmla="*/ 1828800 w 3505200"/>
              <a:gd name="connsiteY147" fmla="*/ 4622800 h 8260080"/>
              <a:gd name="connsiteX148" fmla="*/ 1910080 w 3505200"/>
              <a:gd name="connsiteY148" fmla="*/ 4419600 h 8260080"/>
              <a:gd name="connsiteX149" fmla="*/ 1920240 w 3505200"/>
              <a:gd name="connsiteY149" fmla="*/ 4277360 h 8260080"/>
              <a:gd name="connsiteX150" fmla="*/ 1971040 w 3505200"/>
              <a:gd name="connsiteY150" fmla="*/ 4124960 h 8260080"/>
              <a:gd name="connsiteX151" fmla="*/ 1879600 w 3505200"/>
              <a:gd name="connsiteY151" fmla="*/ 4023360 h 8260080"/>
              <a:gd name="connsiteX152" fmla="*/ 2072640 w 3505200"/>
              <a:gd name="connsiteY152" fmla="*/ 4003040 h 8260080"/>
              <a:gd name="connsiteX153" fmla="*/ 2092960 w 3505200"/>
              <a:gd name="connsiteY153" fmla="*/ 3850640 h 8260080"/>
              <a:gd name="connsiteX154" fmla="*/ 2001520 w 3505200"/>
              <a:gd name="connsiteY154" fmla="*/ 3728720 h 8260080"/>
              <a:gd name="connsiteX155" fmla="*/ 2164080 w 3505200"/>
              <a:gd name="connsiteY155" fmla="*/ 3769360 h 8260080"/>
              <a:gd name="connsiteX156" fmla="*/ 2265680 w 3505200"/>
              <a:gd name="connsiteY156" fmla="*/ 3566160 h 8260080"/>
              <a:gd name="connsiteX157" fmla="*/ 2336800 w 3505200"/>
              <a:gd name="connsiteY157" fmla="*/ 3515360 h 8260080"/>
              <a:gd name="connsiteX158" fmla="*/ 2367280 w 3505200"/>
              <a:gd name="connsiteY158" fmla="*/ 3362960 h 8260080"/>
              <a:gd name="connsiteX159" fmla="*/ 2489200 w 3505200"/>
              <a:gd name="connsiteY159" fmla="*/ 3423920 h 8260080"/>
              <a:gd name="connsiteX160" fmla="*/ 2560320 w 3505200"/>
              <a:gd name="connsiteY160" fmla="*/ 3302000 h 8260080"/>
              <a:gd name="connsiteX161" fmla="*/ 2743200 w 3505200"/>
              <a:gd name="connsiteY161" fmla="*/ 3149600 h 8260080"/>
              <a:gd name="connsiteX162" fmla="*/ 2844800 w 3505200"/>
              <a:gd name="connsiteY162" fmla="*/ 3088640 h 8260080"/>
              <a:gd name="connsiteX163" fmla="*/ 2804160 w 3505200"/>
              <a:gd name="connsiteY163" fmla="*/ 2966720 h 8260080"/>
              <a:gd name="connsiteX164" fmla="*/ 2976880 w 3505200"/>
              <a:gd name="connsiteY164" fmla="*/ 2763520 h 8260080"/>
              <a:gd name="connsiteX165" fmla="*/ 2794000 w 3505200"/>
              <a:gd name="connsiteY165" fmla="*/ 2621280 h 8260080"/>
              <a:gd name="connsiteX166" fmla="*/ 2946400 w 3505200"/>
              <a:gd name="connsiteY166" fmla="*/ 2377440 h 8260080"/>
              <a:gd name="connsiteX167" fmla="*/ 2854960 w 3505200"/>
              <a:gd name="connsiteY167" fmla="*/ 2255520 h 8260080"/>
              <a:gd name="connsiteX168" fmla="*/ 3027680 w 3505200"/>
              <a:gd name="connsiteY168" fmla="*/ 2113280 h 8260080"/>
              <a:gd name="connsiteX169" fmla="*/ 3119120 w 3505200"/>
              <a:gd name="connsiteY169" fmla="*/ 2021840 h 8260080"/>
              <a:gd name="connsiteX170" fmla="*/ 3027680 w 3505200"/>
              <a:gd name="connsiteY170" fmla="*/ 1960880 h 8260080"/>
              <a:gd name="connsiteX171" fmla="*/ 3139440 w 3505200"/>
              <a:gd name="connsiteY171" fmla="*/ 1869440 h 8260080"/>
              <a:gd name="connsiteX172" fmla="*/ 3281680 w 3505200"/>
              <a:gd name="connsiteY172" fmla="*/ 1950720 h 8260080"/>
              <a:gd name="connsiteX173" fmla="*/ 3403600 w 3505200"/>
              <a:gd name="connsiteY173" fmla="*/ 1889760 h 8260080"/>
              <a:gd name="connsiteX174" fmla="*/ 3505200 w 3505200"/>
              <a:gd name="connsiteY174" fmla="*/ 1910080 h 8260080"/>
              <a:gd name="connsiteX175" fmla="*/ 3444240 w 3505200"/>
              <a:gd name="connsiteY175" fmla="*/ 1656080 h 8260080"/>
              <a:gd name="connsiteX176" fmla="*/ 3373120 w 3505200"/>
              <a:gd name="connsiteY176" fmla="*/ 1635760 h 8260080"/>
              <a:gd name="connsiteX177" fmla="*/ 3352800 w 3505200"/>
              <a:gd name="connsiteY177" fmla="*/ 1503680 h 8260080"/>
              <a:gd name="connsiteX178" fmla="*/ 3444240 w 3505200"/>
              <a:gd name="connsiteY178" fmla="*/ 1412240 h 8260080"/>
              <a:gd name="connsiteX179" fmla="*/ 3393440 w 3505200"/>
              <a:gd name="connsiteY179" fmla="*/ 1280160 h 8260080"/>
              <a:gd name="connsiteX180" fmla="*/ 3434080 w 3505200"/>
              <a:gd name="connsiteY180" fmla="*/ 1249680 h 8260080"/>
              <a:gd name="connsiteX181" fmla="*/ 3281680 w 3505200"/>
              <a:gd name="connsiteY181" fmla="*/ 1066800 h 8260080"/>
              <a:gd name="connsiteX182" fmla="*/ 3383280 w 3505200"/>
              <a:gd name="connsiteY182" fmla="*/ 975360 h 8260080"/>
              <a:gd name="connsiteX183" fmla="*/ 3302000 w 3505200"/>
              <a:gd name="connsiteY183" fmla="*/ 924560 h 8260080"/>
              <a:gd name="connsiteX184" fmla="*/ 3190240 w 3505200"/>
              <a:gd name="connsiteY184" fmla="*/ 944880 h 8260080"/>
              <a:gd name="connsiteX185" fmla="*/ 3281680 w 3505200"/>
              <a:gd name="connsiteY185" fmla="*/ 792480 h 8260080"/>
              <a:gd name="connsiteX186" fmla="*/ 3210560 w 3505200"/>
              <a:gd name="connsiteY186" fmla="*/ 650240 h 8260080"/>
              <a:gd name="connsiteX187" fmla="*/ 3302000 w 3505200"/>
              <a:gd name="connsiteY187" fmla="*/ 568960 h 8260080"/>
              <a:gd name="connsiteX188" fmla="*/ 3190240 w 3505200"/>
              <a:gd name="connsiteY188" fmla="*/ 487680 h 8260080"/>
              <a:gd name="connsiteX189" fmla="*/ 3108960 w 3505200"/>
              <a:gd name="connsiteY189" fmla="*/ 528320 h 8260080"/>
              <a:gd name="connsiteX190" fmla="*/ 3108960 w 3505200"/>
              <a:gd name="connsiteY190" fmla="*/ 406400 h 8260080"/>
              <a:gd name="connsiteX191" fmla="*/ 2926080 w 3505200"/>
              <a:gd name="connsiteY191" fmla="*/ 314960 h 8260080"/>
              <a:gd name="connsiteX192" fmla="*/ 2834640 w 3505200"/>
              <a:gd name="connsiteY192" fmla="*/ 355600 h 8260080"/>
              <a:gd name="connsiteX193" fmla="*/ 2682240 w 3505200"/>
              <a:gd name="connsiteY193" fmla="*/ 111760 h 8260080"/>
              <a:gd name="connsiteX194" fmla="*/ 2590800 w 3505200"/>
              <a:gd name="connsiteY194" fmla="*/ 121920 h 8260080"/>
              <a:gd name="connsiteX195" fmla="*/ 2611120 w 3505200"/>
              <a:gd name="connsiteY195" fmla="*/ 0 h 8260080"/>
              <a:gd name="connsiteX196" fmla="*/ 2438400 w 3505200"/>
              <a:gd name="connsiteY196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33679 w 3505200"/>
              <a:gd name="connsiteY76" fmla="*/ 6971505 h 8260080"/>
              <a:gd name="connsiteX77" fmla="*/ 271463 w 3505200"/>
              <a:gd name="connsiteY77" fmla="*/ 7030085 h 8260080"/>
              <a:gd name="connsiteX78" fmla="*/ 280829 w 3505200"/>
              <a:gd name="connsiteY78" fmla="*/ 7148354 h 8260080"/>
              <a:gd name="connsiteX79" fmla="*/ 242962 w 3505200"/>
              <a:gd name="connsiteY79" fmla="*/ 7226746 h 8260080"/>
              <a:gd name="connsiteX80" fmla="*/ 282892 w 3505200"/>
              <a:gd name="connsiteY80" fmla="*/ 7300436 h 8260080"/>
              <a:gd name="connsiteX81" fmla="*/ 334645 w 3505200"/>
              <a:gd name="connsiteY81" fmla="*/ 7194709 h 8260080"/>
              <a:gd name="connsiteX82" fmla="*/ 354881 w 3505200"/>
              <a:gd name="connsiteY82" fmla="*/ 7257702 h 8260080"/>
              <a:gd name="connsiteX83" fmla="*/ 337026 w 3505200"/>
              <a:gd name="connsiteY83" fmla="*/ 7316154 h 8260080"/>
              <a:gd name="connsiteX84" fmla="*/ 370364 w 3505200"/>
              <a:gd name="connsiteY84" fmla="*/ 7360602 h 8260080"/>
              <a:gd name="connsiteX85" fmla="*/ 447040 w 3505200"/>
              <a:gd name="connsiteY85" fmla="*/ 7366000 h 8260080"/>
              <a:gd name="connsiteX86" fmla="*/ 447040 w 3505200"/>
              <a:gd name="connsiteY86" fmla="*/ 7477760 h 8260080"/>
              <a:gd name="connsiteX87" fmla="*/ 558800 w 3505200"/>
              <a:gd name="connsiteY87" fmla="*/ 7528560 h 8260080"/>
              <a:gd name="connsiteX88" fmla="*/ 508000 w 3505200"/>
              <a:gd name="connsiteY88" fmla="*/ 7630160 h 8260080"/>
              <a:gd name="connsiteX89" fmla="*/ 436880 w 3505200"/>
              <a:gd name="connsiteY89" fmla="*/ 7609840 h 8260080"/>
              <a:gd name="connsiteX90" fmla="*/ 447040 w 3505200"/>
              <a:gd name="connsiteY90" fmla="*/ 7691120 h 8260080"/>
              <a:gd name="connsiteX91" fmla="*/ 518160 w 3505200"/>
              <a:gd name="connsiteY91" fmla="*/ 7741920 h 8260080"/>
              <a:gd name="connsiteX92" fmla="*/ 457200 w 3505200"/>
              <a:gd name="connsiteY92" fmla="*/ 7792720 h 8260080"/>
              <a:gd name="connsiteX93" fmla="*/ 396240 w 3505200"/>
              <a:gd name="connsiteY93" fmla="*/ 7701280 h 8260080"/>
              <a:gd name="connsiteX94" fmla="*/ 396240 w 3505200"/>
              <a:gd name="connsiteY94" fmla="*/ 7701280 h 8260080"/>
              <a:gd name="connsiteX95" fmla="*/ 436880 w 3505200"/>
              <a:gd name="connsiteY95" fmla="*/ 7874000 h 8260080"/>
              <a:gd name="connsiteX96" fmla="*/ 436880 w 3505200"/>
              <a:gd name="connsiteY96" fmla="*/ 7924800 h 8260080"/>
              <a:gd name="connsiteX97" fmla="*/ 548640 w 3505200"/>
              <a:gd name="connsiteY97" fmla="*/ 7965440 h 8260080"/>
              <a:gd name="connsiteX98" fmla="*/ 508000 w 3505200"/>
              <a:gd name="connsiteY98" fmla="*/ 8016240 h 8260080"/>
              <a:gd name="connsiteX99" fmla="*/ 589280 w 3505200"/>
              <a:gd name="connsiteY99" fmla="*/ 8056880 h 8260080"/>
              <a:gd name="connsiteX100" fmla="*/ 497840 w 3505200"/>
              <a:gd name="connsiteY100" fmla="*/ 8117840 h 8260080"/>
              <a:gd name="connsiteX101" fmla="*/ 518160 w 3505200"/>
              <a:gd name="connsiteY101" fmla="*/ 8209280 h 8260080"/>
              <a:gd name="connsiteX102" fmla="*/ 640080 w 3505200"/>
              <a:gd name="connsiteY102" fmla="*/ 8260080 h 8260080"/>
              <a:gd name="connsiteX103" fmla="*/ 731520 w 3505200"/>
              <a:gd name="connsiteY103" fmla="*/ 8219440 h 8260080"/>
              <a:gd name="connsiteX104" fmla="*/ 853440 w 3505200"/>
              <a:gd name="connsiteY104" fmla="*/ 8209280 h 8260080"/>
              <a:gd name="connsiteX105" fmla="*/ 955040 w 3505200"/>
              <a:gd name="connsiteY105" fmla="*/ 8260080 h 8260080"/>
              <a:gd name="connsiteX106" fmla="*/ 965200 w 3505200"/>
              <a:gd name="connsiteY106" fmla="*/ 8107680 h 8260080"/>
              <a:gd name="connsiteX107" fmla="*/ 894080 w 3505200"/>
              <a:gd name="connsiteY107" fmla="*/ 8026400 h 8260080"/>
              <a:gd name="connsiteX108" fmla="*/ 1016000 w 3505200"/>
              <a:gd name="connsiteY108" fmla="*/ 7863840 h 8260080"/>
              <a:gd name="connsiteX109" fmla="*/ 1107440 w 3505200"/>
              <a:gd name="connsiteY109" fmla="*/ 7894320 h 8260080"/>
              <a:gd name="connsiteX110" fmla="*/ 1127760 w 3505200"/>
              <a:gd name="connsiteY110" fmla="*/ 7853680 h 8260080"/>
              <a:gd name="connsiteX111" fmla="*/ 1066800 w 3505200"/>
              <a:gd name="connsiteY111" fmla="*/ 7813040 h 8260080"/>
              <a:gd name="connsiteX112" fmla="*/ 1137920 w 3505200"/>
              <a:gd name="connsiteY112" fmla="*/ 7762240 h 8260080"/>
              <a:gd name="connsiteX113" fmla="*/ 1330960 w 3505200"/>
              <a:gd name="connsiteY113" fmla="*/ 7802880 h 8260080"/>
              <a:gd name="connsiteX114" fmla="*/ 1361440 w 3505200"/>
              <a:gd name="connsiteY114" fmla="*/ 7772400 h 8260080"/>
              <a:gd name="connsiteX115" fmla="*/ 1483360 w 3505200"/>
              <a:gd name="connsiteY115" fmla="*/ 7823200 h 8260080"/>
              <a:gd name="connsiteX116" fmla="*/ 1554480 w 3505200"/>
              <a:gd name="connsiteY116" fmla="*/ 7731760 h 8260080"/>
              <a:gd name="connsiteX117" fmla="*/ 1524000 w 3505200"/>
              <a:gd name="connsiteY117" fmla="*/ 7640320 h 8260080"/>
              <a:gd name="connsiteX118" fmla="*/ 1645920 w 3505200"/>
              <a:gd name="connsiteY118" fmla="*/ 7437120 h 8260080"/>
              <a:gd name="connsiteX119" fmla="*/ 1635760 w 3505200"/>
              <a:gd name="connsiteY119" fmla="*/ 7335520 h 8260080"/>
              <a:gd name="connsiteX120" fmla="*/ 1696720 w 3505200"/>
              <a:gd name="connsiteY120" fmla="*/ 7223760 h 8260080"/>
              <a:gd name="connsiteX121" fmla="*/ 1625600 w 3505200"/>
              <a:gd name="connsiteY121" fmla="*/ 7172960 h 8260080"/>
              <a:gd name="connsiteX122" fmla="*/ 1747520 w 3505200"/>
              <a:gd name="connsiteY122" fmla="*/ 6990080 h 8260080"/>
              <a:gd name="connsiteX123" fmla="*/ 1666240 w 3505200"/>
              <a:gd name="connsiteY123" fmla="*/ 6939280 h 8260080"/>
              <a:gd name="connsiteX124" fmla="*/ 1737360 w 3505200"/>
              <a:gd name="connsiteY124" fmla="*/ 6888480 h 8260080"/>
              <a:gd name="connsiteX125" fmla="*/ 1645920 w 3505200"/>
              <a:gd name="connsiteY125" fmla="*/ 6776720 h 8260080"/>
              <a:gd name="connsiteX126" fmla="*/ 1808480 w 3505200"/>
              <a:gd name="connsiteY126" fmla="*/ 6715760 h 8260080"/>
              <a:gd name="connsiteX127" fmla="*/ 1727200 w 3505200"/>
              <a:gd name="connsiteY127" fmla="*/ 6614160 h 8260080"/>
              <a:gd name="connsiteX128" fmla="*/ 1686560 w 3505200"/>
              <a:gd name="connsiteY128" fmla="*/ 6421120 h 8260080"/>
              <a:gd name="connsiteX129" fmla="*/ 1889760 w 3505200"/>
              <a:gd name="connsiteY129" fmla="*/ 6299200 h 8260080"/>
              <a:gd name="connsiteX130" fmla="*/ 1940560 w 3505200"/>
              <a:gd name="connsiteY130" fmla="*/ 6228080 h 8260080"/>
              <a:gd name="connsiteX131" fmla="*/ 2032000 w 3505200"/>
              <a:gd name="connsiteY131" fmla="*/ 6136640 h 8260080"/>
              <a:gd name="connsiteX132" fmla="*/ 2011680 w 3505200"/>
              <a:gd name="connsiteY132" fmla="*/ 6014720 h 8260080"/>
              <a:gd name="connsiteX133" fmla="*/ 2123440 w 3505200"/>
              <a:gd name="connsiteY133" fmla="*/ 6065520 h 8260080"/>
              <a:gd name="connsiteX134" fmla="*/ 2092960 w 3505200"/>
              <a:gd name="connsiteY134" fmla="*/ 6167120 h 8260080"/>
              <a:gd name="connsiteX135" fmla="*/ 2286000 w 3505200"/>
              <a:gd name="connsiteY135" fmla="*/ 5933440 h 8260080"/>
              <a:gd name="connsiteX136" fmla="*/ 2255520 w 3505200"/>
              <a:gd name="connsiteY136" fmla="*/ 5801360 h 8260080"/>
              <a:gd name="connsiteX137" fmla="*/ 2448560 w 3505200"/>
              <a:gd name="connsiteY137" fmla="*/ 5598160 h 8260080"/>
              <a:gd name="connsiteX138" fmla="*/ 2357120 w 3505200"/>
              <a:gd name="connsiteY138" fmla="*/ 5435600 h 8260080"/>
              <a:gd name="connsiteX139" fmla="*/ 2225040 w 3505200"/>
              <a:gd name="connsiteY139" fmla="*/ 5415280 h 8260080"/>
              <a:gd name="connsiteX140" fmla="*/ 2103120 w 3505200"/>
              <a:gd name="connsiteY140" fmla="*/ 5222240 h 8260080"/>
              <a:gd name="connsiteX141" fmla="*/ 2092960 w 3505200"/>
              <a:gd name="connsiteY141" fmla="*/ 5110480 h 8260080"/>
              <a:gd name="connsiteX142" fmla="*/ 2052320 w 3505200"/>
              <a:gd name="connsiteY142" fmla="*/ 5151120 h 8260080"/>
              <a:gd name="connsiteX143" fmla="*/ 2042160 w 3505200"/>
              <a:gd name="connsiteY143" fmla="*/ 5242560 h 8260080"/>
              <a:gd name="connsiteX144" fmla="*/ 1981200 w 3505200"/>
              <a:gd name="connsiteY144" fmla="*/ 5191760 h 8260080"/>
              <a:gd name="connsiteX145" fmla="*/ 2011680 w 3505200"/>
              <a:gd name="connsiteY145" fmla="*/ 5120640 h 8260080"/>
              <a:gd name="connsiteX146" fmla="*/ 1930400 w 3505200"/>
              <a:gd name="connsiteY146" fmla="*/ 5100320 h 8260080"/>
              <a:gd name="connsiteX147" fmla="*/ 1859280 w 3505200"/>
              <a:gd name="connsiteY147" fmla="*/ 4917440 h 8260080"/>
              <a:gd name="connsiteX148" fmla="*/ 1828800 w 3505200"/>
              <a:gd name="connsiteY148" fmla="*/ 4622800 h 8260080"/>
              <a:gd name="connsiteX149" fmla="*/ 1910080 w 3505200"/>
              <a:gd name="connsiteY149" fmla="*/ 4419600 h 8260080"/>
              <a:gd name="connsiteX150" fmla="*/ 1920240 w 3505200"/>
              <a:gd name="connsiteY150" fmla="*/ 4277360 h 8260080"/>
              <a:gd name="connsiteX151" fmla="*/ 1971040 w 3505200"/>
              <a:gd name="connsiteY151" fmla="*/ 4124960 h 8260080"/>
              <a:gd name="connsiteX152" fmla="*/ 1879600 w 3505200"/>
              <a:gd name="connsiteY152" fmla="*/ 4023360 h 8260080"/>
              <a:gd name="connsiteX153" fmla="*/ 2072640 w 3505200"/>
              <a:gd name="connsiteY153" fmla="*/ 4003040 h 8260080"/>
              <a:gd name="connsiteX154" fmla="*/ 2092960 w 3505200"/>
              <a:gd name="connsiteY154" fmla="*/ 3850640 h 8260080"/>
              <a:gd name="connsiteX155" fmla="*/ 2001520 w 3505200"/>
              <a:gd name="connsiteY155" fmla="*/ 3728720 h 8260080"/>
              <a:gd name="connsiteX156" fmla="*/ 2164080 w 3505200"/>
              <a:gd name="connsiteY156" fmla="*/ 3769360 h 8260080"/>
              <a:gd name="connsiteX157" fmla="*/ 2265680 w 3505200"/>
              <a:gd name="connsiteY157" fmla="*/ 3566160 h 8260080"/>
              <a:gd name="connsiteX158" fmla="*/ 2336800 w 3505200"/>
              <a:gd name="connsiteY158" fmla="*/ 3515360 h 8260080"/>
              <a:gd name="connsiteX159" fmla="*/ 2367280 w 3505200"/>
              <a:gd name="connsiteY159" fmla="*/ 3362960 h 8260080"/>
              <a:gd name="connsiteX160" fmla="*/ 2489200 w 3505200"/>
              <a:gd name="connsiteY160" fmla="*/ 3423920 h 8260080"/>
              <a:gd name="connsiteX161" fmla="*/ 2560320 w 3505200"/>
              <a:gd name="connsiteY161" fmla="*/ 3302000 h 8260080"/>
              <a:gd name="connsiteX162" fmla="*/ 2743200 w 3505200"/>
              <a:gd name="connsiteY162" fmla="*/ 3149600 h 8260080"/>
              <a:gd name="connsiteX163" fmla="*/ 2844800 w 3505200"/>
              <a:gd name="connsiteY163" fmla="*/ 3088640 h 8260080"/>
              <a:gd name="connsiteX164" fmla="*/ 2804160 w 3505200"/>
              <a:gd name="connsiteY164" fmla="*/ 2966720 h 8260080"/>
              <a:gd name="connsiteX165" fmla="*/ 2976880 w 3505200"/>
              <a:gd name="connsiteY165" fmla="*/ 2763520 h 8260080"/>
              <a:gd name="connsiteX166" fmla="*/ 2794000 w 3505200"/>
              <a:gd name="connsiteY166" fmla="*/ 2621280 h 8260080"/>
              <a:gd name="connsiteX167" fmla="*/ 2946400 w 3505200"/>
              <a:gd name="connsiteY167" fmla="*/ 2377440 h 8260080"/>
              <a:gd name="connsiteX168" fmla="*/ 2854960 w 3505200"/>
              <a:gd name="connsiteY168" fmla="*/ 2255520 h 8260080"/>
              <a:gd name="connsiteX169" fmla="*/ 3027680 w 3505200"/>
              <a:gd name="connsiteY169" fmla="*/ 2113280 h 8260080"/>
              <a:gd name="connsiteX170" fmla="*/ 3119120 w 3505200"/>
              <a:gd name="connsiteY170" fmla="*/ 2021840 h 8260080"/>
              <a:gd name="connsiteX171" fmla="*/ 3027680 w 3505200"/>
              <a:gd name="connsiteY171" fmla="*/ 1960880 h 8260080"/>
              <a:gd name="connsiteX172" fmla="*/ 3139440 w 3505200"/>
              <a:gd name="connsiteY172" fmla="*/ 1869440 h 8260080"/>
              <a:gd name="connsiteX173" fmla="*/ 3281680 w 3505200"/>
              <a:gd name="connsiteY173" fmla="*/ 1950720 h 8260080"/>
              <a:gd name="connsiteX174" fmla="*/ 3403600 w 3505200"/>
              <a:gd name="connsiteY174" fmla="*/ 1889760 h 8260080"/>
              <a:gd name="connsiteX175" fmla="*/ 3505200 w 3505200"/>
              <a:gd name="connsiteY175" fmla="*/ 1910080 h 8260080"/>
              <a:gd name="connsiteX176" fmla="*/ 3444240 w 3505200"/>
              <a:gd name="connsiteY176" fmla="*/ 1656080 h 8260080"/>
              <a:gd name="connsiteX177" fmla="*/ 3373120 w 3505200"/>
              <a:gd name="connsiteY177" fmla="*/ 1635760 h 8260080"/>
              <a:gd name="connsiteX178" fmla="*/ 3352800 w 3505200"/>
              <a:gd name="connsiteY178" fmla="*/ 1503680 h 8260080"/>
              <a:gd name="connsiteX179" fmla="*/ 3444240 w 3505200"/>
              <a:gd name="connsiteY179" fmla="*/ 1412240 h 8260080"/>
              <a:gd name="connsiteX180" fmla="*/ 3393440 w 3505200"/>
              <a:gd name="connsiteY180" fmla="*/ 1280160 h 8260080"/>
              <a:gd name="connsiteX181" fmla="*/ 3434080 w 3505200"/>
              <a:gd name="connsiteY181" fmla="*/ 1249680 h 8260080"/>
              <a:gd name="connsiteX182" fmla="*/ 3281680 w 3505200"/>
              <a:gd name="connsiteY182" fmla="*/ 1066800 h 8260080"/>
              <a:gd name="connsiteX183" fmla="*/ 3383280 w 3505200"/>
              <a:gd name="connsiteY183" fmla="*/ 975360 h 8260080"/>
              <a:gd name="connsiteX184" fmla="*/ 3302000 w 3505200"/>
              <a:gd name="connsiteY184" fmla="*/ 924560 h 8260080"/>
              <a:gd name="connsiteX185" fmla="*/ 3190240 w 3505200"/>
              <a:gd name="connsiteY185" fmla="*/ 944880 h 8260080"/>
              <a:gd name="connsiteX186" fmla="*/ 3281680 w 3505200"/>
              <a:gd name="connsiteY186" fmla="*/ 792480 h 8260080"/>
              <a:gd name="connsiteX187" fmla="*/ 3210560 w 3505200"/>
              <a:gd name="connsiteY187" fmla="*/ 650240 h 8260080"/>
              <a:gd name="connsiteX188" fmla="*/ 3302000 w 3505200"/>
              <a:gd name="connsiteY188" fmla="*/ 568960 h 8260080"/>
              <a:gd name="connsiteX189" fmla="*/ 3190240 w 3505200"/>
              <a:gd name="connsiteY189" fmla="*/ 487680 h 8260080"/>
              <a:gd name="connsiteX190" fmla="*/ 3108960 w 3505200"/>
              <a:gd name="connsiteY190" fmla="*/ 528320 h 8260080"/>
              <a:gd name="connsiteX191" fmla="*/ 3108960 w 3505200"/>
              <a:gd name="connsiteY191" fmla="*/ 406400 h 8260080"/>
              <a:gd name="connsiteX192" fmla="*/ 2926080 w 3505200"/>
              <a:gd name="connsiteY192" fmla="*/ 314960 h 8260080"/>
              <a:gd name="connsiteX193" fmla="*/ 2834640 w 3505200"/>
              <a:gd name="connsiteY193" fmla="*/ 355600 h 8260080"/>
              <a:gd name="connsiteX194" fmla="*/ 2682240 w 3505200"/>
              <a:gd name="connsiteY194" fmla="*/ 111760 h 8260080"/>
              <a:gd name="connsiteX195" fmla="*/ 2590800 w 3505200"/>
              <a:gd name="connsiteY195" fmla="*/ 121920 h 8260080"/>
              <a:gd name="connsiteX196" fmla="*/ 2611120 w 3505200"/>
              <a:gd name="connsiteY196" fmla="*/ 0 h 8260080"/>
              <a:gd name="connsiteX197" fmla="*/ 2438400 w 3505200"/>
              <a:gd name="connsiteY197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271463 w 3505200"/>
              <a:gd name="connsiteY77" fmla="*/ 7030085 h 8260080"/>
              <a:gd name="connsiteX78" fmla="*/ 280829 w 3505200"/>
              <a:gd name="connsiteY78" fmla="*/ 7148354 h 8260080"/>
              <a:gd name="connsiteX79" fmla="*/ 242962 w 3505200"/>
              <a:gd name="connsiteY79" fmla="*/ 7226746 h 8260080"/>
              <a:gd name="connsiteX80" fmla="*/ 282892 w 3505200"/>
              <a:gd name="connsiteY80" fmla="*/ 7300436 h 8260080"/>
              <a:gd name="connsiteX81" fmla="*/ 334645 w 3505200"/>
              <a:gd name="connsiteY81" fmla="*/ 7194709 h 8260080"/>
              <a:gd name="connsiteX82" fmla="*/ 354881 w 3505200"/>
              <a:gd name="connsiteY82" fmla="*/ 7257702 h 8260080"/>
              <a:gd name="connsiteX83" fmla="*/ 337026 w 3505200"/>
              <a:gd name="connsiteY83" fmla="*/ 7316154 h 8260080"/>
              <a:gd name="connsiteX84" fmla="*/ 370364 w 3505200"/>
              <a:gd name="connsiteY84" fmla="*/ 7360602 h 8260080"/>
              <a:gd name="connsiteX85" fmla="*/ 447040 w 3505200"/>
              <a:gd name="connsiteY85" fmla="*/ 7366000 h 8260080"/>
              <a:gd name="connsiteX86" fmla="*/ 447040 w 3505200"/>
              <a:gd name="connsiteY86" fmla="*/ 7477760 h 8260080"/>
              <a:gd name="connsiteX87" fmla="*/ 558800 w 3505200"/>
              <a:gd name="connsiteY87" fmla="*/ 7528560 h 8260080"/>
              <a:gd name="connsiteX88" fmla="*/ 508000 w 3505200"/>
              <a:gd name="connsiteY88" fmla="*/ 7630160 h 8260080"/>
              <a:gd name="connsiteX89" fmla="*/ 436880 w 3505200"/>
              <a:gd name="connsiteY89" fmla="*/ 7609840 h 8260080"/>
              <a:gd name="connsiteX90" fmla="*/ 447040 w 3505200"/>
              <a:gd name="connsiteY90" fmla="*/ 7691120 h 8260080"/>
              <a:gd name="connsiteX91" fmla="*/ 518160 w 3505200"/>
              <a:gd name="connsiteY91" fmla="*/ 7741920 h 8260080"/>
              <a:gd name="connsiteX92" fmla="*/ 457200 w 3505200"/>
              <a:gd name="connsiteY92" fmla="*/ 7792720 h 8260080"/>
              <a:gd name="connsiteX93" fmla="*/ 396240 w 3505200"/>
              <a:gd name="connsiteY93" fmla="*/ 7701280 h 8260080"/>
              <a:gd name="connsiteX94" fmla="*/ 396240 w 3505200"/>
              <a:gd name="connsiteY94" fmla="*/ 7701280 h 8260080"/>
              <a:gd name="connsiteX95" fmla="*/ 436880 w 3505200"/>
              <a:gd name="connsiteY95" fmla="*/ 7874000 h 8260080"/>
              <a:gd name="connsiteX96" fmla="*/ 436880 w 3505200"/>
              <a:gd name="connsiteY96" fmla="*/ 7924800 h 8260080"/>
              <a:gd name="connsiteX97" fmla="*/ 548640 w 3505200"/>
              <a:gd name="connsiteY97" fmla="*/ 7965440 h 8260080"/>
              <a:gd name="connsiteX98" fmla="*/ 508000 w 3505200"/>
              <a:gd name="connsiteY98" fmla="*/ 8016240 h 8260080"/>
              <a:gd name="connsiteX99" fmla="*/ 589280 w 3505200"/>
              <a:gd name="connsiteY99" fmla="*/ 8056880 h 8260080"/>
              <a:gd name="connsiteX100" fmla="*/ 497840 w 3505200"/>
              <a:gd name="connsiteY100" fmla="*/ 8117840 h 8260080"/>
              <a:gd name="connsiteX101" fmla="*/ 518160 w 3505200"/>
              <a:gd name="connsiteY101" fmla="*/ 8209280 h 8260080"/>
              <a:gd name="connsiteX102" fmla="*/ 640080 w 3505200"/>
              <a:gd name="connsiteY102" fmla="*/ 8260080 h 8260080"/>
              <a:gd name="connsiteX103" fmla="*/ 731520 w 3505200"/>
              <a:gd name="connsiteY103" fmla="*/ 8219440 h 8260080"/>
              <a:gd name="connsiteX104" fmla="*/ 853440 w 3505200"/>
              <a:gd name="connsiteY104" fmla="*/ 8209280 h 8260080"/>
              <a:gd name="connsiteX105" fmla="*/ 955040 w 3505200"/>
              <a:gd name="connsiteY105" fmla="*/ 8260080 h 8260080"/>
              <a:gd name="connsiteX106" fmla="*/ 965200 w 3505200"/>
              <a:gd name="connsiteY106" fmla="*/ 8107680 h 8260080"/>
              <a:gd name="connsiteX107" fmla="*/ 894080 w 3505200"/>
              <a:gd name="connsiteY107" fmla="*/ 8026400 h 8260080"/>
              <a:gd name="connsiteX108" fmla="*/ 1016000 w 3505200"/>
              <a:gd name="connsiteY108" fmla="*/ 7863840 h 8260080"/>
              <a:gd name="connsiteX109" fmla="*/ 1107440 w 3505200"/>
              <a:gd name="connsiteY109" fmla="*/ 7894320 h 8260080"/>
              <a:gd name="connsiteX110" fmla="*/ 1127760 w 3505200"/>
              <a:gd name="connsiteY110" fmla="*/ 7853680 h 8260080"/>
              <a:gd name="connsiteX111" fmla="*/ 1066800 w 3505200"/>
              <a:gd name="connsiteY111" fmla="*/ 7813040 h 8260080"/>
              <a:gd name="connsiteX112" fmla="*/ 1137920 w 3505200"/>
              <a:gd name="connsiteY112" fmla="*/ 7762240 h 8260080"/>
              <a:gd name="connsiteX113" fmla="*/ 1330960 w 3505200"/>
              <a:gd name="connsiteY113" fmla="*/ 7802880 h 8260080"/>
              <a:gd name="connsiteX114" fmla="*/ 1361440 w 3505200"/>
              <a:gd name="connsiteY114" fmla="*/ 7772400 h 8260080"/>
              <a:gd name="connsiteX115" fmla="*/ 1483360 w 3505200"/>
              <a:gd name="connsiteY115" fmla="*/ 7823200 h 8260080"/>
              <a:gd name="connsiteX116" fmla="*/ 1554480 w 3505200"/>
              <a:gd name="connsiteY116" fmla="*/ 7731760 h 8260080"/>
              <a:gd name="connsiteX117" fmla="*/ 1524000 w 3505200"/>
              <a:gd name="connsiteY117" fmla="*/ 7640320 h 8260080"/>
              <a:gd name="connsiteX118" fmla="*/ 1645920 w 3505200"/>
              <a:gd name="connsiteY118" fmla="*/ 7437120 h 8260080"/>
              <a:gd name="connsiteX119" fmla="*/ 1635760 w 3505200"/>
              <a:gd name="connsiteY119" fmla="*/ 7335520 h 8260080"/>
              <a:gd name="connsiteX120" fmla="*/ 1696720 w 3505200"/>
              <a:gd name="connsiteY120" fmla="*/ 7223760 h 8260080"/>
              <a:gd name="connsiteX121" fmla="*/ 1625600 w 3505200"/>
              <a:gd name="connsiteY121" fmla="*/ 7172960 h 8260080"/>
              <a:gd name="connsiteX122" fmla="*/ 1747520 w 3505200"/>
              <a:gd name="connsiteY122" fmla="*/ 6990080 h 8260080"/>
              <a:gd name="connsiteX123" fmla="*/ 1666240 w 3505200"/>
              <a:gd name="connsiteY123" fmla="*/ 6939280 h 8260080"/>
              <a:gd name="connsiteX124" fmla="*/ 1737360 w 3505200"/>
              <a:gd name="connsiteY124" fmla="*/ 6888480 h 8260080"/>
              <a:gd name="connsiteX125" fmla="*/ 1645920 w 3505200"/>
              <a:gd name="connsiteY125" fmla="*/ 6776720 h 8260080"/>
              <a:gd name="connsiteX126" fmla="*/ 1808480 w 3505200"/>
              <a:gd name="connsiteY126" fmla="*/ 6715760 h 8260080"/>
              <a:gd name="connsiteX127" fmla="*/ 1727200 w 3505200"/>
              <a:gd name="connsiteY127" fmla="*/ 6614160 h 8260080"/>
              <a:gd name="connsiteX128" fmla="*/ 1686560 w 3505200"/>
              <a:gd name="connsiteY128" fmla="*/ 6421120 h 8260080"/>
              <a:gd name="connsiteX129" fmla="*/ 1889760 w 3505200"/>
              <a:gd name="connsiteY129" fmla="*/ 6299200 h 8260080"/>
              <a:gd name="connsiteX130" fmla="*/ 1940560 w 3505200"/>
              <a:gd name="connsiteY130" fmla="*/ 6228080 h 8260080"/>
              <a:gd name="connsiteX131" fmla="*/ 2032000 w 3505200"/>
              <a:gd name="connsiteY131" fmla="*/ 6136640 h 8260080"/>
              <a:gd name="connsiteX132" fmla="*/ 2011680 w 3505200"/>
              <a:gd name="connsiteY132" fmla="*/ 6014720 h 8260080"/>
              <a:gd name="connsiteX133" fmla="*/ 2123440 w 3505200"/>
              <a:gd name="connsiteY133" fmla="*/ 6065520 h 8260080"/>
              <a:gd name="connsiteX134" fmla="*/ 2092960 w 3505200"/>
              <a:gd name="connsiteY134" fmla="*/ 6167120 h 8260080"/>
              <a:gd name="connsiteX135" fmla="*/ 2286000 w 3505200"/>
              <a:gd name="connsiteY135" fmla="*/ 5933440 h 8260080"/>
              <a:gd name="connsiteX136" fmla="*/ 2255520 w 3505200"/>
              <a:gd name="connsiteY136" fmla="*/ 5801360 h 8260080"/>
              <a:gd name="connsiteX137" fmla="*/ 2448560 w 3505200"/>
              <a:gd name="connsiteY137" fmla="*/ 5598160 h 8260080"/>
              <a:gd name="connsiteX138" fmla="*/ 2357120 w 3505200"/>
              <a:gd name="connsiteY138" fmla="*/ 5435600 h 8260080"/>
              <a:gd name="connsiteX139" fmla="*/ 2225040 w 3505200"/>
              <a:gd name="connsiteY139" fmla="*/ 5415280 h 8260080"/>
              <a:gd name="connsiteX140" fmla="*/ 2103120 w 3505200"/>
              <a:gd name="connsiteY140" fmla="*/ 5222240 h 8260080"/>
              <a:gd name="connsiteX141" fmla="*/ 2092960 w 3505200"/>
              <a:gd name="connsiteY141" fmla="*/ 5110480 h 8260080"/>
              <a:gd name="connsiteX142" fmla="*/ 2052320 w 3505200"/>
              <a:gd name="connsiteY142" fmla="*/ 5151120 h 8260080"/>
              <a:gd name="connsiteX143" fmla="*/ 2042160 w 3505200"/>
              <a:gd name="connsiteY143" fmla="*/ 5242560 h 8260080"/>
              <a:gd name="connsiteX144" fmla="*/ 1981200 w 3505200"/>
              <a:gd name="connsiteY144" fmla="*/ 5191760 h 8260080"/>
              <a:gd name="connsiteX145" fmla="*/ 2011680 w 3505200"/>
              <a:gd name="connsiteY145" fmla="*/ 5120640 h 8260080"/>
              <a:gd name="connsiteX146" fmla="*/ 1930400 w 3505200"/>
              <a:gd name="connsiteY146" fmla="*/ 5100320 h 8260080"/>
              <a:gd name="connsiteX147" fmla="*/ 1859280 w 3505200"/>
              <a:gd name="connsiteY147" fmla="*/ 4917440 h 8260080"/>
              <a:gd name="connsiteX148" fmla="*/ 1828800 w 3505200"/>
              <a:gd name="connsiteY148" fmla="*/ 4622800 h 8260080"/>
              <a:gd name="connsiteX149" fmla="*/ 1910080 w 3505200"/>
              <a:gd name="connsiteY149" fmla="*/ 4419600 h 8260080"/>
              <a:gd name="connsiteX150" fmla="*/ 1920240 w 3505200"/>
              <a:gd name="connsiteY150" fmla="*/ 4277360 h 8260080"/>
              <a:gd name="connsiteX151" fmla="*/ 1971040 w 3505200"/>
              <a:gd name="connsiteY151" fmla="*/ 4124960 h 8260080"/>
              <a:gd name="connsiteX152" fmla="*/ 1879600 w 3505200"/>
              <a:gd name="connsiteY152" fmla="*/ 4023360 h 8260080"/>
              <a:gd name="connsiteX153" fmla="*/ 2072640 w 3505200"/>
              <a:gd name="connsiteY153" fmla="*/ 4003040 h 8260080"/>
              <a:gd name="connsiteX154" fmla="*/ 2092960 w 3505200"/>
              <a:gd name="connsiteY154" fmla="*/ 3850640 h 8260080"/>
              <a:gd name="connsiteX155" fmla="*/ 2001520 w 3505200"/>
              <a:gd name="connsiteY155" fmla="*/ 3728720 h 8260080"/>
              <a:gd name="connsiteX156" fmla="*/ 2164080 w 3505200"/>
              <a:gd name="connsiteY156" fmla="*/ 3769360 h 8260080"/>
              <a:gd name="connsiteX157" fmla="*/ 2265680 w 3505200"/>
              <a:gd name="connsiteY157" fmla="*/ 3566160 h 8260080"/>
              <a:gd name="connsiteX158" fmla="*/ 2336800 w 3505200"/>
              <a:gd name="connsiteY158" fmla="*/ 3515360 h 8260080"/>
              <a:gd name="connsiteX159" fmla="*/ 2367280 w 3505200"/>
              <a:gd name="connsiteY159" fmla="*/ 3362960 h 8260080"/>
              <a:gd name="connsiteX160" fmla="*/ 2489200 w 3505200"/>
              <a:gd name="connsiteY160" fmla="*/ 3423920 h 8260080"/>
              <a:gd name="connsiteX161" fmla="*/ 2560320 w 3505200"/>
              <a:gd name="connsiteY161" fmla="*/ 3302000 h 8260080"/>
              <a:gd name="connsiteX162" fmla="*/ 2743200 w 3505200"/>
              <a:gd name="connsiteY162" fmla="*/ 3149600 h 8260080"/>
              <a:gd name="connsiteX163" fmla="*/ 2844800 w 3505200"/>
              <a:gd name="connsiteY163" fmla="*/ 3088640 h 8260080"/>
              <a:gd name="connsiteX164" fmla="*/ 2804160 w 3505200"/>
              <a:gd name="connsiteY164" fmla="*/ 2966720 h 8260080"/>
              <a:gd name="connsiteX165" fmla="*/ 2976880 w 3505200"/>
              <a:gd name="connsiteY165" fmla="*/ 2763520 h 8260080"/>
              <a:gd name="connsiteX166" fmla="*/ 2794000 w 3505200"/>
              <a:gd name="connsiteY166" fmla="*/ 2621280 h 8260080"/>
              <a:gd name="connsiteX167" fmla="*/ 2946400 w 3505200"/>
              <a:gd name="connsiteY167" fmla="*/ 2377440 h 8260080"/>
              <a:gd name="connsiteX168" fmla="*/ 2854960 w 3505200"/>
              <a:gd name="connsiteY168" fmla="*/ 2255520 h 8260080"/>
              <a:gd name="connsiteX169" fmla="*/ 3027680 w 3505200"/>
              <a:gd name="connsiteY169" fmla="*/ 2113280 h 8260080"/>
              <a:gd name="connsiteX170" fmla="*/ 3119120 w 3505200"/>
              <a:gd name="connsiteY170" fmla="*/ 2021840 h 8260080"/>
              <a:gd name="connsiteX171" fmla="*/ 3027680 w 3505200"/>
              <a:gd name="connsiteY171" fmla="*/ 1960880 h 8260080"/>
              <a:gd name="connsiteX172" fmla="*/ 3139440 w 3505200"/>
              <a:gd name="connsiteY172" fmla="*/ 1869440 h 8260080"/>
              <a:gd name="connsiteX173" fmla="*/ 3281680 w 3505200"/>
              <a:gd name="connsiteY173" fmla="*/ 1950720 h 8260080"/>
              <a:gd name="connsiteX174" fmla="*/ 3403600 w 3505200"/>
              <a:gd name="connsiteY174" fmla="*/ 1889760 h 8260080"/>
              <a:gd name="connsiteX175" fmla="*/ 3505200 w 3505200"/>
              <a:gd name="connsiteY175" fmla="*/ 1910080 h 8260080"/>
              <a:gd name="connsiteX176" fmla="*/ 3444240 w 3505200"/>
              <a:gd name="connsiteY176" fmla="*/ 1656080 h 8260080"/>
              <a:gd name="connsiteX177" fmla="*/ 3373120 w 3505200"/>
              <a:gd name="connsiteY177" fmla="*/ 1635760 h 8260080"/>
              <a:gd name="connsiteX178" fmla="*/ 3352800 w 3505200"/>
              <a:gd name="connsiteY178" fmla="*/ 1503680 h 8260080"/>
              <a:gd name="connsiteX179" fmla="*/ 3444240 w 3505200"/>
              <a:gd name="connsiteY179" fmla="*/ 1412240 h 8260080"/>
              <a:gd name="connsiteX180" fmla="*/ 3393440 w 3505200"/>
              <a:gd name="connsiteY180" fmla="*/ 1280160 h 8260080"/>
              <a:gd name="connsiteX181" fmla="*/ 3434080 w 3505200"/>
              <a:gd name="connsiteY181" fmla="*/ 1249680 h 8260080"/>
              <a:gd name="connsiteX182" fmla="*/ 3281680 w 3505200"/>
              <a:gd name="connsiteY182" fmla="*/ 1066800 h 8260080"/>
              <a:gd name="connsiteX183" fmla="*/ 3383280 w 3505200"/>
              <a:gd name="connsiteY183" fmla="*/ 975360 h 8260080"/>
              <a:gd name="connsiteX184" fmla="*/ 3302000 w 3505200"/>
              <a:gd name="connsiteY184" fmla="*/ 924560 h 8260080"/>
              <a:gd name="connsiteX185" fmla="*/ 3190240 w 3505200"/>
              <a:gd name="connsiteY185" fmla="*/ 944880 h 8260080"/>
              <a:gd name="connsiteX186" fmla="*/ 3281680 w 3505200"/>
              <a:gd name="connsiteY186" fmla="*/ 792480 h 8260080"/>
              <a:gd name="connsiteX187" fmla="*/ 3210560 w 3505200"/>
              <a:gd name="connsiteY187" fmla="*/ 650240 h 8260080"/>
              <a:gd name="connsiteX188" fmla="*/ 3302000 w 3505200"/>
              <a:gd name="connsiteY188" fmla="*/ 568960 h 8260080"/>
              <a:gd name="connsiteX189" fmla="*/ 3190240 w 3505200"/>
              <a:gd name="connsiteY189" fmla="*/ 487680 h 8260080"/>
              <a:gd name="connsiteX190" fmla="*/ 3108960 w 3505200"/>
              <a:gd name="connsiteY190" fmla="*/ 528320 h 8260080"/>
              <a:gd name="connsiteX191" fmla="*/ 3108960 w 3505200"/>
              <a:gd name="connsiteY191" fmla="*/ 406400 h 8260080"/>
              <a:gd name="connsiteX192" fmla="*/ 2926080 w 3505200"/>
              <a:gd name="connsiteY192" fmla="*/ 314960 h 8260080"/>
              <a:gd name="connsiteX193" fmla="*/ 2834640 w 3505200"/>
              <a:gd name="connsiteY193" fmla="*/ 355600 h 8260080"/>
              <a:gd name="connsiteX194" fmla="*/ 2682240 w 3505200"/>
              <a:gd name="connsiteY194" fmla="*/ 111760 h 8260080"/>
              <a:gd name="connsiteX195" fmla="*/ 2590800 w 3505200"/>
              <a:gd name="connsiteY195" fmla="*/ 121920 h 8260080"/>
              <a:gd name="connsiteX196" fmla="*/ 2611120 w 3505200"/>
              <a:gd name="connsiteY196" fmla="*/ 0 h 8260080"/>
              <a:gd name="connsiteX197" fmla="*/ 2438400 w 3505200"/>
              <a:gd name="connsiteY197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271463 w 3505200"/>
              <a:gd name="connsiteY77" fmla="*/ 7030085 h 8260080"/>
              <a:gd name="connsiteX78" fmla="*/ 280829 w 3505200"/>
              <a:gd name="connsiteY78" fmla="*/ 7148354 h 8260080"/>
              <a:gd name="connsiteX79" fmla="*/ 242962 w 3505200"/>
              <a:gd name="connsiteY79" fmla="*/ 7226746 h 8260080"/>
              <a:gd name="connsiteX80" fmla="*/ 282892 w 3505200"/>
              <a:gd name="connsiteY80" fmla="*/ 7300436 h 8260080"/>
              <a:gd name="connsiteX81" fmla="*/ 334645 w 3505200"/>
              <a:gd name="connsiteY81" fmla="*/ 7194709 h 8260080"/>
              <a:gd name="connsiteX82" fmla="*/ 354881 w 3505200"/>
              <a:gd name="connsiteY82" fmla="*/ 7257702 h 8260080"/>
              <a:gd name="connsiteX83" fmla="*/ 337026 w 3505200"/>
              <a:gd name="connsiteY83" fmla="*/ 7316154 h 8260080"/>
              <a:gd name="connsiteX84" fmla="*/ 370364 w 3505200"/>
              <a:gd name="connsiteY84" fmla="*/ 7360602 h 8260080"/>
              <a:gd name="connsiteX85" fmla="*/ 447040 w 3505200"/>
              <a:gd name="connsiteY85" fmla="*/ 7366000 h 8260080"/>
              <a:gd name="connsiteX86" fmla="*/ 447040 w 3505200"/>
              <a:gd name="connsiteY86" fmla="*/ 7477760 h 8260080"/>
              <a:gd name="connsiteX87" fmla="*/ 558800 w 3505200"/>
              <a:gd name="connsiteY87" fmla="*/ 7528560 h 8260080"/>
              <a:gd name="connsiteX88" fmla="*/ 508000 w 3505200"/>
              <a:gd name="connsiteY88" fmla="*/ 7630160 h 8260080"/>
              <a:gd name="connsiteX89" fmla="*/ 436880 w 3505200"/>
              <a:gd name="connsiteY89" fmla="*/ 7609840 h 8260080"/>
              <a:gd name="connsiteX90" fmla="*/ 447040 w 3505200"/>
              <a:gd name="connsiteY90" fmla="*/ 7691120 h 8260080"/>
              <a:gd name="connsiteX91" fmla="*/ 518160 w 3505200"/>
              <a:gd name="connsiteY91" fmla="*/ 7741920 h 8260080"/>
              <a:gd name="connsiteX92" fmla="*/ 457200 w 3505200"/>
              <a:gd name="connsiteY92" fmla="*/ 7792720 h 8260080"/>
              <a:gd name="connsiteX93" fmla="*/ 396240 w 3505200"/>
              <a:gd name="connsiteY93" fmla="*/ 7701280 h 8260080"/>
              <a:gd name="connsiteX94" fmla="*/ 396240 w 3505200"/>
              <a:gd name="connsiteY94" fmla="*/ 7701280 h 8260080"/>
              <a:gd name="connsiteX95" fmla="*/ 436880 w 3505200"/>
              <a:gd name="connsiteY95" fmla="*/ 7874000 h 8260080"/>
              <a:gd name="connsiteX96" fmla="*/ 436880 w 3505200"/>
              <a:gd name="connsiteY96" fmla="*/ 7924800 h 8260080"/>
              <a:gd name="connsiteX97" fmla="*/ 548640 w 3505200"/>
              <a:gd name="connsiteY97" fmla="*/ 7965440 h 8260080"/>
              <a:gd name="connsiteX98" fmla="*/ 508000 w 3505200"/>
              <a:gd name="connsiteY98" fmla="*/ 8016240 h 8260080"/>
              <a:gd name="connsiteX99" fmla="*/ 589280 w 3505200"/>
              <a:gd name="connsiteY99" fmla="*/ 8056880 h 8260080"/>
              <a:gd name="connsiteX100" fmla="*/ 497840 w 3505200"/>
              <a:gd name="connsiteY100" fmla="*/ 8117840 h 8260080"/>
              <a:gd name="connsiteX101" fmla="*/ 518160 w 3505200"/>
              <a:gd name="connsiteY101" fmla="*/ 8209280 h 8260080"/>
              <a:gd name="connsiteX102" fmla="*/ 640080 w 3505200"/>
              <a:gd name="connsiteY102" fmla="*/ 8260080 h 8260080"/>
              <a:gd name="connsiteX103" fmla="*/ 731520 w 3505200"/>
              <a:gd name="connsiteY103" fmla="*/ 8219440 h 8260080"/>
              <a:gd name="connsiteX104" fmla="*/ 853440 w 3505200"/>
              <a:gd name="connsiteY104" fmla="*/ 8209280 h 8260080"/>
              <a:gd name="connsiteX105" fmla="*/ 955040 w 3505200"/>
              <a:gd name="connsiteY105" fmla="*/ 8260080 h 8260080"/>
              <a:gd name="connsiteX106" fmla="*/ 965200 w 3505200"/>
              <a:gd name="connsiteY106" fmla="*/ 8107680 h 8260080"/>
              <a:gd name="connsiteX107" fmla="*/ 894080 w 3505200"/>
              <a:gd name="connsiteY107" fmla="*/ 8026400 h 8260080"/>
              <a:gd name="connsiteX108" fmla="*/ 1016000 w 3505200"/>
              <a:gd name="connsiteY108" fmla="*/ 7863840 h 8260080"/>
              <a:gd name="connsiteX109" fmla="*/ 1107440 w 3505200"/>
              <a:gd name="connsiteY109" fmla="*/ 7894320 h 8260080"/>
              <a:gd name="connsiteX110" fmla="*/ 1127760 w 3505200"/>
              <a:gd name="connsiteY110" fmla="*/ 7853680 h 8260080"/>
              <a:gd name="connsiteX111" fmla="*/ 1066800 w 3505200"/>
              <a:gd name="connsiteY111" fmla="*/ 7813040 h 8260080"/>
              <a:gd name="connsiteX112" fmla="*/ 1137920 w 3505200"/>
              <a:gd name="connsiteY112" fmla="*/ 7762240 h 8260080"/>
              <a:gd name="connsiteX113" fmla="*/ 1330960 w 3505200"/>
              <a:gd name="connsiteY113" fmla="*/ 7802880 h 8260080"/>
              <a:gd name="connsiteX114" fmla="*/ 1361440 w 3505200"/>
              <a:gd name="connsiteY114" fmla="*/ 7772400 h 8260080"/>
              <a:gd name="connsiteX115" fmla="*/ 1483360 w 3505200"/>
              <a:gd name="connsiteY115" fmla="*/ 7823200 h 8260080"/>
              <a:gd name="connsiteX116" fmla="*/ 1554480 w 3505200"/>
              <a:gd name="connsiteY116" fmla="*/ 7731760 h 8260080"/>
              <a:gd name="connsiteX117" fmla="*/ 1524000 w 3505200"/>
              <a:gd name="connsiteY117" fmla="*/ 7640320 h 8260080"/>
              <a:gd name="connsiteX118" fmla="*/ 1645920 w 3505200"/>
              <a:gd name="connsiteY118" fmla="*/ 7437120 h 8260080"/>
              <a:gd name="connsiteX119" fmla="*/ 1635760 w 3505200"/>
              <a:gd name="connsiteY119" fmla="*/ 7335520 h 8260080"/>
              <a:gd name="connsiteX120" fmla="*/ 1696720 w 3505200"/>
              <a:gd name="connsiteY120" fmla="*/ 7223760 h 8260080"/>
              <a:gd name="connsiteX121" fmla="*/ 1625600 w 3505200"/>
              <a:gd name="connsiteY121" fmla="*/ 7172960 h 8260080"/>
              <a:gd name="connsiteX122" fmla="*/ 1747520 w 3505200"/>
              <a:gd name="connsiteY122" fmla="*/ 6990080 h 8260080"/>
              <a:gd name="connsiteX123" fmla="*/ 1666240 w 3505200"/>
              <a:gd name="connsiteY123" fmla="*/ 6939280 h 8260080"/>
              <a:gd name="connsiteX124" fmla="*/ 1737360 w 3505200"/>
              <a:gd name="connsiteY124" fmla="*/ 6888480 h 8260080"/>
              <a:gd name="connsiteX125" fmla="*/ 1645920 w 3505200"/>
              <a:gd name="connsiteY125" fmla="*/ 6776720 h 8260080"/>
              <a:gd name="connsiteX126" fmla="*/ 1808480 w 3505200"/>
              <a:gd name="connsiteY126" fmla="*/ 6715760 h 8260080"/>
              <a:gd name="connsiteX127" fmla="*/ 1727200 w 3505200"/>
              <a:gd name="connsiteY127" fmla="*/ 6614160 h 8260080"/>
              <a:gd name="connsiteX128" fmla="*/ 1686560 w 3505200"/>
              <a:gd name="connsiteY128" fmla="*/ 6421120 h 8260080"/>
              <a:gd name="connsiteX129" fmla="*/ 1889760 w 3505200"/>
              <a:gd name="connsiteY129" fmla="*/ 6299200 h 8260080"/>
              <a:gd name="connsiteX130" fmla="*/ 1940560 w 3505200"/>
              <a:gd name="connsiteY130" fmla="*/ 6228080 h 8260080"/>
              <a:gd name="connsiteX131" fmla="*/ 2032000 w 3505200"/>
              <a:gd name="connsiteY131" fmla="*/ 6136640 h 8260080"/>
              <a:gd name="connsiteX132" fmla="*/ 2011680 w 3505200"/>
              <a:gd name="connsiteY132" fmla="*/ 6014720 h 8260080"/>
              <a:gd name="connsiteX133" fmla="*/ 2123440 w 3505200"/>
              <a:gd name="connsiteY133" fmla="*/ 6065520 h 8260080"/>
              <a:gd name="connsiteX134" fmla="*/ 2092960 w 3505200"/>
              <a:gd name="connsiteY134" fmla="*/ 6167120 h 8260080"/>
              <a:gd name="connsiteX135" fmla="*/ 2286000 w 3505200"/>
              <a:gd name="connsiteY135" fmla="*/ 5933440 h 8260080"/>
              <a:gd name="connsiteX136" fmla="*/ 2255520 w 3505200"/>
              <a:gd name="connsiteY136" fmla="*/ 5801360 h 8260080"/>
              <a:gd name="connsiteX137" fmla="*/ 2448560 w 3505200"/>
              <a:gd name="connsiteY137" fmla="*/ 5598160 h 8260080"/>
              <a:gd name="connsiteX138" fmla="*/ 2357120 w 3505200"/>
              <a:gd name="connsiteY138" fmla="*/ 5435600 h 8260080"/>
              <a:gd name="connsiteX139" fmla="*/ 2225040 w 3505200"/>
              <a:gd name="connsiteY139" fmla="*/ 5415280 h 8260080"/>
              <a:gd name="connsiteX140" fmla="*/ 2103120 w 3505200"/>
              <a:gd name="connsiteY140" fmla="*/ 5222240 h 8260080"/>
              <a:gd name="connsiteX141" fmla="*/ 2092960 w 3505200"/>
              <a:gd name="connsiteY141" fmla="*/ 5110480 h 8260080"/>
              <a:gd name="connsiteX142" fmla="*/ 2052320 w 3505200"/>
              <a:gd name="connsiteY142" fmla="*/ 5151120 h 8260080"/>
              <a:gd name="connsiteX143" fmla="*/ 2042160 w 3505200"/>
              <a:gd name="connsiteY143" fmla="*/ 5242560 h 8260080"/>
              <a:gd name="connsiteX144" fmla="*/ 1981200 w 3505200"/>
              <a:gd name="connsiteY144" fmla="*/ 5191760 h 8260080"/>
              <a:gd name="connsiteX145" fmla="*/ 2011680 w 3505200"/>
              <a:gd name="connsiteY145" fmla="*/ 5120640 h 8260080"/>
              <a:gd name="connsiteX146" fmla="*/ 1930400 w 3505200"/>
              <a:gd name="connsiteY146" fmla="*/ 5100320 h 8260080"/>
              <a:gd name="connsiteX147" fmla="*/ 1859280 w 3505200"/>
              <a:gd name="connsiteY147" fmla="*/ 4917440 h 8260080"/>
              <a:gd name="connsiteX148" fmla="*/ 1828800 w 3505200"/>
              <a:gd name="connsiteY148" fmla="*/ 4622800 h 8260080"/>
              <a:gd name="connsiteX149" fmla="*/ 1910080 w 3505200"/>
              <a:gd name="connsiteY149" fmla="*/ 4419600 h 8260080"/>
              <a:gd name="connsiteX150" fmla="*/ 1920240 w 3505200"/>
              <a:gd name="connsiteY150" fmla="*/ 4277360 h 8260080"/>
              <a:gd name="connsiteX151" fmla="*/ 1971040 w 3505200"/>
              <a:gd name="connsiteY151" fmla="*/ 4124960 h 8260080"/>
              <a:gd name="connsiteX152" fmla="*/ 1879600 w 3505200"/>
              <a:gd name="connsiteY152" fmla="*/ 4023360 h 8260080"/>
              <a:gd name="connsiteX153" fmla="*/ 2072640 w 3505200"/>
              <a:gd name="connsiteY153" fmla="*/ 4003040 h 8260080"/>
              <a:gd name="connsiteX154" fmla="*/ 2092960 w 3505200"/>
              <a:gd name="connsiteY154" fmla="*/ 3850640 h 8260080"/>
              <a:gd name="connsiteX155" fmla="*/ 2001520 w 3505200"/>
              <a:gd name="connsiteY155" fmla="*/ 3728720 h 8260080"/>
              <a:gd name="connsiteX156" fmla="*/ 2164080 w 3505200"/>
              <a:gd name="connsiteY156" fmla="*/ 3769360 h 8260080"/>
              <a:gd name="connsiteX157" fmla="*/ 2265680 w 3505200"/>
              <a:gd name="connsiteY157" fmla="*/ 3566160 h 8260080"/>
              <a:gd name="connsiteX158" fmla="*/ 2336800 w 3505200"/>
              <a:gd name="connsiteY158" fmla="*/ 3515360 h 8260080"/>
              <a:gd name="connsiteX159" fmla="*/ 2367280 w 3505200"/>
              <a:gd name="connsiteY159" fmla="*/ 3362960 h 8260080"/>
              <a:gd name="connsiteX160" fmla="*/ 2489200 w 3505200"/>
              <a:gd name="connsiteY160" fmla="*/ 3423920 h 8260080"/>
              <a:gd name="connsiteX161" fmla="*/ 2560320 w 3505200"/>
              <a:gd name="connsiteY161" fmla="*/ 3302000 h 8260080"/>
              <a:gd name="connsiteX162" fmla="*/ 2743200 w 3505200"/>
              <a:gd name="connsiteY162" fmla="*/ 3149600 h 8260080"/>
              <a:gd name="connsiteX163" fmla="*/ 2844800 w 3505200"/>
              <a:gd name="connsiteY163" fmla="*/ 3088640 h 8260080"/>
              <a:gd name="connsiteX164" fmla="*/ 2804160 w 3505200"/>
              <a:gd name="connsiteY164" fmla="*/ 2966720 h 8260080"/>
              <a:gd name="connsiteX165" fmla="*/ 2976880 w 3505200"/>
              <a:gd name="connsiteY165" fmla="*/ 2763520 h 8260080"/>
              <a:gd name="connsiteX166" fmla="*/ 2794000 w 3505200"/>
              <a:gd name="connsiteY166" fmla="*/ 2621280 h 8260080"/>
              <a:gd name="connsiteX167" fmla="*/ 2946400 w 3505200"/>
              <a:gd name="connsiteY167" fmla="*/ 2377440 h 8260080"/>
              <a:gd name="connsiteX168" fmla="*/ 2854960 w 3505200"/>
              <a:gd name="connsiteY168" fmla="*/ 2255520 h 8260080"/>
              <a:gd name="connsiteX169" fmla="*/ 3027680 w 3505200"/>
              <a:gd name="connsiteY169" fmla="*/ 2113280 h 8260080"/>
              <a:gd name="connsiteX170" fmla="*/ 3119120 w 3505200"/>
              <a:gd name="connsiteY170" fmla="*/ 2021840 h 8260080"/>
              <a:gd name="connsiteX171" fmla="*/ 3027680 w 3505200"/>
              <a:gd name="connsiteY171" fmla="*/ 1960880 h 8260080"/>
              <a:gd name="connsiteX172" fmla="*/ 3139440 w 3505200"/>
              <a:gd name="connsiteY172" fmla="*/ 1869440 h 8260080"/>
              <a:gd name="connsiteX173" fmla="*/ 3281680 w 3505200"/>
              <a:gd name="connsiteY173" fmla="*/ 1950720 h 8260080"/>
              <a:gd name="connsiteX174" fmla="*/ 3403600 w 3505200"/>
              <a:gd name="connsiteY174" fmla="*/ 1889760 h 8260080"/>
              <a:gd name="connsiteX175" fmla="*/ 3505200 w 3505200"/>
              <a:gd name="connsiteY175" fmla="*/ 1910080 h 8260080"/>
              <a:gd name="connsiteX176" fmla="*/ 3444240 w 3505200"/>
              <a:gd name="connsiteY176" fmla="*/ 1656080 h 8260080"/>
              <a:gd name="connsiteX177" fmla="*/ 3373120 w 3505200"/>
              <a:gd name="connsiteY177" fmla="*/ 1635760 h 8260080"/>
              <a:gd name="connsiteX178" fmla="*/ 3352800 w 3505200"/>
              <a:gd name="connsiteY178" fmla="*/ 1503680 h 8260080"/>
              <a:gd name="connsiteX179" fmla="*/ 3444240 w 3505200"/>
              <a:gd name="connsiteY179" fmla="*/ 1412240 h 8260080"/>
              <a:gd name="connsiteX180" fmla="*/ 3393440 w 3505200"/>
              <a:gd name="connsiteY180" fmla="*/ 1280160 h 8260080"/>
              <a:gd name="connsiteX181" fmla="*/ 3434080 w 3505200"/>
              <a:gd name="connsiteY181" fmla="*/ 1249680 h 8260080"/>
              <a:gd name="connsiteX182" fmla="*/ 3281680 w 3505200"/>
              <a:gd name="connsiteY182" fmla="*/ 1066800 h 8260080"/>
              <a:gd name="connsiteX183" fmla="*/ 3383280 w 3505200"/>
              <a:gd name="connsiteY183" fmla="*/ 975360 h 8260080"/>
              <a:gd name="connsiteX184" fmla="*/ 3302000 w 3505200"/>
              <a:gd name="connsiteY184" fmla="*/ 924560 h 8260080"/>
              <a:gd name="connsiteX185" fmla="*/ 3190240 w 3505200"/>
              <a:gd name="connsiteY185" fmla="*/ 944880 h 8260080"/>
              <a:gd name="connsiteX186" fmla="*/ 3281680 w 3505200"/>
              <a:gd name="connsiteY186" fmla="*/ 792480 h 8260080"/>
              <a:gd name="connsiteX187" fmla="*/ 3210560 w 3505200"/>
              <a:gd name="connsiteY187" fmla="*/ 650240 h 8260080"/>
              <a:gd name="connsiteX188" fmla="*/ 3302000 w 3505200"/>
              <a:gd name="connsiteY188" fmla="*/ 568960 h 8260080"/>
              <a:gd name="connsiteX189" fmla="*/ 3190240 w 3505200"/>
              <a:gd name="connsiteY189" fmla="*/ 487680 h 8260080"/>
              <a:gd name="connsiteX190" fmla="*/ 3108960 w 3505200"/>
              <a:gd name="connsiteY190" fmla="*/ 528320 h 8260080"/>
              <a:gd name="connsiteX191" fmla="*/ 3108960 w 3505200"/>
              <a:gd name="connsiteY191" fmla="*/ 406400 h 8260080"/>
              <a:gd name="connsiteX192" fmla="*/ 2926080 w 3505200"/>
              <a:gd name="connsiteY192" fmla="*/ 314960 h 8260080"/>
              <a:gd name="connsiteX193" fmla="*/ 2834640 w 3505200"/>
              <a:gd name="connsiteY193" fmla="*/ 355600 h 8260080"/>
              <a:gd name="connsiteX194" fmla="*/ 2682240 w 3505200"/>
              <a:gd name="connsiteY194" fmla="*/ 111760 h 8260080"/>
              <a:gd name="connsiteX195" fmla="*/ 2590800 w 3505200"/>
              <a:gd name="connsiteY195" fmla="*/ 121920 h 8260080"/>
              <a:gd name="connsiteX196" fmla="*/ 2611120 w 3505200"/>
              <a:gd name="connsiteY196" fmla="*/ 0 h 8260080"/>
              <a:gd name="connsiteX197" fmla="*/ 2438400 w 3505200"/>
              <a:gd name="connsiteY197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80829 w 3505200"/>
              <a:gd name="connsiteY78" fmla="*/ 7148354 h 8260080"/>
              <a:gd name="connsiteX79" fmla="*/ 242962 w 3505200"/>
              <a:gd name="connsiteY79" fmla="*/ 7226746 h 8260080"/>
              <a:gd name="connsiteX80" fmla="*/ 282892 w 3505200"/>
              <a:gd name="connsiteY80" fmla="*/ 7300436 h 8260080"/>
              <a:gd name="connsiteX81" fmla="*/ 334645 w 3505200"/>
              <a:gd name="connsiteY81" fmla="*/ 7194709 h 8260080"/>
              <a:gd name="connsiteX82" fmla="*/ 354881 w 3505200"/>
              <a:gd name="connsiteY82" fmla="*/ 7257702 h 8260080"/>
              <a:gd name="connsiteX83" fmla="*/ 337026 w 3505200"/>
              <a:gd name="connsiteY83" fmla="*/ 7316154 h 8260080"/>
              <a:gd name="connsiteX84" fmla="*/ 370364 w 3505200"/>
              <a:gd name="connsiteY84" fmla="*/ 7360602 h 8260080"/>
              <a:gd name="connsiteX85" fmla="*/ 447040 w 3505200"/>
              <a:gd name="connsiteY85" fmla="*/ 7366000 h 8260080"/>
              <a:gd name="connsiteX86" fmla="*/ 447040 w 3505200"/>
              <a:gd name="connsiteY86" fmla="*/ 7477760 h 8260080"/>
              <a:gd name="connsiteX87" fmla="*/ 558800 w 3505200"/>
              <a:gd name="connsiteY87" fmla="*/ 7528560 h 8260080"/>
              <a:gd name="connsiteX88" fmla="*/ 508000 w 3505200"/>
              <a:gd name="connsiteY88" fmla="*/ 7630160 h 8260080"/>
              <a:gd name="connsiteX89" fmla="*/ 436880 w 3505200"/>
              <a:gd name="connsiteY89" fmla="*/ 7609840 h 8260080"/>
              <a:gd name="connsiteX90" fmla="*/ 447040 w 3505200"/>
              <a:gd name="connsiteY90" fmla="*/ 7691120 h 8260080"/>
              <a:gd name="connsiteX91" fmla="*/ 518160 w 3505200"/>
              <a:gd name="connsiteY91" fmla="*/ 7741920 h 8260080"/>
              <a:gd name="connsiteX92" fmla="*/ 457200 w 3505200"/>
              <a:gd name="connsiteY92" fmla="*/ 7792720 h 8260080"/>
              <a:gd name="connsiteX93" fmla="*/ 396240 w 3505200"/>
              <a:gd name="connsiteY93" fmla="*/ 7701280 h 8260080"/>
              <a:gd name="connsiteX94" fmla="*/ 396240 w 3505200"/>
              <a:gd name="connsiteY94" fmla="*/ 7701280 h 8260080"/>
              <a:gd name="connsiteX95" fmla="*/ 436880 w 3505200"/>
              <a:gd name="connsiteY95" fmla="*/ 7874000 h 8260080"/>
              <a:gd name="connsiteX96" fmla="*/ 436880 w 3505200"/>
              <a:gd name="connsiteY96" fmla="*/ 7924800 h 8260080"/>
              <a:gd name="connsiteX97" fmla="*/ 548640 w 3505200"/>
              <a:gd name="connsiteY97" fmla="*/ 7965440 h 8260080"/>
              <a:gd name="connsiteX98" fmla="*/ 508000 w 3505200"/>
              <a:gd name="connsiteY98" fmla="*/ 8016240 h 8260080"/>
              <a:gd name="connsiteX99" fmla="*/ 589280 w 3505200"/>
              <a:gd name="connsiteY99" fmla="*/ 8056880 h 8260080"/>
              <a:gd name="connsiteX100" fmla="*/ 497840 w 3505200"/>
              <a:gd name="connsiteY100" fmla="*/ 8117840 h 8260080"/>
              <a:gd name="connsiteX101" fmla="*/ 518160 w 3505200"/>
              <a:gd name="connsiteY101" fmla="*/ 8209280 h 8260080"/>
              <a:gd name="connsiteX102" fmla="*/ 640080 w 3505200"/>
              <a:gd name="connsiteY102" fmla="*/ 8260080 h 8260080"/>
              <a:gd name="connsiteX103" fmla="*/ 731520 w 3505200"/>
              <a:gd name="connsiteY103" fmla="*/ 8219440 h 8260080"/>
              <a:gd name="connsiteX104" fmla="*/ 853440 w 3505200"/>
              <a:gd name="connsiteY104" fmla="*/ 8209280 h 8260080"/>
              <a:gd name="connsiteX105" fmla="*/ 955040 w 3505200"/>
              <a:gd name="connsiteY105" fmla="*/ 8260080 h 8260080"/>
              <a:gd name="connsiteX106" fmla="*/ 965200 w 3505200"/>
              <a:gd name="connsiteY106" fmla="*/ 8107680 h 8260080"/>
              <a:gd name="connsiteX107" fmla="*/ 894080 w 3505200"/>
              <a:gd name="connsiteY107" fmla="*/ 8026400 h 8260080"/>
              <a:gd name="connsiteX108" fmla="*/ 1016000 w 3505200"/>
              <a:gd name="connsiteY108" fmla="*/ 7863840 h 8260080"/>
              <a:gd name="connsiteX109" fmla="*/ 1107440 w 3505200"/>
              <a:gd name="connsiteY109" fmla="*/ 7894320 h 8260080"/>
              <a:gd name="connsiteX110" fmla="*/ 1127760 w 3505200"/>
              <a:gd name="connsiteY110" fmla="*/ 7853680 h 8260080"/>
              <a:gd name="connsiteX111" fmla="*/ 1066800 w 3505200"/>
              <a:gd name="connsiteY111" fmla="*/ 7813040 h 8260080"/>
              <a:gd name="connsiteX112" fmla="*/ 1137920 w 3505200"/>
              <a:gd name="connsiteY112" fmla="*/ 7762240 h 8260080"/>
              <a:gd name="connsiteX113" fmla="*/ 1330960 w 3505200"/>
              <a:gd name="connsiteY113" fmla="*/ 7802880 h 8260080"/>
              <a:gd name="connsiteX114" fmla="*/ 1361440 w 3505200"/>
              <a:gd name="connsiteY114" fmla="*/ 7772400 h 8260080"/>
              <a:gd name="connsiteX115" fmla="*/ 1483360 w 3505200"/>
              <a:gd name="connsiteY115" fmla="*/ 7823200 h 8260080"/>
              <a:gd name="connsiteX116" fmla="*/ 1554480 w 3505200"/>
              <a:gd name="connsiteY116" fmla="*/ 7731760 h 8260080"/>
              <a:gd name="connsiteX117" fmla="*/ 1524000 w 3505200"/>
              <a:gd name="connsiteY117" fmla="*/ 7640320 h 8260080"/>
              <a:gd name="connsiteX118" fmla="*/ 1645920 w 3505200"/>
              <a:gd name="connsiteY118" fmla="*/ 7437120 h 8260080"/>
              <a:gd name="connsiteX119" fmla="*/ 1635760 w 3505200"/>
              <a:gd name="connsiteY119" fmla="*/ 7335520 h 8260080"/>
              <a:gd name="connsiteX120" fmla="*/ 1696720 w 3505200"/>
              <a:gd name="connsiteY120" fmla="*/ 7223760 h 8260080"/>
              <a:gd name="connsiteX121" fmla="*/ 1625600 w 3505200"/>
              <a:gd name="connsiteY121" fmla="*/ 7172960 h 8260080"/>
              <a:gd name="connsiteX122" fmla="*/ 1747520 w 3505200"/>
              <a:gd name="connsiteY122" fmla="*/ 6990080 h 8260080"/>
              <a:gd name="connsiteX123" fmla="*/ 1666240 w 3505200"/>
              <a:gd name="connsiteY123" fmla="*/ 6939280 h 8260080"/>
              <a:gd name="connsiteX124" fmla="*/ 1737360 w 3505200"/>
              <a:gd name="connsiteY124" fmla="*/ 6888480 h 8260080"/>
              <a:gd name="connsiteX125" fmla="*/ 1645920 w 3505200"/>
              <a:gd name="connsiteY125" fmla="*/ 6776720 h 8260080"/>
              <a:gd name="connsiteX126" fmla="*/ 1808480 w 3505200"/>
              <a:gd name="connsiteY126" fmla="*/ 6715760 h 8260080"/>
              <a:gd name="connsiteX127" fmla="*/ 1727200 w 3505200"/>
              <a:gd name="connsiteY127" fmla="*/ 6614160 h 8260080"/>
              <a:gd name="connsiteX128" fmla="*/ 1686560 w 3505200"/>
              <a:gd name="connsiteY128" fmla="*/ 6421120 h 8260080"/>
              <a:gd name="connsiteX129" fmla="*/ 1889760 w 3505200"/>
              <a:gd name="connsiteY129" fmla="*/ 6299200 h 8260080"/>
              <a:gd name="connsiteX130" fmla="*/ 1940560 w 3505200"/>
              <a:gd name="connsiteY130" fmla="*/ 6228080 h 8260080"/>
              <a:gd name="connsiteX131" fmla="*/ 2032000 w 3505200"/>
              <a:gd name="connsiteY131" fmla="*/ 6136640 h 8260080"/>
              <a:gd name="connsiteX132" fmla="*/ 2011680 w 3505200"/>
              <a:gd name="connsiteY132" fmla="*/ 6014720 h 8260080"/>
              <a:gd name="connsiteX133" fmla="*/ 2123440 w 3505200"/>
              <a:gd name="connsiteY133" fmla="*/ 6065520 h 8260080"/>
              <a:gd name="connsiteX134" fmla="*/ 2092960 w 3505200"/>
              <a:gd name="connsiteY134" fmla="*/ 6167120 h 8260080"/>
              <a:gd name="connsiteX135" fmla="*/ 2286000 w 3505200"/>
              <a:gd name="connsiteY135" fmla="*/ 5933440 h 8260080"/>
              <a:gd name="connsiteX136" fmla="*/ 2255520 w 3505200"/>
              <a:gd name="connsiteY136" fmla="*/ 5801360 h 8260080"/>
              <a:gd name="connsiteX137" fmla="*/ 2448560 w 3505200"/>
              <a:gd name="connsiteY137" fmla="*/ 5598160 h 8260080"/>
              <a:gd name="connsiteX138" fmla="*/ 2357120 w 3505200"/>
              <a:gd name="connsiteY138" fmla="*/ 5435600 h 8260080"/>
              <a:gd name="connsiteX139" fmla="*/ 2225040 w 3505200"/>
              <a:gd name="connsiteY139" fmla="*/ 5415280 h 8260080"/>
              <a:gd name="connsiteX140" fmla="*/ 2103120 w 3505200"/>
              <a:gd name="connsiteY140" fmla="*/ 5222240 h 8260080"/>
              <a:gd name="connsiteX141" fmla="*/ 2092960 w 3505200"/>
              <a:gd name="connsiteY141" fmla="*/ 5110480 h 8260080"/>
              <a:gd name="connsiteX142" fmla="*/ 2052320 w 3505200"/>
              <a:gd name="connsiteY142" fmla="*/ 5151120 h 8260080"/>
              <a:gd name="connsiteX143" fmla="*/ 2042160 w 3505200"/>
              <a:gd name="connsiteY143" fmla="*/ 5242560 h 8260080"/>
              <a:gd name="connsiteX144" fmla="*/ 1981200 w 3505200"/>
              <a:gd name="connsiteY144" fmla="*/ 5191760 h 8260080"/>
              <a:gd name="connsiteX145" fmla="*/ 2011680 w 3505200"/>
              <a:gd name="connsiteY145" fmla="*/ 5120640 h 8260080"/>
              <a:gd name="connsiteX146" fmla="*/ 1930400 w 3505200"/>
              <a:gd name="connsiteY146" fmla="*/ 5100320 h 8260080"/>
              <a:gd name="connsiteX147" fmla="*/ 1859280 w 3505200"/>
              <a:gd name="connsiteY147" fmla="*/ 4917440 h 8260080"/>
              <a:gd name="connsiteX148" fmla="*/ 1828800 w 3505200"/>
              <a:gd name="connsiteY148" fmla="*/ 4622800 h 8260080"/>
              <a:gd name="connsiteX149" fmla="*/ 1910080 w 3505200"/>
              <a:gd name="connsiteY149" fmla="*/ 4419600 h 8260080"/>
              <a:gd name="connsiteX150" fmla="*/ 1920240 w 3505200"/>
              <a:gd name="connsiteY150" fmla="*/ 4277360 h 8260080"/>
              <a:gd name="connsiteX151" fmla="*/ 1971040 w 3505200"/>
              <a:gd name="connsiteY151" fmla="*/ 4124960 h 8260080"/>
              <a:gd name="connsiteX152" fmla="*/ 1879600 w 3505200"/>
              <a:gd name="connsiteY152" fmla="*/ 4023360 h 8260080"/>
              <a:gd name="connsiteX153" fmla="*/ 2072640 w 3505200"/>
              <a:gd name="connsiteY153" fmla="*/ 4003040 h 8260080"/>
              <a:gd name="connsiteX154" fmla="*/ 2092960 w 3505200"/>
              <a:gd name="connsiteY154" fmla="*/ 3850640 h 8260080"/>
              <a:gd name="connsiteX155" fmla="*/ 2001520 w 3505200"/>
              <a:gd name="connsiteY155" fmla="*/ 3728720 h 8260080"/>
              <a:gd name="connsiteX156" fmla="*/ 2164080 w 3505200"/>
              <a:gd name="connsiteY156" fmla="*/ 3769360 h 8260080"/>
              <a:gd name="connsiteX157" fmla="*/ 2265680 w 3505200"/>
              <a:gd name="connsiteY157" fmla="*/ 3566160 h 8260080"/>
              <a:gd name="connsiteX158" fmla="*/ 2336800 w 3505200"/>
              <a:gd name="connsiteY158" fmla="*/ 3515360 h 8260080"/>
              <a:gd name="connsiteX159" fmla="*/ 2367280 w 3505200"/>
              <a:gd name="connsiteY159" fmla="*/ 3362960 h 8260080"/>
              <a:gd name="connsiteX160" fmla="*/ 2489200 w 3505200"/>
              <a:gd name="connsiteY160" fmla="*/ 3423920 h 8260080"/>
              <a:gd name="connsiteX161" fmla="*/ 2560320 w 3505200"/>
              <a:gd name="connsiteY161" fmla="*/ 3302000 h 8260080"/>
              <a:gd name="connsiteX162" fmla="*/ 2743200 w 3505200"/>
              <a:gd name="connsiteY162" fmla="*/ 3149600 h 8260080"/>
              <a:gd name="connsiteX163" fmla="*/ 2844800 w 3505200"/>
              <a:gd name="connsiteY163" fmla="*/ 3088640 h 8260080"/>
              <a:gd name="connsiteX164" fmla="*/ 2804160 w 3505200"/>
              <a:gd name="connsiteY164" fmla="*/ 2966720 h 8260080"/>
              <a:gd name="connsiteX165" fmla="*/ 2976880 w 3505200"/>
              <a:gd name="connsiteY165" fmla="*/ 2763520 h 8260080"/>
              <a:gd name="connsiteX166" fmla="*/ 2794000 w 3505200"/>
              <a:gd name="connsiteY166" fmla="*/ 2621280 h 8260080"/>
              <a:gd name="connsiteX167" fmla="*/ 2946400 w 3505200"/>
              <a:gd name="connsiteY167" fmla="*/ 2377440 h 8260080"/>
              <a:gd name="connsiteX168" fmla="*/ 2854960 w 3505200"/>
              <a:gd name="connsiteY168" fmla="*/ 2255520 h 8260080"/>
              <a:gd name="connsiteX169" fmla="*/ 3027680 w 3505200"/>
              <a:gd name="connsiteY169" fmla="*/ 2113280 h 8260080"/>
              <a:gd name="connsiteX170" fmla="*/ 3119120 w 3505200"/>
              <a:gd name="connsiteY170" fmla="*/ 2021840 h 8260080"/>
              <a:gd name="connsiteX171" fmla="*/ 3027680 w 3505200"/>
              <a:gd name="connsiteY171" fmla="*/ 1960880 h 8260080"/>
              <a:gd name="connsiteX172" fmla="*/ 3139440 w 3505200"/>
              <a:gd name="connsiteY172" fmla="*/ 1869440 h 8260080"/>
              <a:gd name="connsiteX173" fmla="*/ 3281680 w 3505200"/>
              <a:gd name="connsiteY173" fmla="*/ 1950720 h 8260080"/>
              <a:gd name="connsiteX174" fmla="*/ 3403600 w 3505200"/>
              <a:gd name="connsiteY174" fmla="*/ 1889760 h 8260080"/>
              <a:gd name="connsiteX175" fmla="*/ 3505200 w 3505200"/>
              <a:gd name="connsiteY175" fmla="*/ 1910080 h 8260080"/>
              <a:gd name="connsiteX176" fmla="*/ 3444240 w 3505200"/>
              <a:gd name="connsiteY176" fmla="*/ 1656080 h 8260080"/>
              <a:gd name="connsiteX177" fmla="*/ 3373120 w 3505200"/>
              <a:gd name="connsiteY177" fmla="*/ 1635760 h 8260080"/>
              <a:gd name="connsiteX178" fmla="*/ 3352800 w 3505200"/>
              <a:gd name="connsiteY178" fmla="*/ 1503680 h 8260080"/>
              <a:gd name="connsiteX179" fmla="*/ 3444240 w 3505200"/>
              <a:gd name="connsiteY179" fmla="*/ 1412240 h 8260080"/>
              <a:gd name="connsiteX180" fmla="*/ 3393440 w 3505200"/>
              <a:gd name="connsiteY180" fmla="*/ 1280160 h 8260080"/>
              <a:gd name="connsiteX181" fmla="*/ 3434080 w 3505200"/>
              <a:gd name="connsiteY181" fmla="*/ 1249680 h 8260080"/>
              <a:gd name="connsiteX182" fmla="*/ 3281680 w 3505200"/>
              <a:gd name="connsiteY182" fmla="*/ 1066800 h 8260080"/>
              <a:gd name="connsiteX183" fmla="*/ 3383280 w 3505200"/>
              <a:gd name="connsiteY183" fmla="*/ 975360 h 8260080"/>
              <a:gd name="connsiteX184" fmla="*/ 3302000 w 3505200"/>
              <a:gd name="connsiteY184" fmla="*/ 924560 h 8260080"/>
              <a:gd name="connsiteX185" fmla="*/ 3190240 w 3505200"/>
              <a:gd name="connsiteY185" fmla="*/ 944880 h 8260080"/>
              <a:gd name="connsiteX186" fmla="*/ 3281680 w 3505200"/>
              <a:gd name="connsiteY186" fmla="*/ 792480 h 8260080"/>
              <a:gd name="connsiteX187" fmla="*/ 3210560 w 3505200"/>
              <a:gd name="connsiteY187" fmla="*/ 650240 h 8260080"/>
              <a:gd name="connsiteX188" fmla="*/ 3302000 w 3505200"/>
              <a:gd name="connsiteY188" fmla="*/ 568960 h 8260080"/>
              <a:gd name="connsiteX189" fmla="*/ 3190240 w 3505200"/>
              <a:gd name="connsiteY189" fmla="*/ 487680 h 8260080"/>
              <a:gd name="connsiteX190" fmla="*/ 3108960 w 3505200"/>
              <a:gd name="connsiteY190" fmla="*/ 528320 h 8260080"/>
              <a:gd name="connsiteX191" fmla="*/ 3108960 w 3505200"/>
              <a:gd name="connsiteY191" fmla="*/ 406400 h 8260080"/>
              <a:gd name="connsiteX192" fmla="*/ 2926080 w 3505200"/>
              <a:gd name="connsiteY192" fmla="*/ 314960 h 8260080"/>
              <a:gd name="connsiteX193" fmla="*/ 2834640 w 3505200"/>
              <a:gd name="connsiteY193" fmla="*/ 355600 h 8260080"/>
              <a:gd name="connsiteX194" fmla="*/ 2682240 w 3505200"/>
              <a:gd name="connsiteY194" fmla="*/ 111760 h 8260080"/>
              <a:gd name="connsiteX195" fmla="*/ 2590800 w 3505200"/>
              <a:gd name="connsiteY195" fmla="*/ 121920 h 8260080"/>
              <a:gd name="connsiteX196" fmla="*/ 2611120 w 3505200"/>
              <a:gd name="connsiteY196" fmla="*/ 0 h 8260080"/>
              <a:gd name="connsiteX197" fmla="*/ 2438400 w 3505200"/>
              <a:gd name="connsiteY197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80829 w 3505200"/>
              <a:gd name="connsiteY79" fmla="*/ 7148354 h 8260080"/>
              <a:gd name="connsiteX80" fmla="*/ 242962 w 3505200"/>
              <a:gd name="connsiteY80" fmla="*/ 7226746 h 8260080"/>
              <a:gd name="connsiteX81" fmla="*/ 282892 w 3505200"/>
              <a:gd name="connsiteY81" fmla="*/ 7300436 h 8260080"/>
              <a:gd name="connsiteX82" fmla="*/ 334645 w 3505200"/>
              <a:gd name="connsiteY82" fmla="*/ 7194709 h 8260080"/>
              <a:gd name="connsiteX83" fmla="*/ 354881 w 3505200"/>
              <a:gd name="connsiteY83" fmla="*/ 7257702 h 8260080"/>
              <a:gd name="connsiteX84" fmla="*/ 337026 w 3505200"/>
              <a:gd name="connsiteY84" fmla="*/ 7316154 h 8260080"/>
              <a:gd name="connsiteX85" fmla="*/ 370364 w 3505200"/>
              <a:gd name="connsiteY85" fmla="*/ 7360602 h 8260080"/>
              <a:gd name="connsiteX86" fmla="*/ 447040 w 3505200"/>
              <a:gd name="connsiteY86" fmla="*/ 7366000 h 8260080"/>
              <a:gd name="connsiteX87" fmla="*/ 447040 w 3505200"/>
              <a:gd name="connsiteY87" fmla="*/ 7477760 h 8260080"/>
              <a:gd name="connsiteX88" fmla="*/ 558800 w 3505200"/>
              <a:gd name="connsiteY88" fmla="*/ 7528560 h 8260080"/>
              <a:gd name="connsiteX89" fmla="*/ 508000 w 3505200"/>
              <a:gd name="connsiteY89" fmla="*/ 7630160 h 8260080"/>
              <a:gd name="connsiteX90" fmla="*/ 436880 w 3505200"/>
              <a:gd name="connsiteY90" fmla="*/ 7609840 h 8260080"/>
              <a:gd name="connsiteX91" fmla="*/ 447040 w 3505200"/>
              <a:gd name="connsiteY91" fmla="*/ 7691120 h 8260080"/>
              <a:gd name="connsiteX92" fmla="*/ 518160 w 3505200"/>
              <a:gd name="connsiteY92" fmla="*/ 7741920 h 8260080"/>
              <a:gd name="connsiteX93" fmla="*/ 457200 w 3505200"/>
              <a:gd name="connsiteY93" fmla="*/ 7792720 h 8260080"/>
              <a:gd name="connsiteX94" fmla="*/ 396240 w 3505200"/>
              <a:gd name="connsiteY94" fmla="*/ 7701280 h 8260080"/>
              <a:gd name="connsiteX95" fmla="*/ 396240 w 3505200"/>
              <a:gd name="connsiteY95" fmla="*/ 7701280 h 8260080"/>
              <a:gd name="connsiteX96" fmla="*/ 436880 w 3505200"/>
              <a:gd name="connsiteY96" fmla="*/ 7874000 h 8260080"/>
              <a:gd name="connsiteX97" fmla="*/ 436880 w 3505200"/>
              <a:gd name="connsiteY97" fmla="*/ 7924800 h 8260080"/>
              <a:gd name="connsiteX98" fmla="*/ 548640 w 3505200"/>
              <a:gd name="connsiteY98" fmla="*/ 7965440 h 8260080"/>
              <a:gd name="connsiteX99" fmla="*/ 508000 w 3505200"/>
              <a:gd name="connsiteY99" fmla="*/ 8016240 h 8260080"/>
              <a:gd name="connsiteX100" fmla="*/ 589280 w 3505200"/>
              <a:gd name="connsiteY100" fmla="*/ 8056880 h 8260080"/>
              <a:gd name="connsiteX101" fmla="*/ 497840 w 3505200"/>
              <a:gd name="connsiteY101" fmla="*/ 8117840 h 8260080"/>
              <a:gd name="connsiteX102" fmla="*/ 518160 w 3505200"/>
              <a:gd name="connsiteY102" fmla="*/ 8209280 h 8260080"/>
              <a:gd name="connsiteX103" fmla="*/ 640080 w 3505200"/>
              <a:gd name="connsiteY103" fmla="*/ 8260080 h 8260080"/>
              <a:gd name="connsiteX104" fmla="*/ 731520 w 3505200"/>
              <a:gd name="connsiteY104" fmla="*/ 8219440 h 8260080"/>
              <a:gd name="connsiteX105" fmla="*/ 853440 w 3505200"/>
              <a:gd name="connsiteY105" fmla="*/ 8209280 h 8260080"/>
              <a:gd name="connsiteX106" fmla="*/ 955040 w 3505200"/>
              <a:gd name="connsiteY106" fmla="*/ 8260080 h 8260080"/>
              <a:gd name="connsiteX107" fmla="*/ 965200 w 3505200"/>
              <a:gd name="connsiteY107" fmla="*/ 8107680 h 8260080"/>
              <a:gd name="connsiteX108" fmla="*/ 894080 w 3505200"/>
              <a:gd name="connsiteY108" fmla="*/ 8026400 h 8260080"/>
              <a:gd name="connsiteX109" fmla="*/ 1016000 w 3505200"/>
              <a:gd name="connsiteY109" fmla="*/ 7863840 h 8260080"/>
              <a:gd name="connsiteX110" fmla="*/ 1107440 w 3505200"/>
              <a:gd name="connsiteY110" fmla="*/ 7894320 h 8260080"/>
              <a:gd name="connsiteX111" fmla="*/ 1127760 w 3505200"/>
              <a:gd name="connsiteY111" fmla="*/ 7853680 h 8260080"/>
              <a:gd name="connsiteX112" fmla="*/ 1066800 w 3505200"/>
              <a:gd name="connsiteY112" fmla="*/ 7813040 h 8260080"/>
              <a:gd name="connsiteX113" fmla="*/ 1137920 w 3505200"/>
              <a:gd name="connsiteY113" fmla="*/ 7762240 h 8260080"/>
              <a:gd name="connsiteX114" fmla="*/ 1330960 w 3505200"/>
              <a:gd name="connsiteY114" fmla="*/ 7802880 h 8260080"/>
              <a:gd name="connsiteX115" fmla="*/ 1361440 w 3505200"/>
              <a:gd name="connsiteY115" fmla="*/ 7772400 h 8260080"/>
              <a:gd name="connsiteX116" fmla="*/ 1483360 w 3505200"/>
              <a:gd name="connsiteY116" fmla="*/ 7823200 h 8260080"/>
              <a:gd name="connsiteX117" fmla="*/ 1554480 w 3505200"/>
              <a:gd name="connsiteY117" fmla="*/ 7731760 h 8260080"/>
              <a:gd name="connsiteX118" fmla="*/ 1524000 w 3505200"/>
              <a:gd name="connsiteY118" fmla="*/ 7640320 h 8260080"/>
              <a:gd name="connsiteX119" fmla="*/ 1645920 w 3505200"/>
              <a:gd name="connsiteY119" fmla="*/ 7437120 h 8260080"/>
              <a:gd name="connsiteX120" fmla="*/ 1635760 w 3505200"/>
              <a:gd name="connsiteY120" fmla="*/ 7335520 h 8260080"/>
              <a:gd name="connsiteX121" fmla="*/ 1696720 w 3505200"/>
              <a:gd name="connsiteY121" fmla="*/ 7223760 h 8260080"/>
              <a:gd name="connsiteX122" fmla="*/ 1625600 w 3505200"/>
              <a:gd name="connsiteY122" fmla="*/ 7172960 h 8260080"/>
              <a:gd name="connsiteX123" fmla="*/ 1747520 w 3505200"/>
              <a:gd name="connsiteY123" fmla="*/ 6990080 h 8260080"/>
              <a:gd name="connsiteX124" fmla="*/ 1666240 w 3505200"/>
              <a:gd name="connsiteY124" fmla="*/ 6939280 h 8260080"/>
              <a:gd name="connsiteX125" fmla="*/ 1737360 w 3505200"/>
              <a:gd name="connsiteY125" fmla="*/ 6888480 h 8260080"/>
              <a:gd name="connsiteX126" fmla="*/ 1645920 w 3505200"/>
              <a:gd name="connsiteY126" fmla="*/ 6776720 h 8260080"/>
              <a:gd name="connsiteX127" fmla="*/ 1808480 w 3505200"/>
              <a:gd name="connsiteY127" fmla="*/ 6715760 h 8260080"/>
              <a:gd name="connsiteX128" fmla="*/ 1727200 w 3505200"/>
              <a:gd name="connsiteY128" fmla="*/ 6614160 h 8260080"/>
              <a:gd name="connsiteX129" fmla="*/ 1686560 w 3505200"/>
              <a:gd name="connsiteY129" fmla="*/ 6421120 h 8260080"/>
              <a:gd name="connsiteX130" fmla="*/ 1889760 w 3505200"/>
              <a:gd name="connsiteY130" fmla="*/ 6299200 h 8260080"/>
              <a:gd name="connsiteX131" fmla="*/ 1940560 w 3505200"/>
              <a:gd name="connsiteY131" fmla="*/ 6228080 h 8260080"/>
              <a:gd name="connsiteX132" fmla="*/ 2032000 w 3505200"/>
              <a:gd name="connsiteY132" fmla="*/ 6136640 h 8260080"/>
              <a:gd name="connsiteX133" fmla="*/ 2011680 w 3505200"/>
              <a:gd name="connsiteY133" fmla="*/ 6014720 h 8260080"/>
              <a:gd name="connsiteX134" fmla="*/ 2123440 w 3505200"/>
              <a:gd name="connsiteY134" fmla="*/ 6065520 h 8260080"/>
              <a:gd name="connsiteX135" fmla="*/ 2092960 w 3505200"/>
              <a:gd name="connsiteY135" fmla="*/ 6167120 h 8260080"/>
              <a:gd name="connsiteX136" fmla="*/ 2286000 w 3505200"/>
              <a:gd name="connsiteY136" fmla="*/ 5933440 h 8260080"/>
              <a:gd name="connsiteX137" fmla="*/ 2255520 w 3505200"/>
              <a:gd name="connsiteY137" fmla="*/ 5801360 h 8260080"/>
              <a:gd name="connsiteX138" fmla="*/ 2448560 w 3505200"/>
              <a:gd name="connsiteY138" fmla="*/ 5598160 h 8260080"/>
              <a:gd name="connsiteX139" fmla="*/ 2357120 w 3505200"/>
              <a:gd name="connsiteY139" fmla="*/ 5435600 h 8260080"/>
              <a:gd name="connsiteX140" fmla="*/ 2225040 w 3505200"/>
              <a:gd name="connsiteY140" fmla="*/ 5415280 h 8260080"/>
              <a:gd name="connsiteX141" fmla="*/ 2103120 w 3505200"/>
              <a:gd name="connsiteY141" fmla="*/ 5222240 h 8260080"/>
              <a:gd name="connsiteX142" fmla="*/ 2092960 w 3505200"/>
              <a:gd name="connsiteY142" fmla="*/ 5110480 h 8260080"/>
              <a:gd name="connsiteX143" fmla="*/ 2052320 w 3505200"/>
              <a:gd name="connsiteY143" fmla="*/ 5151120 h 8260080"/>
              <a:gd name="connsiteX144" fmla="*/ 2042160 w 3505200"/>
              <a:gd name="connsiteY144" fmla="*/ 5242560 h 8260080"/>
              <a:gd name="connsiteX145" fmla="*/ 1981200 w 3505200"/>
              <a:gd name="connsiteY145" fmla="*/ 5191760 h 8260080"/>
              <a:gd name="connsiteX146" fmla="*/ 2011680 w 3505200"/>
              <a:gd name="connsiteY146" fmla="*/ 5120640 h 8260080"/>
              <a:gd name="connsiteX147" fmla="*/ 1930400 w 3505200"/>
              <a:gd name="connsiteY147" fmla="*/ 5100320 h 8260080"/>
              <a:gd name="connsiteX148" fmla="*/ 1859280 w 3505200"/>
              <a:gd name="connsiteY148" fmla="*/ 4917440 h 8260080"/>
              <a:gd name="connsiteX149" fmla="*/ 1828800 w 3505200"/>
              <a:gd name="connsiteY149" fmla="*/ 4622800 h 8260080"/>
              <a:gd name="connsiteX150" fmla="*/ 1910080 w 3505200"/>
              <a:gd name="connsiteY150" fmla="*/ 4419600 h 8260080"/>
              <a:gd name="connsiteX151" fmla="*/ 1920240 w 3505200"/>
              <a:gd name="connsiteY151" fmla="*/ 4277360 h 8260080"/>
              <a:gd name="connsiteX152" fmla="*/ 1971040 w 3505200"/>
              <a:gd name="connsiteY152" fmla="*/ 4124960 h 8260080"/>
              <a:gd name="connsiteX153" fmla="*/ 1879600 w 3505200"/>
              <a:gd name="connsiteY153" fmla="*/ 4023360 h 8260080"/>
              <a:gd name="connsiteX154" fmla="*/ 2072640 w 3505200"/>
              <a:gd name="connsiteY154" fmla="*/ 4003040 h 8260080"/>
              <a:gd name="connsiteX155" fmla="*/ 2092960 w 3505200"/>
              <a:gd name="connsiteY155" fmla="*/ 3850640 h 8260080"/>
              <a:gd name="connsiteX156" fmla="*/ 2001520 w 3505200"/>
              <a:gd name="connsiteY156" fmla="*/ 3728720 h 8260080"/>
              <a:gd name="connsiteX157" fmla="*/ 2164080 w 3505200"/>
              <a:gd name="connsiteY157" fmla="*/ 3769360 h 8260080"/>
              <a:gd name="connsiteX158" fmla="*/ 2265680 w 3505200"/>
              <a:gd name="connsiteY158" fmla="*/ 3566160 h 8260080"/>
              <a:gd name="connsiteX159" fmla="*/ 2336800 w 3505200"/>
              <a:gd name="connsiteY159" fmla="*/ 3515360 h 8260080"/>
              <a:gd name="connsiteX160" fmla="*/ 2367280 w 3505200"/>
              <a:gd name="connsiteY160" fmla="*/ 3362960 h 8260080"/>
              <a:gd name="connsiteX161" fmla="*/ 2489200 w 3505200"/>
              <a:gd name="connsiteY161" fmla="*/ 3423920 h 8260080"/>
              <a:gd name="connsiteX162" fmla="*/ 2560320 w 3505200"/>
              <a:gd name="connsiteY162" fmla="*/ 3302000 h 8260080"/>
              <a:gd name="connsiteX163" fmla="*/ 2743200 w 3505200"/>
              <a:gd name="connsiteY163" fmla="*/ 3149600 h 8260080"/>
              <a:gd name="connsiteX164" fmla="*/ 2844800 w 3505200"/>
              <a:gd name="connsiteY164" fmla="*/ 3088640 h 8260080"/>
              <a:gd name="connsiteX165" fmla="*/ 2804160 w 3505200"/>
              <a:gd name="connsiteY165" fmla="*/ 2966720 h 8260080"/>
              <a:gd name="connsiteX166" fmla="*/ 2976880 w 3505200"/>
              <a:gd name="connsiteY166" fmla="*/ 2763520 h 8260080"/>
              <a:gd name="connsiteX167" fmla="*/ 2794000 w 3505200"/>
              <a:gd name="connsiteY167" fmla="*/ 2621280 h 8260080"/>
              <a:gd name="connsiteX168" fmla="*/ 2946400 w 3505200"/>
              <a:gd name="connsiteY168" fmla="*/ 2377440 h 8260080"/>
              <a:gd name="connsiteX169" fmla="*/ 2854960 w 3505200"/>
              <a:gd name="connsiteY169" fmla="*/ 2255520 h 8260080"/>
              <a:gd name="connsiteX170" fmla="*/ 3027680 w 3505200"/>
              <a:gd name="connsiteY170" fmla="*/ 2113280 h 8260080"/>
              <a:gd name="connsiteX171" fmla="*/ 3119120 w 3505200"/>
              <a:gd name="connsiteY171" fmla="*/ 2021840 h 8260080"/>
              <a:gd name="connsiteX172" fmla="*/ 3027680 w 3505200"/>
              <a:gd name="connsiteY172" fmla="*/ 1960880 h 8260080"/>
              <a:gd name="connsiteX173" fmla="*/ 3139440 w 3505200"/>
              <a:gd name="connsiteY173" fmla="*/ 1869440 h 8260080"/>
              <a:gd name="connsiteX174" fmla="*/ 3281680 w 3505200"/>
              <a:gd name="connsiteY174" fmla="*/ 1950720 h 8260080"/>
              <a:gd name="connsiteX175" fmla="*/ 3403600 w 3505200"/>
              <a:gd name="connsiteY175" fmla="*/ 1889760 h 8260080"/>
              <a:gd name="connsiteX176" fmla="*/ 3505200 w 3505200"/>
              <a:gd name="connsiteY176" fmla="*/ 1910080 h 8260080"/>
              <a:gd name="connsiteX177" fmla="*/ 3444240 w 3505200"/>
              <a:gd name="connsiteY177" fmla="*/ 1656080 h 8260080"/>
              <a:gd name="connsiteX178" fmla="*/ 3373120 w 3505200"/>
              <a:gd name="connsiteY178" fmla="*/ 1635760 h 8260080"/>
              <a:gd name="connsiteX179" fmla="*/ 3352800 w 3505200"/>
              <a:gd name="connsiteY179" fmla="*/ 1503680 h 8260080"/>
              <a:gd name="connsiteX180" fmla="*/ 3444240 w 3505200"/>
              <a:gd name="connsiteY180" fmla="*/ 1412240 h 8260080"/>
              <a:gd name="connsiteX181" fmla="*/ 3393440 w 3505200"/>
              <a:gd name="connsiteY181" fmla="*/ 1280160 h 8260080"/>
              <a:gd name="connsiteX182" fmla="*/ 3434080 w 3505200"/>
              <a:gd name="connsiteY182" fmla="*/ 1249680 h 8260080"/>
              <a:gd name="connsiteX183" fmla="*/ 3281680 w 3505200"/>
              <a:gd name="connsiteY183" fmla="*/ 1066800 h 8260080"/>
              <a:gd name="connsiteX184" fmla="*/ 3383280 w 3505200"/>
              <a:gd name="connsiteY184" fmla="*/ 975360 h 8260080"/>
              <a:gd name="connsiteX185" fmla="*/ 3302000 w 3505200"/>
              <a:gd name="connsiteY185" fmla="*/ 924560 h 8260080"/>
              <a:gd name="connsiteX186" fmla="*/ 3190240 w 3505200"/>
              <a:gd name="connsiteY186" fmla="*/ 944880 h 8260080"/>
              <a:gd name="connsiteX187" fmla="*/ 3281680 w 3505200"/>
              <a:gd name="connsiteY187" fmla="*/ 792480 h 8260080"/>
              <a:gd name="connsiteX188" fmla="*/ 3210560 w 3505200"/>
              <a:gd name="connsiteY188" fmla="*/ 650240 h 8260080"/>
              <a:gd name="connsiteX189" fmla="*/ 3302000 w 3505200"/>
              <a:gd name="connsiteY189" fmla="*/ 568960 h 8260080"/>
              <a:gd name="connsiteX190" fmla="*/ 3190240 w 3505200"/>
              <a:gd name="connsiteY190" fmla="*/ 487680 h 8260080"/>
              <a:gd name="connsiteX191" fmla="*/ 3108960 w 3505200"/>
              <a:gd name="connsiteY191" fmla="*/ 528320 h 8260080"/>
              <a:gd name="connsiteX192" fmla="*/ 3108960 w 3505200"/>
              <a:gd name="connsiteY192" fmla="*/ 406400 h 8260080"/>
              <a:gd name="connsiteX193" fmla="*/ 2926080 w 3505200"/>
              <a:gd name="connsiteY193" fmla="*/ 314960 h 8260080"/>
              <a:gd name="connsiteX194" fmla="*/ 2834640 w 3505200"/>
              <a:gd name="connsiteY194" fmla="*/ 355600 h 8260080"/>
              <a:gd name="connsiteX195" fmla="*/ 2682240 w 3505200"/>
              <a:gd name="connsiteY195" fmla="*/ 111760 h 8260080"/>
              <a:gd name="connsiteX196" fmla="*/ 2590800 w 3505200"/>
              <a:gd name="connsiteY196" fmla="*/ 121920 h 8260080"/>
              <a:gd name="connsiteX197" fmla="*/ 2611120 w 3505200"/>
              <a:gd name="connsiteY197" fmla="*/ 0 h 8260080"/>
              <a:gd name="connsiteX198" fmla="*/ 2438400 w 3505200"/>
              <a:gd name="connsiteY198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80829 w 3505200"/>
              <a:gd name="connsiteY79" fmla="*/ 7148354 h 8260080"/>
              <a:gd name="connsiteX80" fmla="*/ 242962 w 3505200"/>
              <a:gd name="connsiteY80" fmla="*/ 7226746 h 8260080"/>
              <a:gd name="connsiteX81" fmla="*/ 282892 w 3505200"/>
              <a:gd name="connsiteY81" fmla="*/ 7300436 h 8260080"/>
              <a:gd name="connsiteX82" fmla="*/ 334645 w 3505200"/>
              <a:gd name="connsiteY82" fmla="*/ 7194709 h 8260080"/>
              <a:gd name="connsiteX83" fmla="*/ 354881 w 3505200"/>
              <a:gd name="connsiteY83" fmla="*/ 7257702 h 8260080"/>
              <a:gd name="connsiteX84" fmla="*/ 337026 w 3505200"/>
              <a:gd name="connsiteY84" fmla="*/ 7316154 h 8260080"/>
              <a:gd name="connsiteX85" fmla="*/ 370364 w 3505200"/>
              <a:gd name="connsiteY85" fmla="*/ 7360602 h 8260080"/>
              <a:gd name="connsiteX86" fmla="*/ 447040 w 3505200"/>
              <a:gd name="connsiteY86" fmla="*/ 7366000 h 8260080"/>
              <a:gd name="connsiteX87" fmla="*/ 447040 w 3505200"/>
              <a:gd name="connsiteY87" fmla="*/ 7477760 h 8260080"/>
              <a:gd name="connsiteX88" fmla="*/ 558800 w 3505200"/>
              <a:gd name="connsiteY88" fmla="*/ 7528560 h 8260080"/>
              <a:gd name="connsiteX89" fmla="*/ 508000 w 3505200"/>
              <a:gd name="connsiteY89" fmla="*/ 7630160 h 8260080"/>
              <a:gd name="connsiteX90" fmla="*/ 436880 w 3505200"/>
              <a:gd name="connsiteY90" fmla="*/ 7609840 h 8260080"/>
              <a:gd name="connsiteX91" fmla="*/ 447040 w 3505200"/>
              <a:gd name="connsiteY91" fmla="*/ 7691120 h 8260080"/>
              <a:gd name="connsiteX92" fmla="*/ 518160 w 3505200"/>
              <a:gd name="connsiteY92" fmla="*/ 7741920 h 8260080"/>
              <a:gd name="connsiteX93" fmla="*/ 457200 w 3505200"/>
              <a:gd name="connsiteY93" fmla="*/ 7792720 h 8260080"/>
              <a:gd name="connsiteX94" fmla="*/ 396240 w 3505200"/>
              <a:gd name="connsiteY94" fmla="*/ 7701280 h 8260080"/>
              <a:gd name="connsiteX95" fmla="*/ 396240 w 3505200"/>
              <a:gd name="connsiteY95" fmla="*/ 7701280 h 8260080"/>
              <a:gd name="connsiteX96" fmla="*/ 436880 w 3505200"/>
              <a:gd name="connsiteY96" fmla="*/ 7874000 h 8260080"/>
              <a:gd name="connsiteX97" fmla="*/ 436880 w 3505200"/>
              <a:gd name="connsiteY97" fmla="*/ 7924800 h 8260080"/>
              <a:gd name="connsiteX98" fmla="*/ 548640 w 3505200"/>
              <a:gd name="connsiteY98" fmla="*/ 7965440 h 8260080"/>
              <a:gd name="connsiteX99" fmla="*/ 508000 w 3505200"/>
              <a:gd name="connsiteY99" fmla="*/ 8016240 h 8260080"/>
              <a:gd name="connsiteX100" fmla="*/ 589280 w 3505200"/>
              <a:gd name="connsiteY100" fmla="*/ 8056880 h 8260080"/>
              <a:gd name="connsiteX101" fmla="*/ 497840 w 3505200"/>
              <a:gd name="connsiteY101" fmla="*/ 8117840 h 8260080"/>
              <a:gd name="connsiteX102" fmla="*/ 518160 w 3505200"/>
              <a:gd name="connsiteY102" fmla="*/ 8209280 h 8260080"/>
              <a:gd name="connsiteX103" fmla="*/ 640080 w 3505200"/>
              <a:gd name="connsiteY103" fmla="*/ 8260080 h 8260080"/>
              <a:gd name="connsiteX104" fmla="*/ 731520 w 3505200"/>
              <a:gd name="connsiteY104" fmla="*/ 8219440 h 8260080"/>
              <a:gd name="connsiteX105" fmla="*/ 853440 w 3505200"/>
              <a:gd name="connsiteY105" fmla="*/ 8209280 h 8260080"/>
              <a:gd name="connsiteX106" fmla="*/ 955040 w 3505200"/>
              <a:gd name="connsiteY106" fmla="*/ 8260080 h 8260080"/>
              <a:gd name="connsiteX107" fmla="*/ 965200 w 3505200"/>
              <a:gd name="connsiteY107" fmla="*/ 8107680 h 8260080"/>
              <a:gd name="connsiteX108" fmla="*/ 894080 w 3505200"/>
              <a:gd name="connsiteY108" fmla="*/ 8026400 h 8260080"/>
              <a:gd name="connsiteX109" fmla="*/ 1016000 w 3505200"/>
              <a:gd name="connsiteY109" fmla="*/ 7863840 h 8260080"/>
              <a:gd name="connsiteX110" fmla="*/ 1107440 w 3505200"/>
              <a:gd name="connsiteY110" fmla="*/ 7894320 h 8260080"/>
              <a:gd name="connsiteX111" fmla="*/ 1127760 w 3505200"/>
              <a:gd name="connsiteY111" fmla="*/ 7853680 h 8260080"/>
              <a:gd name="connsiteX112" fmla="*/ 1066800 w 3505200"/>
              <a:gd name="connsiteY112" fmla="*/ 7813040 h 8260080"/>
              <a:gd name="connsiteX113" fmla="*/ 1137920 w 3505200"/>
              <a:gd name="connsiteY113" fmla="*/ 7762240 h 8260080"/>
              <a:gd name="connsiteX114" fmla="*/ 1330960 w 3505200"/>
              <a:gd name="connsiteY114" fmla="*/ 7802880 h 8260080"/>
              <a:gd name="connsiteX115" fmla="*/ 1361440 w 3505200"/>
              <a:gd name="connsiteY115" fmla="*/ 7772400 h 8260080"/>
              <a:gd name="connsiteX116" fmla="*/ 1483360 w 3505200"/>
              <a:gd name="connsiteY116" fmla="*/ 7823200 h 8260080"/>
              <a:gd name="connsiteX117" fmla="*/ 1554480 w 3505200"/>
              <a:gd name="connsiteY117" fmla="*/ 7731760 h 8260080"/>
              <a:gd name="connsiteX118" fmla="*/ 1524000 w 3505200"/>
              <a:gd name="connsiteY118" fmla="*/ 7640320 h 8260080"/>
              <a:gd name="connsiteX119" fmla="*/ 1645920 w 3505200"/>
              <a:gd name="connsiteY119" fmla="*/ 7437120 h 8260080"/>
              <a:gd name="connsiteX120" fmla="*/ 1635760 w 3505200"/>
              <a:gd name="connsiteY120" fmla="*/ 7335520 h 8260080"/>
              <a:gd name="connsiteX121" fmla="*/ 1696720 w 3505200"/>
              <a:gd name="connsiteY121" fmla="*/ 7223760 h 8260080"/>
              <a:gd name="connsiteX122" fmla="*/ 1625600 w 3505200"/>
              <a:gd name="connsiteY122" fmla="*/ 7172960 h 8260080"/>
              <a:gd name="connsiteX123" fmla="*/ 1747520 w 3505200"/>
              <a:gd name="connsiteY123" fmla="*/ 6990080 h 8260080"/>
              <a:gd name="connsiteX124" fmla="*/ 1666240 w 3505200"/>
              <a:gd name="connsiteY124" fmla="*/ 6939280 h 8260080"/>
              <a:gd name="connsiteX125" fmla="*/ 1737360 w 3505200"/>
              <a:gd name="connsiteY125" fmla="*/ 6888480 h 8260080"/>
              <a:gd name="connsiteX126" fmla="*/ 1645920 w 3505200"/>
              <a:gd name="connsiteY126" fmla="*/ 6776720 h 8260080"/>
              <a:gd name="connsiteX127" fmla="*/ 1808480 w 3505200"/>
              <a:gd name="connsiteY127" fmla="*/ 6715760 h 8260080"/>
              <a:gd name="connsiteX128" fmla="*/ 1727200 w 3505200"/>
              <a:gd name="connsiteY128" fmla="*/ 6614160 h 8260080"/>
              <a:gd name="connsiteX129" fmla="*/ 1686560 w 3505200"/>
              <a:gd name="connsiteY129" fmla="*/ 6421120 h 8260080"/>
              <a:gd name="connsiteX130" fmla="*/ 1889760 w 3505200"/>
              <a:gd name="connsiteY130" fmla="*/ 6299200 h 8260080"/>
              <a:gd name="connsiteX131" fmla="*/ 1940560 w 3505200"/>
              <a:gd name="connsiteY131" fmla="*/ 6228080 h 8260080"/>
              <a:gd name="connsiteX132" fmla="*/ 2032000 w 3505200"/>
              <a:gd name="connsiteY132" fmla="*/ 6136640 h 8260080"/>
              <a:gd name="connsiteX133" fmla="*/ 2011680 w 3505200"/>
              <a:gd name="connsiteY133" fmla="*/ 6014720 h 8260080"/>
              <a:gd name="connsiteX134" fmla="*/ 2123440 w 3505200"/>
              <a:gd name="connsiteY134" fmla="*/ 6065520 h 8260080"/>
              <a:gd name="connsiteX135" fmla="*/ 2092960 w 3505200"/>
              <a:gd name="connsiteY135" fmla="*/ 6167120 h 8260080"/>
              <a:gd name="connsiteX136" fmla="*/ 2286000 w 3505200"/>
              <a:gd name="connsiteY136" fmla="*/ 5933440 h 8260080"/>
              <a:gd name="connsiteX137" fmla="*/ 2255520 w 3505200"/>
              <a:gd name="connsiteY137" fmla="*/ 5801360 h 8260080"/>
              <a:gd name="connsiteX138" fmla="*/ 2448560 w 3505200"/>
              <a:gd name="connsiteY138" fmla="*/ 5598160 h 8260080"/>
              <a:gd name="connsiteX139" fmla="*/ 2357120 w 3505200"/>
              <a:gd name="connsiteY139" fmla="*/ 5435600 h 8260080"/>
              <a:gd name="connsiteX140" fmla="*/ 2225040 w 3505200"/>
              <a:gd name="connsiteY140" fmla="*/ 5415280 h 8260080"/>
              <a:gd name="connsiteX141" fmla="*/ 2103120 w 3505200"/>
              <a:gd name="connsiteY141" fmla="*/ 5222240 h 8260080"/>
              <a:gd name="connsiteX142" fmla="*/ 2092960 w 3505200"/>
              <a:gd name="connsiteY142" fmla="*/ 5110480 h 8260080"/>
              <a:gd name="connsiteX143" fmla="*/ 2052320 w 3505200"/>
              <a:gd name="connsiteY143" fmla="*/ 5151120 h 8260080"/>
              <a:gd name="connsiteX144" fmla="*/ 2042160 w 3505200"/>
              <a:gd name="connsiteY144" fmla="*/ 5242560 h 8260080"/>
              <a:gd name="connsiteX145" fmla="*/ 1981200 w 3505200"/>
              <a:gd name="connsiteY145" fmla="*/ 5191760 h 8260080"/>
              <a:gd name="connsiteX146" fmla="*/ 2011680 w 3505200"/>
              <a:gd name="connsiteY146" fmla="*/ 5120640 h 8260080"/>
              <a:gd name="connsiteX147" fmla="*/ 1930400 w 3505200"/>
              <a:gd name="connsiteY147" fmla="*/ 5100320 h 8260080"/>
              <a:gd name="connsiteX148" fmla="*/ 1859280 w 3505200"/>
              <a:gd name="connsiteY148" fmla="*/ 4917440 h 8260080"/>
              <a:gd name="connsiteX149" fmla="*/ 1828800 w 3505200"/>
              <a:gd name="connsiteY149" fmla="*/ 4622800 h 8260080"/>
              <a:gd name="connsiteX150" fmla="*/ 1910080 w 3505200"/>
              <a:gd name="connsiteY150" fmla="*/ 4419600 h 8260080"/>
              <a:gd name="connsiteX151" fmla="*/ 1920240 w 3505200"/>
              <a:gd name="connsiteY151" fmla="*/ 4277360 h 8260080"/>
              <a:gd name="connsiteX152" fmla="*/ 1971040 w 3505200"/>
              <a:gd name="connsiteY152" fmla="*/ 4124960 h 8260080"/>
              <a:gd name="connsiteX153" fmla="*/ 1879600 w 3505200"/>
              <a:gd name="connsiteY153" fmla="*/ 4023360 h 8260080"/>
              <a:gd name="connsiteX154" fmla="*/ 2072640 w 3505200"/>
              <a:gd name="connsiteY154" fmla="*/ 4003040 h 8260080"/>
              <a:gd name="connsiteX155" fmla="*/ 2092960 w 3505200"/>
              <a:gd name="connsiteY155" fmla="*/ 3850640 h 8260080"/>
              <a:gd name="connsiteX156" fmla="*/ 2001520 w 3505200"/>
              <a:gd name="connsiteY156" fmla="*/ 3728720 h 8260080"/>
              <a:gd name="connsiteX157" fmla="*/ 2164080 w 3505200"/>
              <a:gd name="connsiteY157" fmla="*/ 3769360 h 8260080"/>
              <a:gd name="connsiteX158" fmla="*/ 2265680 w 3505200"/>
              <a:gd name="connsiteY158" fmla="*/ 3566160 h 8260080"/>
              <a:gd name="connsiteX159" fmla="*/ 2336800 w 3505200"/>
              <a:gd name="connsiteY159" fmla="*/ 3515360 h 8260080"/>
              <a:gd name="connsiteX160" fmla="*/ 2367280 w 3505200"/>
              <a:gd name="connsiteY160" fmla="*/ 3362960 h 8260080"/>
              <a:gd name="connsiteX161" fmla="*/ 2489200 w 3505200"/>
              <a:gd name="connsiteY161" fmla="*/ 3423920 h 8260080"/>
              <a:gd name="connsiteX162" fmla="*/ 2560320 w 3505200"/>
              <a:gd name="connsiteY162" fmla="*/ 3302000 h 8260080"/>
              <a:gd name="connsiteX163" fmla="*/ 2743200 w 3505200"/>
              <a:gd name="connsiteY163" fmla="*/ 3149600 h 8260080"/>
              <a:gd name="connsiteX164" fmla="*/ 2844800 w 3505200"/>
              <a:gd name="connsiteY164" fmla="*/ 3088640 h 8260080"/>
              <a:gd name="connsiteX165" fmla="*/ 2804160 w 3505200"/>
              <a:gd name="connsiteY165" fmla="*/ 2966720 h 8260080"/>
              <a:gd name="connsiteX166" fmla="*/ 2976880 w 3505200"/>
              <a:gd name="connsiteY166" fmla="*/ 2763520 h 8260080"/>
              <a:gd name="connsiteX167" fmla="*/ 2794000 w 3505200"/>
              <a:gd name="connsiteY167" fmla="*/ 2621280 h 8260080"/>
              <a:gd name="connsiteX168" fmla="*/ 2946400 w 3505200"/>
              <a:gd name="connsiteY168" fmla="*/ 2377440 h 8260080"/>
              <a:gd name="connsiteX169" fmla="*/ 2854960 w 3505200"/>
              <a:gd name="connsiteY169" fmla="*/ 2255520 h 8260080"/>
              <a:gd name="connsiteX170" fmla="*/ 3027680 w 3505200"/>
              <a:gd name="connsiteY170" fmla="*/ 2113280 h 8260080"/>
              <a:gd name="connsiteX171" fmla="*/ 3119120 w 3505200"/>
              <a:gd name="connsiteY171" fmla="*/ 2021840 h 8260080"/>
              <a:gd name="connsiteX172" fmla="*/ 3027680 w 3505200"/>
              <a:gd name="connsiteY172" fmla="*/ 1960880 h 8260080"/>
              <a:gd name="connsiteX173" fmla="*/ 3139440 w 3505200"/>
              <a:gd name="connsiteY173" fmla="*/ 1869440 h 8260080"/>
              <a:gd name="connsiteX174" fmla="*/ 3281680 w 3505200"/>
              <a:gd name="connsiteY174" fmla="*/ 1950720 h 8260080"/>
              <a:gd name="connsiteX175" fmla="*/ 3403600 w 3505200"/>
              <a:gd name="connsiteY175" fmla="*/ 1889760 h 8260080"/>
              <a:gd name="connsiteX176" fmla="*/ 3505200 w 3505200"/>
              <a:gd name="connsiteY176" fmla="*/ 1910080 h 8260080"/>
              <a:gd name="connsiteX177" fmla="*/ 3444240 w 3505200"/>
              <a:gd name="connsiteY177" fmla="*/ 1656080 h 8260080"/>
              <a:gd name="connsiteX178" fmla="*/ 3373120 w 3505200"/>
              <a:gd name="connsiteY178" fmla="*/ 1635760 h 8260080"/>
              <a:gd name="connsiteX179" fmla="*/ 3352800 w 3505200"/>
              <a:gd name="connsiteY179" fmla="*/ 1503680 h 8260080"/>
              <a:gd name="connsiteX180" fmla="*/ 3444240 w 3505200"/>
              <a:gd name="connsiteY180" fmla="*/ 1412240 h 8260080"/>
              <a:gd name="connsiteX181" fmla="*/ 3393440 w 3505200"/>
              <a:gd name="connsiteY181" fmla="*/ 1280160 h 8260080"/>
              <a:gd name="connsiteX182" fmla="*/ 3434080 w 3505200"/>
              <a:gd name="connsiteY182" fmla="*/ 1249680 h 8260080"/>
              <a:gd name="connsiteX183" fmla="*/ 3281680 w 3505200"/>
              <a:gd name="connsiteY183" fmla="*/ 1066800 h 8260080"/>
              <a:gd name="connsiteX184" fmla="*/ 3383280 w 3505200"/>
              <a:gd name="connsiteY184" fmla="*/ 975360 h 8260080"/>
              <a:gd name="connsiteX185" fmla="*/ 3302000 w 3505200"/>
              <a:gd name="connsiteY185" fmla="*/ 924560 h 8260080"/>
              <a:gd name="connsiteX186" fmla="*/ 3190240 w 3505200"/>
              <a:gd name="connsiteY186" fmla="*/ 944880 h 8260080"/>
              <a:gd name="connsiteX187" fmla="*/ 3281680 w 3505200"/>
              <a:gd name="connsiteY187" fmla="*/ 792480 h 8260080"/>
              <a:gd name="connsiteX188" fmla="*/ 3210560 w 3505200"/>
              <a:gd name="connsiteY188" fmla="*/ 650240 h 8260080"/>
              <a:gd name="connsiteX189" fmla="*/ 3302000 w 3505200"/>
              <a:gd name="connsiteY189" fmla="*/ 568960 h 8260080"/>
              <a:gd name="connsiteX190" fmla="*/ 3190240 w 3505200"/>
              <a:gd name="connsiteY190" fmla="*/ 487680 h 8260080"/>
              <a:gd name="connsiteX191" fmla="*/ 3108960 w 3505200"/>
              <a:gd name="connsiteY191" fmla="*/ 528320 h 8260080"/>
              <a:gd name="connsiteX192" fmla="*/ 3108960 w 3505200"/>
              <a:gd name="connsiteY192" fmla="*/ 406400 h 8260080"/>
              <a:gd name="connsiteX193" fmla="*/ 2926080 w 3505200"/>
              <a:gd name="connsiteY193" fmla="*/ 314960 h 8260080"/>
              <a:gd name="connsiteX194" fmla="*/ 2834640 w 3505200"/>
              <a:gd name="connsiteY194" fmla="*/ 355600 h 8260080"/>
              <a:gd name="connsiteX195" fmla="*/ 2682240 w 3505200"/>
              <a:gd name="connsiteY195" fmla="*/ 111760 h 8260080"/>
              <a:gd name="connsiteX196" fmla="*/ 2590800 w 3505200"/>
              <a:gd name="connsiteY196" fmla="*/ 121920 h 8260080"/>
              <a:gd name="connsiteX197" fmla="*/ 2611120 w 3505200"/>
              <a:gd name="connsiteY197" fmla="*/ 0 h 8260080"/>
              <a:gd name="connsiteX198" fmla="*/ 2438400 w 3505200"/>
              <a:gd name="connsiteY198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80829 w 3505200"/>
              <a:gd name="connsiteY79" fmla="*/ 7148354 h 8260080"/>
              <a:gd name="connsiteX80" fmla="*/ 242962 w 3505200"/>
              <a:gd name="connsiteY80" fmla="*/ 7226746 h 8260080"/>
              <a:gd name="connsiteX81" fmla="*/ 282892 w 3505200"/>
              <a:gd name="connsiteY81" fmla="*/ 7300436 h 8260080"/>
              <a:gd name="connsiteX82" fmla="*/ 310833 w 3505200"/>
              <a:gd name="connsiteY82" fmla="*/ 7299484 h 8260080"/>
              <a:gd name="connsiteX83" fmla="*/ 354881 w 3505200"/>
              <a:gd name="connsiteY83" fmla="*/ 7257702 h 8260080"/>
              <a:gd name="connsiteX84" fmla="*/ 337026 w 3505200"/>
              <a:gd name="connsiteY84" fmla="*/ 7316154 h 8260080"/>
              <a:gd name="connsiteX85" fmla="*/ 370364 w 3505200"/>
              <a:gd name="connsiteY85" fmla="*/ 7360602 h 8260080"/>
              <a:gd name="connsiteX86" fmla="*/ 447040 w 3505200"/>
              <a:gd name="connsiteY86" fmla="*/ 7366000 h 8260080"/>
              <a:gd name="connsiteX87" fmla="*/ 447040 w 3505200"/>
              <a:gd name="connsiteY87" fmla="*/ 7477760 h 8260080"/>
              <a:gd name="connsiteX88" fmla="*/ 558800 w 3505200"/>
              <a:gd name="connsiteY88" fmla="*/ 7528560 h 8260080"/>
              <a:gd name="connsiteX89" fmla="*/ 508000 w 3505200"/>
              <a:gd name="connsiteY89" fmla="*/ 7630160 h 8260080"/>
              <a:gd name="connsiteX90" fmla="*/ 436880 w 3505200"/>
              <a:gd name="connsiteY90" fmla="*/ 7609840 h 8260080"/>
              <a:gd name="connsiteX91" fmla="*/ 447040 w 3505200"/>
              <a:gd name="connsiteY91" fmla="*/ 7691120 h 8260080"/>
              <a:gd name="connsiteX92" fmla="*/ 518160 w 3505200"/>
              <a:gd name="connsiteY92" fmla="*/ 7741920 h 8260080"/>
              <a:gd name="connsiteX93" fmla="*/ 457200 w 3505200"/>
              <a:gd name="connsiteY93" fmla="*/ 7792720 h 8260080"/>
              <a:gd name="connsiteX94" fmla="*/ 396240 w 3505200"/>
              <a:gd name="connsiteY94" fmla="*/ 7701280 h 8260080"/>
              <a:gd name="connsiteX95" fmla="*/ 396240 w 3505200"/>
              <a:gd name="connsiteY95" fmla="*/ 7701280 h 8260080"/>
              <a:gd name="connsiteX96" fmla="*/ 436880 w 3505200"/>
              <a:gd name="connsiteY96" fmla="*/ 7874000 h 8260080"/>
              <a:gd name="connsiteX97" fmla="*/ 436880 w 3505200"/>
              <a:gd name="connsiteY97" fmla="*/ 7924800 h 8260080"/>
              <a:gd name="connsiteX98" fmla="*/ 548640 w 3505200"/>
              <a:gd name="connsiteY98" fmla="*/ 7965440 h 8260080"/>
              <a:gd name="connsiteX99" fmla="*/ 508000 w 3505200"/>
              <a:gd name="connsiteY99" fmla="*/ 8016240 h 8260080"/>
              <a:gd name="connsiteX100" fmla="*/ 589280 w 3505200"/>
              <a:gd name="connsiteY100" fmla="*/ 8056880 h 8260080"/>
              <a:gd name="connsiteX101" fmla="*/ 497840 w 3505200"/>
              <a:gd name="connsiteY101" fmla="*/ 8117840 h 8260080"/>
              <a:gd name="connsiteX102" fmla="*/ 518160 w 3505200"/>
              <a:gd name="connsiteY102" fmla="*/ 8209280 h 8260080"/>
              <a:gd name="connsiteX103" fmla="*/ 640080 w 3505200"/>
              <a:gd name="connsiteY103" fmla="*/ 8260080 h 8260080"/>
              <a:gd name="connsiteX104" fmla="*/ 731520 w 3505200"/>
              <a:gd name="connsiteY104" fmla="*/ 8219440 h 8260080"/>
              <a:gd name="connsiteX105" fmla="*/ 853440 w 3505200"/>
              <a:gd name="connsiteY105" fmla="*/ 8209280 h 8260080"/>
              <a:gd name="connsiteX106" fmla="*/ 955040 w 3505200"/>
              <a:gd name="connsiteY106" fmla="*/ 8260080 h 8260080"/>
              <a:gd name="connsiteX107" fmla="*/ 965200 w 3505200"/>
              <a:gd name="connsiteY107" fmla="*/ 8107680 h 8260080"/>
              <a:gd name="connsiteX108" fmla="*/ 894080 w 3505200"/>
              <a:gd name="connsiteY108" fmla="*/ 8026400 h 8260080"/>
              <a:gd name="connsiteX109" fmla="*/ 1016000 w 3505200"/>
              <a:gd name="connsiteY109" fmla="*/ 7863840 h 8260080"/>
              <a:gd name="connsiteX110" fmla="*/ 1107440 w 3505200"/>
              <a:gd name="connsiteY110" fmla="*/ 7894320 h 8260080"/>
              <a:gd name="connsiteX111" fmla="*/ 1127760 w 3505200"/>
              <a:gd name="connsiteY111" fmla="*/ 7853680 h 8260080"/>
              <a:gd name="connsiteX112" fmla="*/ 1066800 w 3505200"/>
              <a:gd name="connsiteY112" fmla="*/ 7813040 h 8260080"/>
              <a:gd name="connsiteX113" fmla="*/ 1137920 w 3505200"/>
              <a:gd name="connsiteY113" fmla="*/ 7762240 h 8260080"/>
              <a:gd name="connsiteX114" fmla="*/ 1330960 w 3505200"/>
              <a:gd name="connsiteY114" fmla="*/ 7802880 h 8260080"/>
              <a:gd name="connsiteX115" fmla="*/ 1361440 w 3505200"/>
              <a:gd name="connsiteY115" fmla="*/ 7772400 h 8260080"/>
              <a:gd name="connsiteX116" fmla="*/ 1483360 w 3505200"/>
              <a:gd name="connsiteY116" fmla="*/ 7823200 h 8260080"/>
              <a:gd name="connsiteX117" fmla="*/ 1554480 w 3505200"/>
              <a:gd name="connsiteY117" fmla="*/ 7731760 h 8260080"/>
              <a:gd name="connsiteX118" fmla="*/ 1524000 w 3505200"/>
              <a:gd name="connsiteY118" fmla="*/ 7640320 h 8260080"/>
              <a:gd name="connsiteX119" fmla="*/ 1645920 w 3505200"/>
              <a:gd name="connsiteY119" fmla="*/ 7437120 h 8260080"/>
              <a:gd name="connsiteX120" fmla="*/ 1635760 w 3505200"/>
              <a:gd name="connsiteY120" fmla="*/ 7335520 h 8260080"/>
              <a:gd name="connsiteX121" fmla="*/ 1696720 w 3505200"/>
              <a:gd name="connsiteY121" fmla="*/ 7223760 h 8260080"/>
              <a:gd name="connsiteX122" fmla="*/ 1625600 w 3505200"/>
              <a:gd name="connsiteY122" fmla="*/ 7172960 h 8260080"/>
              <a:gd name="connsiteX123" fmla="*/ 1747520 w 3505200"/>
              <a:gd name="connsiteY123" fmla="*/ 6990080 h 8260080"/>
              <a:gd name="connsiteX124" fmla="*/ 1666240 w 3505200"/>
              <a:gd name="connsiteY124" fmla="*/ 6939280 h 8260080"/>
              <a:gd name="connsiteX125" fmla="*/ 1737360 w 3505200"/>
              <a:gd name="connsiteY125" fmla="*/ 6888480 h 8260080"/>
              <a:gd name="connsiteX126" fmla="*/ 1645920 w 3505200"/>
              <a:gd name="connsiteY126" fmla="*/ 6776720 h 8260080"/>
              <a:gd name="connsiteX127" fmla="*/ 1808480 w 3505200"/>
              <a:gd name="connsiteY127" fmla="*/ 6715760 h 8260080"/>
              <a:gd name="connsiteX128" fmla="*/ 1727200 w 3505200"/>
              <a:gd name="connsiteY128" fmla="*/ 6614160 h 8260080"/>
              <a:gd name="connsiteX129" fmla="*/ 1686560 w 3505200"/>
              <a:gd name="connsiteY129" fmla="*/ 6421120 h 8260080"/>
              <a:gd name="connsiteX130" fmla="*/ 1889760 w 3505200"/>
              <a:gd name="connsiteY130" fmla="*/ 6299200 h 8260080"/>
              <a:gd name="connsiteX131" fmla="*/ 1940560 w 3505200"/>
              <a:gd name="connsiteY131" fmla="*/ 6228080 h 8260080"/>
              <a:gd name="connsiteX132" fmla="*/ 2032000 w 3505200"/>
              <a:gd name="connsiteY132" fmla="*/ 6136640 h 8260080"/>
              <a:gd name="connsiteX133" fmla="*/ 2011680 w 3505200"/>
              <a:gd name="connsiteY133" fmla="*/ 6014720 h 8260080"/>
              <a:gd name="connsiteX134" fmla="*/ 2123440 w 3505200"/>
              <a:gd name="connsiteY134" fmla="*/ 6065520 h 8260080"/>
              <a:gd name="connsiteX135" fmla="*/ 2092960 w 3505200"/>
              <a:gd name="connsiteY135" fmla="*/ 6167120 h 8260080"/>
              <a:gd name="connsiteX136" fmla="*/ 2286000 w 3505200"/>
              <a:gd name="connsiteY136" fmla="*/ 5933440 h 8260080"/>
              <a:gd name="connsiteX137" fmla="*/ 2255520 w 3505200"/>
              <a:gd name="connsiteY137" fmla="*/ 5801360 h 8260080"/>
              <a:gd name="connsiteX138" fmla="*/ 2448560 w 3505200"/>
              <a:gd name="connsiteY138" fmla="*/ 5598160 h 8260080"/>
              <a:gd name="connsiteX139" fmla="*/ 2357120 w 3505200"/>
              <a:gd name="connsiteY139" fmla="*/ 5435600 h 8260080"/>
              <a:gd name="connsiteX140" fmla="*/ 2225040 w 3505200"/>
              <a:gd name="connsiteY140" fmla="*/ 5415280 h 8260080"/>
              <a:gd name="connsiteX141" fmla="*/ 2103120 w 3505200"/>
              <a:gd name="connsiteY141" fmla="*/ 5222240 h 8260080"/>
              <a:gd name="connsiteX142" fmla="*/ 2092960 w 3505200"/>
              <a:gd name="connsiteY142" fmla="*/ 5110480 h 8260080"/>
              <a:gd name="connsiteX143" fmla="*/ 2052320 w 3505200"/>
              <a:gd name="connsiteY143" fmla="*/ 5151120 h 8260080"/>
              <a:gd name="connsiteX144" fmla="*/ 2042160 w 3505200"/>
              <a:gd name="connsiteY144" fmla="*/ 5242560 h 8260080"/>
              <a:gd name="connsiteX145" fmla="*/ 1981200 w 3505200"/>
              <a:gd name="connsiteY145" fmla="*/ 5191760 h 8260080"/>
              <a:gd name="connsiteX146" fmla="*/ 2011680 w 3505200"/>
              <a:gd name="connsiteY146" fmla="*/ 5120640 h 8260080"/>
              <a:gd name="connsiteX147" fmla="*/ 1930400 w 3505200"/>
              <a:gd name="connsiteY147" fmla="*/ 5100320 h 8260080"/>
              <a:gd name="connsiteX148" fmla="*/ 1859280 w 3505200"/>
              <a:gd name="connsiteY148" fmla="*/ 4917440 h 8260080"/>
              <a:gd name="connsiteX149" fmla="*/ 1828800 w 3505200"/>
              <a:gd name="connsiteY149" fmla="*/ 4622800 h 8260080"/>
              <a:gd name="connsiteX150" fmla="*/ 1910080 w 3505200"/>
              <a:gd name="connsiteY150" fmla="*/ 4419600 h 8260080"/>
              <a:gd name="connsiteX151" fmla="*/ 1920240 w 3505200"/>
              <a:gd name="connsiteY151" fmla="*/ 4277360 h 8260080"/>
              <a:gd name="connsiteX152" fmla="*/ 1971040 w 3505200"/>
              <a:gd name="connsiteY152" fmla="*/ 4124960 h 8260080"/>
              <a:gd name="connsiteX153" fmla="*/ 1879600 w 3505200"/>
              <a:gd name="connsiteY153" fmla="*/ 4023360 h 8260080"/>
              <a:gd name="connsiteX154" fmla="*/ 2072640 w 3505200"/>
              <a:gd name="connsiteY154" fmla="*/ 4003040 h 8260080"/>
              <a:gd name="connsiteX155" fmla="*/ 2092960 w 3505200"/>
              <a:gd name="connsiteY155" fmla="*/ 3850640 h 8260080"/>
              <a:gd name="connsiteX156" fmla="*/ 2001520 w 3505200"/>
              <a:gd name="connsiteY156" fmla="*/ 3728720 h 8260080"/>
              <a:gd name="connsiteX157" fmla="*/ 2164080 w 3505200"/>
              <a:gd name="connsiteY157" fmla="*/ 3769360 h 8260080"/>
              <a:gd name="connsiteX158" fmla="*/ 2265680 w 3505200"/>
              <a:gd name="connsiteY158" fmla="*/ 3566160 h 8260080"/>
              <a:gd name="connsiteX159" fmla="*/ 2336800 w 3505200"/>
              <a:gd name="connsiteY159" fmla="*/ 3515360 h 8260080"/>
              <a:gd name="connsiteX160" fmla="*/ 2367280 w 3505200"/>
              <a:gd name="connsiteY160" fmla="*/ 3362960 h 8260080"/>
              <a:gd name="connsiteX161" fmla="*/ 2489200 w 3505200"/>
              <a:gd name="connsiteY161" fmla="*/ 3423920 h 8260080"/>
              <a:gd name="connsiteX162" fmla="*/ 2560320 w 3505200"/>
              <a:gd name="connsiteY162" fmla="*/ 3302000 h 8260080"/>
              <a:gd name="connsiteX163" fmla="*/ 2743200 w 3505200"/>
              <a:gd name="connsiteY163" fmla="*/ 3149600 h 8260080"/>
              <a:gd name="connsiteX164" fmla="*/ 2844800 w 3505200"/>
              <a:gd name="connsiteY164" fmla="*/ 3088640 h 8260080"/>
              <a:gd name="connsiteX165" fmla="*/ 2804160 w 3505200"/>
              <a:gd name="connsiteY165" fmla="*/ 2966720 h 8260080"/>
              <a:gd name="connsiteX166" fmla="*/ 2976880 w 3505200"/>
              <a:gd name="connsiteY166" fmla="*/ 2763520 h 8260080"/>
              <a:gd name="connsiteX167" fmla="*/ 2794000 w 3505200"/>
              <a:gd name="connsiteY167" fmla="*/ 2621280 h 8260080"/>
              <a:gd name="connsiteX168" fmla="*/ 2946400 w 3505200"/>
              <a:gd name="connsiteY168" fmla="*/ 2377440 h 8260080"/>
              <a:gd name="connsiteX169" fmla="*/ 2854960 w 3505200"/>
              <a:gd name="connsiteY169" fmla="*/ 2255520 h 8260080"/>
              <a:gd name="connsiteX170" fmla="*/ 3027680 w 3505200"/>
              <a:gd name="connsiteY170" fmla="*/ 2113280 h 8260080"/>
              <a:gd name="connsiteX171" fmla="*/ 3119120 w 3505200"/>
              <a:gd name="connsiteY171" fmla="*/ 2021840 h 8260080"/>
              <a:gd name="connsiteX172" fmla="*/ 3027680 w 3505200"/>
              <a:gd name="connsiteY172" fmla="*/ 1960880 h 8260080"/>
              <a:gd name="connsiteX173" fmla="*/ 3139440 w 3505200"/>
              <a:gd name="connsiteY173" fmla="*/ 1869440 h 8260080"/>
              <a:gd name="connsiteX174" fmla="*/ 3281680 w 3505200"/>
              <a:gd name="connsiteY174" fmla="*/ 1950720 h 8260080"/>
              <a:gd name="connsiteX175" fmla="*/ 3403600 w 3505200"/>
              <a:gd name="connsiteY175" fmla="*/ 1889760 h 8260080"/>
              <a:gd name="connsiteX176" fmla="*/ 3505200 w 3505200"/>
              <a:gd name="connsiteY176" fmla="*/ 1910080 h 8260080"/>
              <a:gd name="connsiteX177" fmla="*/ 3444240 w 3505200"/>
              <a:gd name="connsiteY177" fmla="*/ 1656080 h 8260080"/>
              <a:gd name="connsiteX178" fmla="*/ 3373120 w 3505200"/>
              <a:gd name="connsiteY178" fmla="*/ 1635760 h 8260080"/>
              <a:gd name="connsiteX179" fmla="*/ 3352800 w 3505200"/>
              <a:gd name="connsiteY179" fmla="*/ 1503680 h 8260080"/>
              <a:gd name="connsiteX180" fmla="*/ 3444240 w 3505200"/>
              <a:gd name="connsiteY180" fmla="*/ 1412240 h 8260080"/>
              <a:gd name="connsiteX181" fmla="*/ 3393440 w 3505200"/>
              <a:gd name="connsiteY181" fmla="*/ 1280160 h 8260080"/>
              <a:gd name="connsiteX182" fmla="*/ 3434080 w 3505200"/>
              <a:gd name="connsiteY182" fmla="*/ 1249680 h 8260080"/>
              <a:gd name="connsiteX183" fmla="*/ 3281680 w 3505200"/>
              <a:gd name="connsiteY183" fmla="*/ 1066800 h 8260080"/>
              <a:gd name="connsiteX184" fmla="*/ 3383280 w 3505200"/>
              <a:gd name="connsiteY184" fmla="*/ 975360 h 8260080"/>
              <a:gd name="connsiteX185" fmla="*/ 3302000 w 3505200"/>
              <a:gd name="connsiteY185" fmla="*/ 924560 h 8260080"/>
              <a:gd name="connsiteX186" fmla="*/ 3190240 w 3505200"/>
              <a:gd name="connsiteY186" fmla="*/ 944880 h 8260080"/>
              <a:gd name="connsiteX187" fmla="*/ 3281680 w 3505200"/>
              <a:gd name="connsiteY187" fmla="*/ 792480 h 8260080"/>
              <a:gd name="connsiteX188" fmla="*/ 3210560 w 3505200"/>
              <a:gd name="connsiteY188" fmla="*/ 650240 h 8260080"/>
              <a:gd name="connsiteX189" fmla="*/ 3302000 w 3505200"/>
              <a:gd name="connsiteY189" fmla="*/ 568960 h 8260080"/>
              <a:gd name="connsiteX190" fmla="*/ 3190240 w 3505200"/>
              <a:gd name="connsiteY190" fmla="*/ 487680 h 8260080"/>
              <a:gd name="connsiteX191" fmla="*/ 3108960 w 3505200"/>
              <a:gd name="connsiteY191" fmla="*/ 528320 h 8260080"/>
              <a:gd name="connsiteX192" fmla="*/ 3108960 w 3505200"/>
              <a:gd name="connsiteY192" fmla="*/ 406400 h 8260080"/>
              <a:gd name="connsiteX193" fmla="*/ 2926080 w 3505200"/>
              <a:gd name="connsiteY193" fmla="*/ 314960 h 8260080"/>
              <a:gd name="connsiteX194" fmla="*/ 2834640 w 3505200"/>
              <a:gd name="connsiteY194" fmla="*/ 355600 h 8260080"/>
              <a:gd name="connsiteX195" fmla="*/ 2682240 w 3505200"/>
              <a:gd name="connsiteY195" fmla="*/ 111760 h 8260080"/>
              <a:gd name="connsiteX196" fmla="*/ 2590800 w 3505200"/>
              <a:gd name="connsiteY196" fmla="*/ 121920 h 8260080"/>
              <a:gd name="connsiteX197" fmla="*/ 2611120 w 3505200"/>
              <a:gd name="connsiteY197" fmla="*/ 0 h 8260080"/>
              <a:gd name="connsiteX198" fmla="*/ 2438400 w 3505200"/>
              <a:gd name="connsiteY198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80829 w 3505200"/>
              <a:gd name="connsiteY79" fmla="*/ 7148354 h 8260080"/>
              <a:gd name="connsiteX80" fmla="*/ 242962 w 3505200"/>
              <a:gd name="connsiteY80" fmla="*/ 7226746 h 8260080"/>
              <a:gd name="connsiteX81" fmla="*/ 282892 w 3505200"/>
              <a:gd name="connsiteY81" fmla="*/ 7300436 h 8260080"/>
              <a:gd name="connsiteX82" fmla="*/ 310833 w 3505200"/>
              <a:gd name="connsiteY82" fmla="*/ 7299484 h 8260080"/>
              <a:gd name="connsiteX83" fmla="*/ 319162 w 3505200"/>
              <a:gd name="connsiteY83" fmla="*/ 7310089 h 8260080"/>
              <a:gd name="connsiteX84" fmla="*/ 337026 w 3505200"/>
              <a:gd name="connsiteY84" fmla="*/ 7316154 h 8260080"/>
              <a:gd name="connsiteX85" fmla="*/ 370364 w 3505200"/>
              <a:gd name="connsiteY85" fmla="*/ 7360602 h 8260080"/>
              <a:gd name="connsiteX86" fmla="*/ 447040 w 3505200"/>
              <a:gd name="connsiteY86" fmla="*/ 7366000 h 8260080"/>
              <a:gd name="connsiteX87" fmla="*/ 447040 w 3505200"/>
              <a:gd name="connsiteY87" fmla="*/ 7477760 h 8260080"/>
              <a:gd name="connsiteX88" fmla="*/ 558800 w 3505200"/>
              <a:gd name="connsiteY88" fmla="*/ 7528560 h 8260080"/>
              <a:gd name="connsiteX89" fmla="*/ 508000 w 3505200"/>
              <a:gd name="connsiteY89" fmla="*/ 7630160 h 8260080"/>
              <a:gd name="connsiteX90" fmla="*/ 436880 w 3505200"/>
              <a:gd name="connsiteY90" fmla="*/ 7609840 h 8260080"/>
              <a:gd name="connsiteX91" fmla="*/ 447040 w 3505200"/>
              <a:gd name="connsiteY91" fmla="*/ 7691120 h 8260080"/>
              <a:gd name="connsiteX92" fmla="*/ 518160 w 3505200"/>
              <a:gd name="connsiteY92" fmla="*/ 7741920 h 8260080"/>
              <a:gd name="connsiteX93" fmla="*/ 457200 w 3505200"/>
              <a:gd name="connsiteY93" fmla="*/ 7792720 h 8260080"/>
              <a:gd name="connsiteX94" fmla="*/ 396240 w 3505200"/>
              <a:gd name="connsiteY94" fmla="*/ 7701280 h 8260080"/>
              <a:gd name="connsiteX95" fmla="*/ 396240 w 3505200"/>
              <a:gd name="connsiteY95" fmla="*/ 7701280 h 8260080"/>
              <a:gd name="connsiteX96" fmla="*/ 436880 w 3505200"/>
              <a:gd name="connsiteY96" fmla="*/ 7874000 h 8260080"/>
              <a:gd name="connsiteX97" fmla="*/ 436880 w 3505200"/>
              <a:gd name="connsiteY97" fmla="*/ 7924800 h 8260080"/>
              <a:gd name="connsiteX98" fmla="*/ 548640 w 3505200"/>
              <a:gd name="connsiteY98" fmla="*/ 7965440 h 8260080"/>
              <a:gd name="connsiteX99" fmla="*/ 508000 w 3505200"/>
              <a:gd name="connsiteY99" fmla="*/ 8016240 h 8260080"/>
              <a:gd name="connsiteX100" fmla="*/ 589280 w 3505200"/>
              <a:gd name="connsiteY100" fmla="*/ 8056880 h 8260080"/>
              <a:gd name="connsiteX101" fmla="*/ 497840 w 3505200"/>
              <a:gd name="connsiteY101" fmla="*/ 8117840 h 8260080"/>
              <a:gd name="connsiteX102" fmla="*/ 518160 w 3505200"/>
              <a:gd name="connsiteY102" fmla="*/ 8209280 h 8260080"/>
              <a:gd name="connsiteX103" fmla="*/ 640080 w 3505200"/>
              <a:gd name="connsiteY103" fmla="*/ 8260080 h 8260080"/>
              <a:gd name="connsiteX104" fmla="*/ 731520 w 3505200"/>
              <a:gd name="connsiteY104" fmla="*/ 8219440 h 8260080"/>
              <a:gd name="connsiteX105" fmla="*/ 853440 w 3505200"/>
              <a:gd name="connsiteY105" fmla="*/ 8209280 h 8260080"/>
              <a:gd name="connsiteX106" fmla="*/ 955040 w 3505200"/>
              <a:gd name="connsiteY106" fmla="*/ 8260080 h 8260080"/>
              <a:gd name="connsiteX107" fmla="*/ 965200 w 3505200"/>
              <a:gd name="connsiteY107" fmla="*/ 8107680 h 8260080"/>
              <a:gd name="connsiteX108" fmla="*/ 894080 w 3505200"/>
              <a:gd name="connsiteY108" fmla="*/ 8026400 h 8260080"/>
              <a:gd name="connsiteX109" fmla="*/ 1016000 w 3505200"/>
              <a:gd name="connsiteY109" fmla="*/ 7863840 h 8260080"/>
              <a:gd name="connsiteX110" fmla="*/ 1107440 w 3505200"/>
              <a:gd name="connsiteY110" fmla="*/ 7894320 h 8260080"/>
              <a:gd name="connsiteX111" fmla="*/ 1127760 w 3505200"/>
              <a:gd name="connsiteY111" fmla="*/ 7853680 h 8260080"/>
              <a:gd name="connsiteX112" fmla="*/ 1066800 w 3505200"/>
              <a:gd name="connsiteY112" fmla="*/ 7813040 h 8260080"/>
              <a:gd name="connsiteX113" fmla="*/ 1137920 w 3505200"/>
              <a:gd name="connsiteY113" fmla="*/ 7762240 h 8260080"/>
              <a:gd name="connsiteX114" fmla="*/ 1330960 w 3505200"/>
              <a:gd name="connsiteY114" fmla="*/ 7802880 h 8260080"/>
              <a:gd name="connsiteX115" fmla="*/ 1361440 w 3505200"/>
              <a:gd name="connsiteY115" fmla="*/ 7772400 h 8260080"/>
              <a:gd name="connsiteX116" fmla="*/ 1483360 w 3505200"/>
              <a:gd name="connsiteY116" fmla="*/ 7823200 h 8260080"/>
              <a:gd name="connsiteX117" fmla="*/ 1554480 w 3505200"/>
              <a:gd name="connsiteY117" fmla="*/ 7731760 h 8260080"/>
              <a:gd name="connsiteX118" fmla="*/ 1524000 w 3505200"/>
              <a:gd name="connsiteY118" fmla="*/ 7640320 h 8260080"/>
              <a:gd name="connsiteX119" fmla="*/ 1645920 w 3505200"/>
              <a:gd name="connsiteY119" fmla="*/ 7437120 h 8260080"/>
              <a:gd name="connsiteX120" fmla="*/ 1635760 w 3505200"/>
              <a:gd name="connsiteY120" fmla="*/ 7335520 h 8260080"/>
              <a:gd name="connsiteX121" fmla="*/ 1696720 w 3505200"/>
              <a:gd name="connsiteY121" fmla="*/ 7223760 h 8260080"/>
              <a:gd name="connsiteX122" fmla="*/ 1625600 w 3505200"/>
              <a:gd name="connsiteY122" fmla="*/ 7172960 h 8260080"/>
              <a:gd name="connsiteX123" fmla="*/ 1747520 w 3505200"/>
              <a:gd name="connsiteY123" fmla="*/ 6990080 h 8260080"/>
              <a:gd name="connsiteX124" fmla="*/ 1666240 w 3505200"/>
              <a:gd name="connsiteY124" fmla="*/ 6939280 h 8260080"/>
              <a:gd name="connsiteX125" fmla="*/ 1737360 w 3505200"/>
              <a:gd name="connsiteY125" fmla="*/ 6888480 h 8260080"/>
              <a:gd name="connsiteX126" fmla="*/ 1645920 w 3505200"/>
              <a:gd name="connsiteY126" fmla="*/ 6776720 h 8260080"/>
              <a:gd name="connsiteX127" fmla="*/ 1808480 w 3505200"/>
              <a:gd name="connsiteY127" fmla="*/ 6715760 h 8260080"/>
              <a:gd name="connsiteX128" fmla="*/ 1727200 w 3505200"/>
              <a:gd name="connsiteY128" fmla="*/ 6614160 h 8260080"/>
              <a:gd name="connsiteX129" fmla="*/ 1686560 w 3505200"/>
              <a:gd name="connsiteY129" fmla="*/ 6421120 h 8260080"/>
              <a:gd name="connsiteX130" fmla="*/ 1889760 w 3505200"/>
              <a:gd name="connsiteY130" fmla="*/ 6299200 h 8260080"/>
              <a:gd name="connsiteX131" fmla="*/ 1940560 w 3505200"/>
              <a:gd name="connsiteY131" fmla="*/ 6228080 h 8260080"/>
              <a:gd name="connsiteX132" fmla="*/ 2032000 w 3505200"/>
              <a:gd name="connsiteY132" fmla="*/ 6136640 h 8260080"/>
              <a:gd name="connsiteX133" fmla="*/ 2011680 w 3505200"/>
              <a:gd name="connsiteY133" fmla="*/ 6014720 h 8260080"/>
              <a:gd name="connsiteX134" fmla="*/ 2123440 w 3505200"/>
              <a:gd name="connsiteY134" fmla="*/ 6065520 h 8260080"/>
              <a:gd name="connsiteX135" fmla="*/ 2092960 w 3505200"/>
              <a:gd name="connsiteY135" fmla="*/ 6167120 h 8260080"/>
              <a:gd name="connsiteX136" fmla="*/ 2286000 w 3505200"/>
              <a:gd name="connsiteY136" fmla="*/ 5933440 h 8260080"/>
              <a:gd name="connsiteX137" fmla="*/ 2255520 w 3505200"/>
              <a:gd name="connsiteY137" fmla="*/ 5801360 h 8260080"/>
              <a:gd name="connsiteX138" fmla="*/ 2448560 w 3505200"/>
              <a:gd name="connsiteY138" fmla="*/ 5598160 h 8260080"/>
              <a:gd name="connsiteX139" fmla="*/ 2357120 w 3505200"/>
              <a:gd name="connsiteY139" fmla="*/ 5435600 h 8260080"/>
              <a:gd name="connsiteX140" fmla="*/ 2225040 w 3505200"/>
              <a:gd name="connsiteY140" fmla="*/ 5415280 h 8260080"/>
              <a:gd name="connsiteX141" fmla="*/ 2103120 w 3505200"/>
              <a:gd name="connsiteY141" fmla="*/ 5222240 h 8260080"/>
              <a:gd name="connsiteX142" fmla="*/ 2092960 w 3505200"/>
              <a:gd name="connsiteY142" fmla="*/ 5110480 h 8260080"/>
              <a:gd name="connsiteX143" fmla="*/ 2052320 w 3505200"/>
              <a:gd name="connsiteY143" fmla="*/ 5151120 h 8260080"/>
              <a:gd name="connsiteX144" fmla="*/ 2042160 w 3505200"/>
              <a:gd name="connsiteY144" fmla="*/ 5242560 h 8260080"/>
              <a:gd name="connsiteX145" fmla="*/ 1981200 w 3505200"/>
              <a:gd name="connsiteY145" fmla="*/ 5191760 h 8260080"/>
              <a:gd name="connsiteX146" fmla="*/ 2011680 w 3505200"/>
              <a:gd name="connsiteY146" fmla="*/ 5120640 h 8260080"/>
              <a:gd name="connsiteX147" fmla="*/ 1930400 w 3505200"/>
              <a:gd name="connsiteY147" fmla="*/ 5100320 h 8260080"/>
              <a:gd name="connsiteX148" fmla="*/ 1859280 w 3505200"/>
              <a:gd name="connsiteY148" fmla="*/ 4917440 h 8260080"/>
              <a:gd name="connsiteX149" fmla="*/ 1828800 w 3505200"/>
              <a:gd name="connsiteY149" fmla="*/ 4622800 h 8260080"/>
              <a:gd name="connsiteX150" fmla="*/ 1910080 w 3505200"/>
              <a:gd name="connsiteY150" fmla="*/ 4419600 h 8260080"/>
              <a:gd name="connsiteX151" fmla="*/ 1920240 w 3505200"/>
              <a:gd name="connsiteY151" fmla="*/ 4277360 h 8260080"/>
              <a:gd name="connsiteX152" fmla="*/ 1971040 w 3505200"/>
              <a:gd name="connsiteY152" fmla="*/ 4124960 h 8260080"/>
              <a:gd name="connsiteX153" fmla="*/ 1879600 w 3505200"/>
              <a:gd name="connsiteY153" fmla="*/ 4023360 h 8260080"/>
              <a:gd name="connsiteX154" fmla="*/ 2072640 w 3505200"/>
              <a:gd name="connsiteY154" fmla="*/ 4003040 h 8260080"/>
              <a:gd name="connsiteX155" fmla="*/ 2092960 w 3505200"/>
              <a:gd name="connsiteY155" fmla="*/ 3850640 h 8260080"/>
              <a:gd name="connsiteX156" fmla="*/ 2001520 w 3505200"/>
              <a:gd name="connsiteY156" fmla="*/ 3728720 h 8260080"/>
              <a:gd name="connsiteX157" fmla="*/ 2164080 w 3505200"/>
              <a:gd name="connsiteY157" fmla="*/ 3769360 h 8260080"/>
              <a:gd name="connsiteX158" fmla="*/ 2265680 w 3505200"/>
              <a:gd name="connsiteY158" fmla="*/ 3566160 h 8260080"/>
              <a:gd name="connsiteX159" fmla="*/ 2336800 w 3505200"/>
              <a:gd name="connsiteY159" fmla="*/ 3515360 h 8260080"/>
              <a:gd name="connsiteX160" fmla="*/ 2367280 w 3505200"/>
              <a:gd name="connsiteY160" fmla="*/ 3362960 h 8260080"/>
              <a:gd name="connsiteX161" fmla="*/ 2489200 w 3505200"/>
              <a:gd name="connsiteY161" fmla="*/ 3423920 h 8260080"/>
              <a:gd name="connsiteX162" fmla="*/ 2560320 w 3505200"/>
              <a:gd name="connsiteY162" fmla="*/ 3302000 h 8260080"/>
              <a:gd name="connsiteX163" fmla="*/ 2743200 w 3505200"/>
              <a:gd name="connsiteY163" fmla="*/ 3149600 h 8260080"/>
              <a:gd name="connsiteX164" fmla="*/ 2844800 w 3505200"/>
              <a:gd name="connsiteY164" fmla="*/ 3088640 h 8260080"/>
              <a:gd name="connsiteX165" fmla="*/ 2804160 w 3505200"/>
              <a:gd name="connsiteY165" fmla="*/ 2966720 h 8260080"/>
              <a:gd name="connsiteX166" fmla="*/ 2976880 w 3505200"/>
              <a:gd name="connsiteY166" fmla="*/ 2763520 h 8260080"/>
              <a:gd name="connsiteX167" fmla="*/ 2794000 w 3505200"/>
              <a:gd name="connsiteY167" fmla="*/ 2621280 h 8260080"/>
              <a:gd name="connsiteX168" fmla="*/ 2946400 w 3505200"/>
              <a:gd name="connsiteY168" fmla="*/ 2377440 h 8260080"/>
              <a:gd name="connsiteX169" fmla="*/ 2854960 w 3505200"/>
              <a:gd name="connsiteY169" fmla="*/ 2255520 h 8260080"/>
              <a:gd name="connsiteX170" fmla="*/ 3027680 w 3505200"/>
              <a:gd name="connsiteY170" fmla="*/ 2113280 h 8260080"/>
              <a:gd name="connsiteX171" fmla="*/ 3119120 w 3505200"/>
              <a:gd name="connsiteY171" fmla="*/ 2021840 h 8260080"/>
              <a:gd name="connsiteX172" fmla="*/ 3027680 w 3505200"/>
              <a:gd name="connsiteY172" fmla="*/ 1960880 h 8260080"/>
              <a:gd name="connsiteX173" fmla="*/ 3139440 w 3505200"/>
              <a:gd name="connsiteY173" fmla="*/ 1869440 h 8260080"/>
              <a:gd name="connsiteX174" fmla="*/ 3281680 w 3505200"/>
              <a:gd name="connsiteY174" fmla="*/ 1950720 h 8260080"/>
              <a:gd name="connsiteX175" fmla="*/ 3403600 w 3505200"/>
              <a:gd name="connsiteY175" fmla="*/ 1889760 h 8260080"/>
              <a:gd name="connsiteX176" fmla="*/ 3505200 w 3505200"/>
              <a:gd name="connsiteY176" fmla="*/ 1910080 h 8260080"/>
              <a:gd name="connsiteX177" fmla="*/ 3444240 w 3505200"/>
              <a:gd name="connsiteY177" fmla="*/ 1656080 h 8260080"/>
              <a:gd name="connsiteX178" fmla="*/ 3373120 w 3505200"/>
              <a:gd name="connsiteY178" fmla="*/ 1635760 h 8260080"/>
              <a:gd name="connsiteX179" fmla="*/ 3352800 w 3505200"/>
              <a:gd name="connsiteY179" fmla="*/ 1503680 h 8260080"/>
              <a:gd name="connsiteX180" fmla="*/ 3444240 w 3505200"/>
              <a:gd name="connsiteY180" fmla="*/ 1412240 h 8260080"/>
              <a:gd name="connsiteX181" fmla="*/ 3393440 w 3505200"/>
              <a:gd name="connsiteY181" fmla="*/ 1280160 h 8260080"/>
              <a:gd name="connsiteX182" fmla="*/ 3434080 w 3505200"/>
              <a:gd name="connsiteY182" fmla="*/ 1249680 h 8260080"/>
              <a:gd name="connsiteX183" fmla="*/ 3281680 w 3505200"/>
              <a:gd name="connsiteY183" fmla="*/ 1066800 h 8260080"/>
              <a:gd name="connsiteX184" fmla="*/ 3383280 w 3505200"/>
              <a:gd name="connsiteY184" fmla="*/ 975360 h 8260080"/>
              <a:gd name="connsiteX185" fmla="*/ 3302000 w 3505200"/>
              <a:gd name="connsiteY185" fmla="*/ 924560 h 8260080"/>
              <a:gd name="connsiteX186" fmla="*/ 3190240 w 3505200"/>
              <a:gd name="connsiteY186" fmla="*/ 944880 h 8260080"/>
              <a:gd name="connsiteX187" fmla="*/ 3281680 w 3505200"/>
              <a:gd name="connsiteY187" fmla="*/ 792480 h 8260080"/>
              <a:gd name="connsiteX188" fmla="*/ 3210560 w 3505200"/>
              <a:gd name="connsiteY188" fmla="*/ 650240 h 8260080"/>
              <a:gd name="connsiteX189" fmla="*/ 3302000 w 3505200"/>
              <a:gd name="connsiteY189" fmla="*/ 568960 h 8260080"/>
              <a:gd name="connsiteX190" fmla="*/ 3190240 w 3505200"/>
              <a:gd name="connsiteY190" fmla="*/ 487680 h 8260080"/>
              <a:gd name="connsiteX191" fmla="*/ 3108960 w 3505200"/>
              <a:gd name="connsiteY191" fmla="*/ 528320 h 8260080"/>
              <a:gd name="connsiteX192" fmla="*/ 3108960 w 3505200"/>
              <a:gd name="connsiteY192" fmla="*/ 406400 h 8260080"/>
              <a:gd name="connsiteX193" fmla="*/ 2926080 w 3505200"/>
              <a:gd name="connsiteY193" fmla="*/ 314960 h 8260080"/>
              <a:gd name="connsiteX194" fmla="*/ 2834640 w 3505200"/>
              <a:gd name="connsiteY194" fmla="*/ 355600 h 8260080"/>
              <a:gd name="connsiteX195" fmla="*/ 2682240 w 3505200"/>
              <a:gd name="connsiteY195" fmla="*/ 111760 h 8260080"/>
              <a:gd name="connsiteX196" fmla="*/ 2590800 w 3505200"/>
              <a:gd name="connsiteY196" fmla="*/ 121920 h 8260080"/>
              <a:gd name="connsiteX197" fmla="*/ 2611120 w 3505200"/>
              <a:gd name="connsiteY197" fmla="*/ 0 h 8260080"/>
              <a:gd name="connsiteX198" fmla="*/ 2438400 w 3505200"/>
              <a:gd name="connsiteY198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50106 w 3505200"/>
              <a:gd name="connsiteY79" fmla="*/ 7088634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50106 w 3505200"/>
              <a:gd name="connsiteY79" fmla="*/ 7088634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50106 w 3505200"/>
              <a:gd name="connsiteY79" fmla="*/ 7088634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099 w 3505200"/>
              <a:gd name="connsiteY78" fmla="*/ 7045771 h 8260080"/>
              <a:gd name="connsiteX79" fmla="*/ 247725 w 3505200"/>
              <a:gd name="connsiteY79" fmla="*/ 7088634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7242 w 3505200"/>
              <a:gd name="connsiteY78" fmla="*/ 7055296 h 8260080"/>
              <a:gd name="connsiteX79" fmla="*/ 247725 w 3505200"/>
              <a:gd name="connsiteY79" fmla="*/ 7088634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7242 w 3505200"/>
              <a:gd name="connsiteY78" fmla="*/ 7055296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7242 w 3505200"/>
              <a:gd name="connsiteY78" fmla="*/ 7055296 h 8260080"/>
              <a:gd name="connsiteX79" fmla="*/ 240581 w 3505200"/>
              <a:gd name="connsiteY79" fmla="*/ 6983859 h 8260080"/>
              <a:gd name="connsiteX80" fmla="*/ 240582 w 3505200"/>
              <a:gd name="connsiteY80" fmla="*/ 7079109 h 8260080"/>
              <a:gd name="connsiteX81" fmla="*/ 280829 w 3505200"/>
              <a:gd name="connsiteY81" fmla="*/ 7148354 h 8260080"/>
              <a:gd name="connsiteX82" fmla="*/ 242962 w 3505200"/>
              <a:gd name="connsiteY82" fmla="*/ 7226746 h 8260080"/>
              <a:gd name="connsiteX83" fmla="*/ 282892 w 3505200"/>
              <a:gd name="connsiteY83" fmla="*/ 7300436 h 8260080"/>
              <a:gd name="connsiteX84" fmla="*/ 310833 w 3505200"/>
              <a:gd name="connsiteY84" fmla="*/ 7299484 h 8260080"/>
              <a:gd name="connsiteX85" fmla="*/ 319162 w 3505200"/>
              <a:gd name="connsiteY85" fmla="*/ 7310089 h 8260080"/>
              <a:gd name="connsiteX86" fmla="*/ 337026 w 3505200"/>
              <a:gd name="connsiteY86" fmla="*/ 7316154 h 8260080"/>
              <a:gd name="connsiteX87" fmla="*/ 370364 w 3505200"/>
              <a:gd name="connsiteY87" fmla="*/ 7360602 h 8260080"/>
              <a:gd name="connsiteX88" fmla="*/ 447040 w 3505200"/>
              <a:gd name="connsiteY88" fmla="*/ 7366000 h 8260080"/>
              <a:gd name="connsiteX89" fmla="*/ 447040 w 3505200"/>
              <a:gd name="connsiteY89" fmla="*/ 7477760 h 8260080"/>
              <a:gd name="connsiteX90" fmla="*/ 558800 w 3505200"/>
              <a:gd name="connsiteY90" fmla="*/ 7528560 h 8260080"/>
              <a:gd name="connsiteX91" fmla="*/ 508000 w 3505200"/>
              <a:gd name="connsiteY91" fmla="*/ 7630160 h 8260080"/>
              <a:gd name="connsiteX92" fmla="*/ 436880 w 3505200"/>
              <a:gd name="connsiteY92" fmla="*/ 7609840 h 8260080"/>
              <a:gd name="connsiteX93" fmla="*/ 447040 w 3505200"/>
              <a:gd name="connsiteY93" fmla="*/ 7691120 h 8260080"/>
              <a:gd name="connsiteX94" fmla="*/ 518160 w 3505200"/>
              <a:gd name="connsiteY94" fmla="*/ 7741920 h 8260080"/>
              <a:gd name="connsiteX95" fmla="*/ 457200 w 3505200"/>
              <a:gd name="connsiteY95" fmla="*/ 7792720 h 8260080"/>
              <a:gd name="connsiteX96" fmla="*/ 396240 w 3505200"/>
              <a:gd name="connsiteY96" fmla="*/ 7701280 h 8260080"/>
              <a:gd name="connsiteX97" fmla="*/ 396240 w 3505200"/>
              <a:gd name="connsiteY97" fmla="*/ 7701280 h 8260080"/>
              <a:gd name="connsiteX98" fmla="*/ 436880 w 3505200"/>
              <a:gd name="connsiteY98" fmla="*/ 7874000 h 8260080"/>
              <a:gd name="connsiteX99" fmla="*/ 436880 w 3505200"/>
              <a:gd name="connsiteY99" fmla="*/ 7924800 h 8260080"/>
              <a:gd name="connsiteX100" fmla="*/ 548640 w 3505200"/>
              <a:gd name="connsiteY100" fmla="*/ 7965440 h 8260080"/>
              <a:gd name="connsiteX101" fmla="*/ 508000 w 3505200"/>
              <a:gd name="connsiteY101" fmla="*/ 8016240 h 8260080"/>
              <a:gd name="connsiteX102" fmla="*/ 589280 w 3505200"/>
              <a:gd name="connsiteY102" fmla="*/ 8056880 h 8260080"/>
              <a:gd name="connsiteX103" fmla="*/ 497840 w 3505200"/>
              <a:gd name="connsiteY103" fmla="*/ 8117840 h 8260080"/>
              <a:gd name="connsiteX104" fmla="*/ 518160 w 3505200"/>
              <a:gd name="connsiteY104" fmla="*/ 8209280 h 8260080"/>
              <a:gd name="connsiteX105" fmla="*/ 640080 w 3505200"/>
              <a:gd name="connsiteY105" fmla="*/ 8260080 h 8260080"/>
              <a:gd name="connsiteX106" fmla="*/ 731520 w 3505200"/>
              <a:gd name="connsiteY106" fmla="*/ 8219440 h 8260080"/>
              <a:gd name="connsiteX107" fmla="*/ 853440 w 3505200"/>
              <a:gd name="connsiteY107" fmla="*/ 8209280 h 8260080"/>
              <a:gd name="connsiteX108" fmla="*/ 955040 w 3505200"/>
              <a:gd name="connsiteY108" fmla="*/ 8260080 h 8260080"/>
              <a:gd name="connsiteX109" fmla="*/ 965200 w 3505200"/>
              <a:gd name="connsiteY109" fmla="*/ 8107680 h 8260080"/>
              <a:gd name="connsiteX110" fmla="*/ 894080 w 3505200"/>
              <a:gd name="connsiteY110" fmla="*/ 8026400 h 8260080"/>
              <a:gd name="connsiteX111" fmla="*/ 1016000 w 3505200"/>
              <a:gd name="connsiteY111" fmla="*/ 7863840 h 8260080"/>
              <a:gd name="connsiteX112" fmla="*/ 1107440 w 3505200"/>
              <a:gd name="connsiteY112" fmla="*/ 7894320 h 8260080"/>
              <a:gd name="connsiteX113" fmla="*/ 1127760 w 3505200"/>
              <a:gd name="connsiteY113" fmla="*/ 7853680 h 8260080"/>
              <a:gd name="connsiteX114" fmla="*/ 1066800 w 3505200"/>
              <a:gd name="connsiteY114" fmla="*/ 7813040 h 8260080"/>
              <a:gd name="connsiteX115" fmla="*/ 1137920 w 3505200"/>
              <a:gd name="connsiteY115" fmla="*/ 7762240 h 8260080"/>
              <a:gd name="connsiteX116" fmla="*/ 1330960 w 3505200"/>
              <a:gd name="connsiteY116" fmla="*/ 7802880 h 8260080"/>
              <a:gd name="connsiteX117" fmla="*/ 1361440 w 3505200"/>
              <a:gd name="connsiteY117" fmla="*/ 7772400 h 8260080"/>
              <a:gd name="connsiteX118" fmla="*/ 1483360 w 3505200"/>
              <a:gd name="connsiteY118" fmla="*/ 7823200 h 8260080"/>
              <a:gd name="connsiteX119" fmla="*/ 1554480 w 3505200"/>
              <a:gd name="connsiteY119" fmla="*/ 7731760 h 8260080"/>
              <a:gd name="connsiteX120" fmla="*/ 1524000 w 3505200"/>
              <a:gd name="connsiteY120" fmla="*/ 7640320 h 8260080"/>
              <a:gd name="connsiteX121" fmla="*/ 1645920 w 3505200"/>
              <a:gd name="connsiteY121" fmla="*/ 7437120 h 8260080"/>
              <a:gd name="connsiteX122" fmla="*/ 1635760 w 3505200"/>
              <a:gd name="connsiteY122" fmla="*/ 7335520 h 8260080"/>
              <a:gd name="connsiteX123" fmla="*/ 1696720 w 3505200"/>
              <a:gd name="connsiteY123" fmla="*/ 7223760 h 8260080"/>
              <a:gd name="connsiteX124" fmla="*/ 1625600 w 3505200"/>
              <a:gd name="connsiteY124" fmla="*/ 7172960 h 8260080"/>
              <a:gd name="connsiteX125" fmla="*/ 1747520 w 3505200"/>
              <a:gd name="connsiteY125" fmla="*/ 6990080 h 8260080"/>
              <a:gd name="connsiteX126" fmla="*/ 1666240 w 3505200"/>
              <a:gd name="connsiteY126" fmla="*/ 6939280 h 8260080"/>
              <a:gd name="connsiteX127" fmla="*/ 1737360 w 3505200"/>
              <a:gd name="connsiteY127" fmla="*/ 6888480 h 8260080"/>
              <a:gd name="connsiteX128" fmla="*/ 1645920 w 3505200"/>
              <a:gd name="connsiteY128" fmla="*/ 6776720 h 8260080"/>
              <a:gd name="connsiteX129" fmla="*/ 1808480 w 3505200"/>
              <a:gd name="connsiteY129" fmla="*/ 6715760 h 8260080"/>
              <a:gd name="connsiteX130" fmla="*/ 1727200 w 3505200"/>
              <a:gd name="connsiteY130" fmla="*/ 6614160 h 8260080"/>
              <a:gd name="connsiteX131" fmla="*/ 1686560 w 3505200"/>
              <a:gd name="connsiteY131" fmla="*/ 6421120 h 8260080"/>
              <a:gd name="connsiteX132" fmla="*/ 1889760 w 3505200"/>
              <a:gd name="connsiteY132" fmla="*/ 6299200 h 8260080"/>
              <a:gd name="connsiteX133" fmla="*/ 1940560 w 3505200"/>
              <a:gd name="connsiteY133" fmla="*/ 6228080 h 8260080"/>
              <a:gd name="connsiteX134" fmla="*/ 2032000 w 3505200"/>
              <a:gd name="connsiteY134" fmla="*/ 6136640 h 8260080"/>
              <a:gd name="connsiteX135" fmla="*/ 2011680 w 3505200"/>
              <a:gd name="connsiteY135" fmla="*/ 6014720 h 8260080"/>
              <a:gd name="connsiteX136" fmla="*/ 2123440 w 3505200"/>
              <a:gd name="connsiteY136" fmla="*/ 6065520 h 8260080"/>
              <a:gd name="connsiteX137" fmla="*/ 2092960 w 3505200"/>
              <a:gd name="connsiteY137" fmla="*/ 6167120 h 8260080"/>
              <a:gd name="connsiteX138" fmla="*/ 2286000 w 3505200"/>
              <a:gd name="connsiteY138" fmla="*/ 5933440 h 8260080"/>
              <a:gd name="connsiteX139" fmla="*/ 2255520 w 3505200"/>
              <a:gd name="connsiteY139" fmla="*/ 5801360 h 8260080"/>
              <a:gd name="connsiteX140" fmla="*/ 2448560 w 3505200"/>
              <a:gd name="connsiteY140" fmla="*/ 5598160 h 8260080"/>
              <a:gd name="connsiteX141" fmla="*/ 2357120 w 3505200"/>
              <a:gd name="connsiteY141" fmla="*/ 5435600 h 8260080"/>
              <a:gd name="connsiteX142" fmla="*/ 2225040 w 3505200"/>
              <a:gd name="connsiteY142" fmla="*/ 5415280 h 8260080"/>
              <a:gd name="connsiteX143" fmla="*/ 2103120 w 3505200"/>
              <a:gd name="connsiteY143" fmla="*/ 5222240 h 8260080"/>
              <a:gd name="connsiteX144" fmla="*/ 2092960 w 3505200"/>
              <a:gd name="connsiteY144" fmla="*/ 5110480 h 8260080"/>
              <a:gd name="connsiteX145" fmla="*/ 2052320 w 3505200"/>
              <a:gd name="connsiteY145" fmla="*/ 5151120 h 8260080"/>
              <a:gd name="connsiteX146" fmla="*/ 2042160 w 3505200"/>
              <a:gd name="connsiteY146" fmla="*/ 5242560 h 8260080"/>
              <a:gd name="connsiteX147" fmla="*/ 1981200 w 3505200"/>
              <a:gd name="connsiteY147" fmla="*/ 5191760 h 8260080"/>
              <a:gd name="connsiteX148" fmla="*/ 2011680 w 3505200"/>
              <a:gd name="connsiteY148" fmla="*/ 5120640 h 8260080"/>
              <a:gd name="connsiteX149" fmla="*/ 1930400 w 3505200"/>
              <a:gd name="connsiteY149" fmla="*/ 5100320 h 8260080"/>
              <a:gd name="connsiteX150" fmla="*/ 1859280 w 3505200"/>
              <a:gd name="connsiteY150" fmla="*/ 4917440 h 8260080"/>
              <a:gd name="connsiteX151" fmla="*/ 1828800 w 3505200"/>
              <a:gd name="connsiteY151" fmla="*/ 4622800 h 8260080"/>
              <a:gd name="connsiteX152" fmla="*/ 1910080 w 3505200"/>
              <a:gd name="connsiteY152" fmla="*/ 4419600 h 8260080"/>
              <a:gd name="connsiteX153" fmla="*/ 1920240 w 3505200"/>
              <a:gd name="connsiteY153" fmla="*/ 4277360 h 8260080"/>
              <a:gd name="connsiteX154" fmla="*/ 1971040 w 3505200"/>
              <a:gd name="connsiteY154" fmla="*/ 4124960 h 8260080"/>
              <a:gd name="connsiteX155" fmla="*/ 1879600 w 3505200"/>
              <a:gd name="connsiteY155" fmla="*/ 4023360 h 8260080"/>
              <a:gd name="connsiteX156" fmla="*/ 2072640 w 3505200"/>
              <a:gd name="connsiteY156" fmla="*/ 4003040 h 8260080"/>
              <a:gd name="connsiteX157" fmla="*/ 2092960 w 3505200"/>
              <a:gd name="connsiteY157" fmla="*/ 3850640 h 8260080"/>
              <a:gd name="connsiteX158" fmla="*/ 2001520 w 3505200"/>
              <a:gd name="connsiteY158" fmla="*/ 3728720 h 8260080"/>
              <a:gd name="connsiteX159" fmla="*/ 2164080 w 3505200"/>
              <a:gd name="connsiteY159" fmla="*/ 3769360 h 8260080"/>
              <a:gd name="connsiteX160" fmla="*/ 2265680 w 3505200"/>
              <a:gd name="connsiteY160" fmla="*/ 3566160 h 8260080"/>
              <a:gd name="connsiteX161" fmla="*/ 2336800 w 3505200"/>
              <a:gd name="connsiteY161" fmla="*/ 3515360 h 8260080"/>
              <a:gd name="connsiteX162" fmla="*/ 2367280 w 3505200"/>
              <a:gd name="connsiteY162" fmla="*/ 3362960 h 8260080"/>
              <a:gd name="connsiteX163" fmla="*/ 2489200 w 3505200"/>
              <a:gd name="connsiteY163" fmla="*/ 3423920 h 8260080"/>
              <a:gd name="connsiteX164" fmla="*/ 2560320 w 3505200"/>
              <a:gd name="connsiteY164" fmla="*/ 3302000 h 8260080"/>
              <a:gd name="connsiteX165" fmla="*/ 2743200 w 3505200"/>
              <a:gd name="connsiteY165" fmla="*/ 3149600 h 8260080"/>
              <a:gd name="connsiteX166" fmla="*/ 2844800 w 3505200"/>
              <a:gd name="connsiteY166" fmla="*/ 3088640 h 8260080"/>
              <a:gd name="connsiteX167" fmla="*/ 2804160 w 3505200"/>
              <a:gd name="connsiteY167" fmla="*/ 2966720 h 8260080"/>
              <a:gd name="connsiteX168" fmla="*/ 2976880 w 3505200"/>
              <a:gd name="connsiteY168" fmla="*/ 2763520 h 8260080"/>
              <a:gd name="connsiteX169" fmla="*/ 2794000 w 3505200"/>
              <a:gd name="connsiteY169" fmla="*/ 2621280 h 8260080"/>
              <a:gd name="connsiteX170" fmla="*/ 2946400 w 3505200"/>
              <a:gd name="connsiteY170" fmla="*/ 2377440 h 8260080"/>
              <a:gd name="connsiteX171" fmla="*/ 2854960 w 3505200"/>
              <a:gd name="connsiteY171" fmla="*/ 2255520 h 8260080"/>
              <a:gd name="connsiteX172" fmla="*/ 3027680 w 3505200"/>
              <a:gd name="connsiteY172" fmla="*/ 2113280 h 8260080"/>
              <a:gd name="connsiteX173" fmla="*/ 3119120 w 3505200"/>
              <a:gd name="connsiteY173" fmla="*/ 2021840 h 8260080"/>
              <a:gd name="connsiteX174" fmla="*/ 3027680 w 3505200"/>
              <a:gd name="connsiteY174" fmla="*/ 1960880 h 8260080"/>
              <a:gd name="connsiteX175" fmla="*/ 3139440 w 3505200"/>
              <a:gd name="connsiteY175" fmla="*/ 1869440 h 8260080"/>
              <a:gd name="connsiteX176" fmla="*/ 3281680 w 3505200"/>
              <a:gd name="connsiteY176" fmla="*/ 1950720 h 8260080"/>
              <a:gd name="connsiteX177" fmla="*/ 3403600 w 3505200"/>
              <a:gd name="connsiteY177" fmla="*/ 1889760 h 8260080"/>
              <a:gd name="connsiteX178" fmla="*/ 3505200 w 3505200"/>
              <a:gd name="connsiteY178" fmla="*/ 1910080 h 8260080"/>
              <a:gd name="connsiteX179" fmla="*/ 3444240 w 3505200"/>
              <a:gd name="connsiteY179" fmla="*/ 1656080 h 8260080"/>
              <a:gd name="connsiteX180" fmla="*/ 3373120 w 3505200"/>
              <a:gd name="connsiteY180" fmla="*/ 1635760 h 8260080"/>
              <a:gd name="connsiteX181" fmla="*/ 3352800 w 3505200"/>
              <a:gd name="connsiteY181" fmla="*/ 1503680 h 8260080"/>
              <a:gd name="connsiteX182" fmla="*/ 3444240 w 3505200"/>
              <a:gd name="connsiteY182" fmla="*/ 1412240 h 8260080"/>
              <a:gd name="connsiteX183" fmla="*/ 3393440 w 3505200"/>
              <a:gd name="connsiteY183" fmla="*/ 1280160 h 8260080"/>
              <a:gd name="connsiteX184" fmla="*/ 3434080 w 3505200"/>
              <a:gd name="connsiteY184" fmla="*/ 1249680 h 8260080"/>
              <a:gd name="connsiteX185" fmla="*/ 3281680 w 3505200"/>
              <a:gd name="connsiteY185" fmla="*/ 1066800 h 8260080"/>
              <a:gd name="connsiteX186" fmla="*/ 3383280 w 3505200"/>
              <a:gd name="connsiteY186" fmla="*/ 975360 h 8260080"/>
              <a:gd name="connsiteX187" fmla="*/ 3302000 w 3505200"/>
              <a:gd name="connsiteY187" fmla="*/ 924560 h 8260080"/>
              <a:gd name="connsiteX188" fmla="*/ 3190240 w 3505200"/>
              <a:gd name="connsiteY188" fmla="*/ 944880 h 8260080"/>
              <a:gd name="connsiteX189" fmla="*/ 3281680 w 3505200"/>
              <a:gd name="connsiteY189" fmla="*/ 792480 h 8260080"/>
              <a:gd name="connsiteX190" fmla="*/ 3210560 w 3505200"/>
              <a:gd name="connsiteY190" fmla="*/ 650240 h 8260080"/>
              <a:gd name="connsiteX191" fmla="*/ 3302000 w 3505200"/>
              <a:gd name="connsiteY191" fmla="*/ 568960 h 8260080"/>
              <a:gd name="connsiteX192" fmla="*/ 3190240 w 3505200"/>
              <a:gd name="connsiteY192" fmla="*/ 487680 h 8260080"/>
              <a:gd name="connsiteX193" fmla="*/ 3108960 w 3505200"/>
              <a:gd name="connsiteY193" fmla="*/ 528320 h 8260080"/>
              <a:gd name="connsiteX194" fmla="*/ 3108960 w 3505200"/>
              <a:gd name="connsiteY194" fmla="*/ 406400 h 8260080"/>
              <a:gd name="connsiteX195" fmla="*/ 2926080 w 3505200"/>
              <a:gd name="connsiteY195" fmla="*/ 314960 h 8260080"/>
              <a:gd name="connsiteX196" fmla="*/ 2834640 w 3505200"/>
              <a:gd name="connsiteY196" fmla="*/ 355600 h 8260080"/>
              <a:gd name="connsiteX197" fmla="*/ 2682240 w 3505200"/>
              <a:gd name="connsiteY197" fmla="*/ 111760 h 8260080"/>
              <a:gd name="connsiteX198" fmla="*/ 2590800 w 3505200"/>
              <a:gd name="connsiteY198" fmla="*/ 121920 h 8260080"/>
              <a:gd name="connsiteX199" fmla="*/ 2611120 w 3505200"/>
              <a:gd name="connsiteY199" fmla="*/ 0 h 8260080"/>
              <a:gd name="connsiteX200" fmla="*/ 2438400 w 3505200"/>
              <a:gd name="connsiteY20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7242 w 3505200"/>
              <a:gd name="connsiteY78" fmla="*/ 7055296 h 8260080"/>
              <a:gd name="connsiteX79" fmla="*/ 240581 w 3505200"/>
              <a:gd name="connsiteY79" fmla="*/ 6983859 h 8260080"/>
              <a:gd name="connsiteX80" fmla="*/ 247724 w 3505200"/>
              <a:gd name="connsiteY80" fmla="*/ 7031484 h 8260080"/>
              <a:gd name="connsiteX81" fmla="*/ 240582 w 3505200"/>
              <a:gd name="connsiteY81" fmla="*/ 7079109 h 8260080"/>
              <a:gd name="connsiteX82" fmla="*/ 280829 w 3505200"/>
              <a:gd name="connsiteY82" fmla="*/ 7148354 h 8260080"/>
              <a:gd name="connsiteX83" fmla="*/ 242962 w 3505200"/>
              <a:gd name="connsiteY83" fmla="*/ 7226746 h 8260080"/>
              <a:gd name="connsiteX84" fmla="*/ 282892 w 3505200"/>
              <a:gd name="connsiteY84" fmla="*/ 7300436 h 8260080"/>
              <a:gd name="connsiteX85" fmla="*/ 310833 w 3505200"/>
              <a:gd name="connsiteY85" fmla="*/ 7299484 h 8260080"/>
              <a:gd name="connsiteX86" fmla="*/ 319162 w 3505200"/>
              <a:gd name="connsiteY86" fmla="*/ 7310089 h 8260080"/>
              <a:gd name="connsiteX87" fmla="*/ 337026 w 3505200"/>
              <a:gd name="connsiteY87" fmla="*/ 7316154 h 8260080"/>
              <a:gd name="connsiteX88" fmla="*/ 370364 w 3505200"/>
              <a:gd name="connsiteY88" fmla="*/ 7360602 h 8260080"/>
              <a:gd name="connsiteX89" fmla="*/ 447040 w 3505200"/>
              <a:gd name="connsiteY89" fmla="*/ 7366000 h 8260080"/>
              <a:gd name="connsiteX90" fmla="*/ 447040 w 3505200"/>
              <a:gd name="connsiteY90" fmla="*/ 7477760 h 8260080"/>
              <a:gd name="connsiteX91" fmla="*/ 558800 w 3505200"/>
              <a:gd name="connsiteY91" fmla="*/ 7528560 h 8260080"/>
              <a:gd name="connsiteX92" fmla="*/ 508000 w 3505200"/>
              <a:gd name="connsiteY92" fmla="*/ 7630160 h 8260080"/>
              <a:gd name="connsiteX93" fmla="*/ 436880 w 3505200"/>
              <a:gd name="connsiteY93" fmla="*/ 7609840 h 8260080"/>
              <a:gd name="connsiteX94" fmla="*/ 447040 w 3505200"/>
              <a:gd name="connsiteY94" fmla="*/ 7691120 h 8260080"/>
              <a:gd name="connsiteX95" fmla="*/ 518160 w 3505200"/>
              <a:gd name="connsiteY95" fmla="*/ 7741920 h 8260080"/>
              <a:gd name="connsiteX96" fmla="*/ 457200 w 3505200"/>
              <a:gd name="connsiteY96" fmla="*/ 7792720 h 8260080"/>
              <a:gd name="connsiteX97" fmla="*/ 396240 w 3505200"/>
              <a:gd name="connsiteY97" fmla="*/ 7701280 h 8260080"/>
              <a:gd name="connsiteX98" fmla="*/ 396240 w 3505200"/>
              <a:gd name="connsiteY98" fmla="*/ 7701280 h 8260080"/>
              <a:gd name="connsiteX99" fmla="*/ 436880 w 3505200"/>
              <a:gd name="connsiteY99" fmla="*/ 7874000 h 8260080"/>
              <a:gd name="connsiteX100" fmla="*/ 436880 w 3505200"/>
              <a:gd name="connsiteY100" fmla="*/ 7924800 h 8260080"/>
              <a:gd name="connsiteX101" fmla="*/ 548640 w 3505200"/>
              <a:gd name="connsiteY101" fmla="*/ 7965440 h 8260080"/>
              <a:gd name="connsiteX102" fmla="*/ 508000 w 3505200"/>
              <a:gd name="connsiteY102" fmla="*/ 8016240 h 8260080"/>
              <a:gd name="connsiteX103" fmla="*/ 589280 w 3505200"/>
              <a:gd name="connsiteY103" fmla="*/ 8056880 h 8260080"/>
              <a:gd name="connsiteX104" fmla="*/ 497840 w 3505200"/>
              <a:gd name="connsiteY104" fmla="*/ 8117840 h 8260080"/>
              <a:gd name="connsiteX105" fmla="*/ 518160 w 3505200"/>
              <a:gd name="connsiteY105" fmla="*/ 8209280 h 8260080"/>
              <a:gd name="connsiteX106" fmla="*/ 640080 w 3505200"/>
              <a:gd name="connsiteY106" fmla="*/ 8260080 h 8260080"/>
              <a:gd name="connsiteX107" fmla="*/ 731520 w 3505200"/>
              <a:gd name="connsiteY107" fmla="*/ 8219440 h 8260080"/>
              <a:gd name="connsiteX108" fmla="*/ 853440 w 3505200"/>
              <a:gd name="connsiteY108" fmla="*/ 8209280 h 8260080"/>
              <a:gd name="connsiteX109" fmla="*/ 955040 w 3505200"/>
              <a:gd name="connsiteY109" fmla="*/ 8260080 h 8260080"/>
              <a:gd name="connsiteX110" fmla="*/ 965200 w 3505200"/>
              <a:gd name="connsiteY110" fmla="*/ 8107680 h 8260080"/>
              <a:gd name="connsiteX111" fmla="*/ 894080 w 3505200"/>
              <a:gd name="connsiteY111" fmla="*/ 8026400 h 8260080"/>
              <a:gd name="connsiteX112" fmla="*/ 1016000 w 3505200"/>
              <a:gd name="connsiteY112" fmla="*/ 7863840 h 8260080"/>
              <a:gd name="connsiteX113" fmla="*/ 1107440 w 3505200"/>
              <a:gd name="connsiteY113" fmla="*/ 7894320 h 8260080"/>
              <a:gd name="connsiteX114" fmla="*/ 1127760 w 3505200"/>
              <a:gd name="connsiteY114" fmla="*/ 7853680 h 8260080"/>
              <a:gd name="connsiteX115" fmla="*/ 1066800 w 3505200"/>
              <a:gd name="connsiteY115" fmla="*/ 7813040 h 8260080"/>
              <a:gd name="connsiteX116" fmla="*/ 1137920 w 3505200"/>
              <a:gd name="connsiteY116" fmla="*/ 7762240 h 8260080"/>
              <a:gd name="connsiteX117" fmla="*/ 1330960 w 3505200"/>
              <a:gd name="connsiteY117" fmla="*/ 7802880 h 8260080"/>
              <a:gd name="connsiteX118" fmla="*/ 1361440 w 3505200"/>
              <a:gd name="connsiteY118" fmla="*/ 7772400 h 8260080"/>
              <a:gd name="connsiteX119" fmla="*/ 1483360 w 3505200"/>
              <a:gd name="connsiteY119" fmla="*/ 7823200 h 8260080"/>
              <a:gd name="connsiteX120" fmla="*/ 1554480 w 3505200"/>
              <a:gd name="connsiteY120" fmla="*/ 7731760 h 8260080"/>
              <a:gd name="connsiteX121" fmla="*/ 1524000 w 3505200"/>
              <a:gd name="connsiteY121" fmla="*/ 7640320 h 8260080"/>
              <a:gd name="connsiteX122" fmla="*/ 1645920 w 3505200"/>
              <a:gd name="connsiteY122" fmla="*/ 7437120 h 8260080"/>
              <a:gd name="connsiteX123" fmla="*/ 1635760 w 3505200"/>
              <a:gd name="connsiteY123" fmla="*/ 7335520 h 8260080"/>
              <a:gd name="connsiteX124" fmla="*/ 1696720 w 3505200"/>
              <a:gd name="connsiteY124" fmla="*/ 7223760 h 8260080"/>
              <a:gd name="connsiteX125" fmla="*/ 1625600 w 3505200"/>
              <a:gd name="connsiteY125" fmla="*/ 7172960 h 8260080"/>
              <a:gd name="connsiteX126" fmla="*/ 1747520 w 3505200"/>
              <a:gd name="connsiteY126" fmla="*/ 6990080 h 8260080"/>
              <a:gd name="connsiteX127" fmla="*/ 1666240 w 3505200"/>
              <a:gd name="connsiteY127" fmla="*/ 6939280 h 8260080"/>
              <a:gd name="connsiteX128" fmla="*/ 1737360 w 3505200"/>
              <a:gd name="connsiteY128" fmla="*/ 6888480 h 8260080"/>
              <a:gd name="connsiteX129" fmla="*/ 1645920 w 3505200"/>
              <a:gd name="connsiteY129" fmla="*/ 6776720 h 8260080"/>
              <a:gd name="connsiteX130" fmla="*/ 1808480 w 3505200"/>
              <a:gd name="connsiteY130" fmla="*/ 6715760 h 8260080"/>
              <a:gd name="connsiteX131" fmla="*/ 1727200 w 3505200"/>
              <a:gd name="connsiteY131" fmla="*/ 6614160 h 8260080"/>
              <a:gd name="connsiteX132" fmla="*/ 1686560 w 3505200"/>
              <a:gd name="connsiteY132" fmla="*/ 6421120 h 8260080"/>
              <a:gd name="connsiteX133" fmla="*/ 1889760 w 3505200"/>
              <a:gd name="connsiteY133" fmla="*/ 6299200 h 8260080"/>
              <a:gd name="connsiteX134" fmla="*/ 1940560 w 3505200"/>
              <a:gd name="connsiteY134" fmla="*/ 6228080 h 8260080"/>
              <a:gd name="connsiteX135" fmla="*/ 2032000 w 3505200"/>
              <a:gd name="connsiteY135" fmla="*/ 6136640 h 8260080"/>
              <a:gd name="connsiteX136" fmla="*/ 2011680 w 3505200"/>
              <a:gd name="connsiteY136" fmla="*/ 6014720 h 8260080"/>
              <a:gd name="connsiteX137" fmla="*/ 2123440 w 3505200"/>
              <a:gd name="connsiteY137" fmla="*/ 6065520 h 8260080"/>
              <a:gd name="connsiteX138" fmla="*/ 2092960 w 3505200"/>
              <a:gd name="connsiteY138" fmla="*/ 6167120 h 8260080"/>
              <a:gd name="connsiteX139" fmla="*/ 2286000 w 3505200"/>
              <a:gd name="connsiteY139" fmla="*/ 5933440 h 8260080"/>
              <a:gd name="connsiteX140" fmla="*/ 2255520 w 3505200"/>
              <a:gd name="connsiteY140" fmla="*/ 5801360 h 8260080"/>
              <a:gd name="connsiteX141" fmla="*/ 2448560 w 3505200"/>
              <a:gd name="connsiteY141" fmla="*/ 5598160 h 8260080"/>
              <a:gd name="connsiteX142" fmla="*/ 2357120 w 3505200"/>
              <a:gd name="connsiteY142" fmla="*/ 5435600 h 8260080"/>
              <a:gd name="connsiteX143" fmla="*/ 2225040 w 3505200"/>
              <a:gd name="connsiteY143" fmla="*/ 5415280 h 8260080"/>
              <a:gd name="connsiteX144" fmla="*/ 2103120 w 3505200"/>
              <a:gd name="connsiteY144" fmla="*/ 5222240 h 8260080"/>
              <a:gd name="connsiteX145" fmla="*/ 2092960 w 3505200"/>
              <a:gd name="connsiteY145" fmla="*/ 5110480 h 8260080"/>
              <a:gd name="connsiteX146" fmla="*/ 2052320 w 3505200"/>
              <a:gd name="connsiteY146" fmla="*/ 5151120 h 8260080"/>
              <a:gd name="connsiteX147" fmla="*/ 2042160 w 3505200"/>
              <a:gd name="connsiteY147" fmla="*/ 5242560 h 8260080"/>
              <a:gd name="connsiteX148" fmla="*/ 1981200 w 3505200"/>
              <a:gd name="connsiteY148" fmla="*/ 5191760 h 8260080"/>
              <a:gd name="connsiteX149" fmla="*/ 2011680 w 3505200"/>
              <a:gd name="connsiteY149" fmla="*/ 5120640 h 8260080"/>
              <a:gd name="connsiteX150" fmla="*/ 1930400 w 3505200"/>
              <a:gd name="connsiteY150" fmla="*/ 5100320 h 8260080"/>
              <a:gd name="connsiteX151" fmla="*/ 1859280 w 3505200"/>
              <a:gd name="connsiteY151" fmla="*/ 4917440 h 8260080"/>
              <a:gd name="connsiteX152" fmla="*/ 1828800 w 3505200"/>
              <a:gd name="connsiteY152" fmla="*/ 4622800 h 8260080"/>
              <a:gd name="connsiteX153" fmla="*/ 1910080 w 3505200"/>
              <a:gd name="connsiteY153" fmla="*/ 4419600 h 8260080"/>
              <a:gd name="connsiteX154" fmla="*/ 1920240 w 3505200"/>
              <a:gd name="connsiteY154" fmla="*/ 4277360 h 8260080"/>
              <a:gd name="connsiteX155" fmla="*/ 1971040 w 3505200"/>
              <a:gd name="connsiteY155" fmla="*/ 4124960 h 8260080"/>
              <a:gd name="connsiteX156" fmla="*/ 1879600 w 3505200"/>
              <a:gd name="connsiteY156" fmla="*/ 4023360 h 8260080"/>
              <a:gd name="connsiteX157" fmla="*/ 2072640 w 3505200"/>
              <a:gd name="connsiteY157" fmla="*/ 4003040 h 8260080"/>
              <a:gd name="connsiteX158" fmla="*/ 2092960 w 3505200"/>
              <a:gd name="connsiteY158" fmla="*/ 3850640 h 8260080"/>
              <a:gd name="connsiteX159" fmla="*/ 2001520 w 3505200"/>
              <a:gd name="connsiteY159" fmla="*/ 3728720 h 8260080"/>
              <a:gd name="connsiteX160" fmla="*/ 2164080 w 3505200"/>
              <a:gd name="connsiteY160" fmla="*/ 3769360 h 8260080"/>
              <a:gd name="connsiteX161" fmla="*/ 2265680 w 3505200"/>
              <a:gd name="connsiteY161" fmla="*/ 3566160 h 8260080"/>
              <a:gd name="connsiteX162" fmla="*/ 2336800 w 3505200"/>
              <a:gd name="connsiteY162" fmla="*/ 3515360 h 8260080"/>
              <a:gd name="connsiteX163" fmla="*/ 2367280 w 3505200"/>
              <a:gd name="connsiteY163" fmla="*/ 3362960 h 8260080"/>
              <a:gd name="connsiteX164" fmla="*/ 2489200 w 3505200"/>
              <a:gd name="connsiteY164" fmla="*/ 3423920 h 8260080"/>
              <a:gd name="connsiteX165" fmla="*/ 2560320 w 3505200"/>
              <a:gd name="connsiteY165" fmla="*/ 3302000 h 8260080"/>
              <a:gd name="connsiteX166" fmla="*/ 2743200 w 3505200"/>
              <a:gd name="connsiteY166" fmla="*/ 3149600 h 8260080"/>
              <a:gd name="connsiteX167" fmla="*/ 2844800 w 3505200"/>
              <a:gd name="connsiteY167" fmla="*/ 3088640 h 8260080"/>
              <a:gd name="connsiteX168" fmla="*/ 2804160 w 3505200"/>
              <a:gd name="connsiteY168" fmla="*/ 2966720 h 8260080"/>
              <a:gd name="connsiteX169" fmla="*/ 2976880 w 3505200"/>
              <a:gd name="connsiteY169" fmla="*/ 2763520 h 8260080"/>
              <a:gd name="connsiteX170" fmla="*/ 2794000 w 3505200"/>
              <a:gd name="connsiteY170" fmla="*/ 2621280 h 8260080"/>
              <a:gd name="connsiteX171" fmla="*/ 2946400 w 3505200"/>
              <a:gd name="connsiteY171" fmla="*/ 2377440 h 8260080"/>
              <a:gd name="connsiteX172" fmla="*/ 2854960 w 3505200"/>
              <a:gd name="connsiteY172" fmla="*/ 2255520 h 8260080"/>
              <a:gd name="connsiteX173" fmla="*/ 3027680 w 3505200"/>
              <a:gd name="connsiteY173" fmla="*/ 2113280 h 8260080"/>
              <a:gd name="connsiteX174" fmla="*/ 3119120 w 3505200"/>
              <a:gd name="connsiteY174" fmla="*/ 2021840 h 8260080"/>
              <a:gd name="connsiteX175" fmla="*/ 3027680 w 3505200"/>
              <a:gd name="connsiteY175" fmla="*/ 1960880 h 8260080"/>
              <a:gd name="connsiteX176" fmla="*/ 3139440 w 3505200"/>
              <a:gd name="connsiteY176" fmla="*/ 1869440 h 8260080"/>
              <a:gd name="connsiteX177" fmla="*/ 3281680 w 3505200"/>
              <a:gd name="connsiteY177" fmla="*/ 1950720 h 8260080"/>
              <a:gd name="connsiteX178" fmla="*/ 3403600 w 3505200"/>
              <a:gd name="connsiteY178" fmla="*/ 1889760 h 8260080"/>
              <a:gd name="connsiteX179" fmla="*/ 3505200 w 3505200"/>
              <a:gd name="connsiteY179" fmla="*/ 1910080 h 8260080"/>
              <a:gd name="connsiteX180" fmla="*/ 3444240 w 3505200"/>
              <a:gd name="connsiteY180" fmla="*/ 1656080 h 8260080"/>
              <a:gd name="connsiteX181" fmla="*/ 3373120 w 3505200"/>
              <a:gd name="connsiteY181" fmla="*/ 1635760 h 8260080"/>
              <a:gd name="connsiteX182" fmla="*/ 3352800 w 3505200"/>
              <a:gd name="connsiteY182" fmla="*/ 1503680 h 8260080"/>
              <a:gd name="connsiteX183" fmla="*/ 3444240 w 3505200"/>
              <a:gd name="connsiteY183" fmla="*/ 1412240 h 8260080"/>
              <a:gd name="connsiteX184" fmla="*/ 3393440 w 3505200"/>
              <a:gd name="connsiteY184" fmla="*/ 1280160 h 8260080"/>
              <a:gd name="connsiteX185" fmla="*/ 3434080 w 3505200"/>
              <a:gd name="connsiteY185" fmla="*/ 1249680 h 8260080"/>
              <a:gd name="connsiteX186" fmla="*/ 3281680 w 3505200"/>
              <a:gd name="connsiteY186" fmla="*/ 1066800 h 8260080"/>
              <a:gd name="connsiteX187" fmla="*/ 3383280 w 3505200"/>
              <a:gd name="connsiteY187" fmla="*/ 975360 h 8260080"/>
              <a:gd name="connsiteX188" fmla="*/ 3302000 w 3505200"/>
              <a:gd name="connsiteY188" fmla="*/ 924560 h 8260080"/>
              <a:gd name="connsiteX189" fmla="*/ 3190240 w 3505200"/>
              <a:gd name="connsiteY189" fmla="*/ 944880 h 8260080"/>
              <a:gd name="connsiteX190" fmla="*/ 3281680 w 3505200"/>
              <a:gd name="connsiteY190" fmla="*/ 792480 h 8260080"/>
              <a:gd name="connsiteX191" fmla="*/ 3210560 w 3505200"/>
              <a:gd name="connsiteY191" fmla="*/ 650240 h 8260080"/>
              <a:gd name="connsiteX192" fmla="*/ 3302000 w 3505200"/>
              <a:gd name="connsiteY192" fmla="*/ 568960 h 8260080"/>
              <a:gd name="connsiteX193" fmla="*/ 3190240 w 3505200"/>
              <a:gd name="connsiteY193" fmla="*/ 487680 h 8260080"/>
              <a:gd name="connsiteX194" fmla="*/ 3108960 w 3505200"/>
              <a:gd name="connsiteY194" fmla="*/ 528320 h 8260080"/>
              <a:gd name="connsiteX195" fmla="*/ 3108960 w 3505200"/>
              <a:gd name="connsiteY195" fmla="*/ 406400 h 8260080"/>
              <a:gd name="connsiteX196" fmla="*/ 2926080 w 3505200"/>
              <a:gd name="connsiteY196" fmla="*/ 314960 h 8260080"/>
              <a:gd name="connsiteX197" fmla="*/ 2834640 w 3505200"/>
              <a:gd name="connsiteY197" fmla="*/ 355600 h 8260080"/>
              <a:gd name="connsiteX198" fmla="*/ 2682240 w 3505200"/>
              <a:gd name="connsiteY198" fmla="*/ 111760 h 8260080"/>
              <a:gd name="connsiteX199" fmla="*/ 2590800 w 3505200"/>
              <a:gd name="connsiteY199" fmla="*/ 121920 h 8260080"/>
              <a:gd name="connsiteX200" fmla="*/ 2611120 w 3505200"/>
              <a:gd name="connsiteY200" fmla="*/ 0 h 8260080"/>
              <a:gd name="connsiteX201" fmla="*/ 2438400 w 3505200"/>
              <a:gd name="connsiteY20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7242 w 3505200"/>
              <a:gd name="connsiteY78" fmla="*/ 7055296 h 8260080"/>
              <a:gd name="connsiteX79" fmla="*/ 21438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196129 w 3505200"/>
              <a:gd name="connsiteY78" fmla="*/ 7052121 h 8260080"/>
              <a:gd name="connsiteX79" fmla="*/ 21438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196129 w 3505200"/>
              <a:gd name="connsiteY78" fmla="*/ 7052121 h 8260080"/>
              <a:gd name="connsiteX79" fmla="*/ 20803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196129 w 3505200"/>
              <a:gd name="connsiteY78" fmla="*/ 7052121 h 8260080"/>
              <a:gd name="connsiteX79" fmla="*/ 20803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891 w 3505200"/>
              <a:gd name="connsiteY78" fmla="*/ 7066409 h 8260080"/>
              <a:gd name="connsiteX79" fmla="*/ 20803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891 w 3505200"/>
              <a:gd name="connsiteY78" fmla="*/ 7066409 h 8260080"/>
              <a:gd name="connsiteX79" fmla="*/ 20803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891 w 3505200"/>
              <a:gd name="connsiteY78" fmla="*/ 7066409 h 8260080"/>
              <a:gd name="connsiteX79" fmla="*/ 208037 w 3505200"/>
              <a:gd name="connsiteY79" fmla="*/ 7014815 h 8260080"/>
              <a:gd name="connsiteX80" fmla="*/ 240581 w 3505200"/>
              <a:gd name="connsiteY80" fmla="*/ 6983859 h 8260080"/>
              <a:gd name="connsiteX81" fmla="*/ 247724 w 3505200"/>
              <a:gd name="connsiteY81" fmla="*/ 7031484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891 w 3505200"/>
              <a:gd name="connsiteY78" fmla="*/ 7066409 h 8260080"/>
              <a:gd name="connsiteX79" fmla="*/ 208037 w 3505200"/>
              <a:gd name="connsiteY79" fmla="*/ 7014815 h 8260080"/>
              <a:gd name="connsiteX80" fmla="*/ 240581 w 3505200"/>
              <a:gd name="connsiteY80" fmla="*/ 6983859 h 8260080"/>
              <a:gd name="connsiteX81" fmla="*/ 262012 w 3505200"/>
              <a:gd name="connsiteY81" fmla="*/ 7020371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200891 w 3505200"/>
              <a:gd name="connsiteY78" fmla="*/ 7066409 h 8260080"/>
              <a:gd name="connsiteX79" fmla="*/ 208037 w 3505200"/>
              <a:gd name="connsiteY79" fmla="*/ 7014815 h 8260080"/>
              <a:gd name="connsiteX80" fmla="*/ 240581 w 3505200"/>
              <a:gd name="connsiteY80" fmla="*/ 6950522 h 8260080"/>
              <a:gd name="connsiteX81" fmla="*/ 262012 w 3505200"/>
              <a:gd name="connsiteY81" fmla="*/ 7020371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09866 w 3505200"/>
              <a:gd name="connsiteY76" fmla="*/ 6971505 h 8260080"/>
              <a:gd name="connsiteX77" fmla="*/ 188119 w 3505200"/>
              <a:gd name="connsiteY77" fmla="*/ 6996747 h 8260080"/>
              <a:gd name="connsiteX78" fmla="*/ 194541 w 3505200"/>
              <a:gd name="connsiteY78" fmla="*/ 7034659 h 8260080"/>
              <a:gd name="connsiteX79" fmla="*/ 208037 w 3505200"/>
              <a:gd name="connsiteY79" fmla="*/ 7014815 h 8260080"/>
              <a:gd name="connsiteX80" fmla="*/ 240581 w 3505200"/>
              <a:gd name="connsiteY80" fmla="*/ 6950522 h 8260080"/>
              <a:gd name="connsiteX81" fmla="*/ 262012 w 3505200"/>
              <a:gd name="connsiteY81" fmla="*/ 7020371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188119 w 3505200"/>
              <a:gd name="connsiteY77" fmla="*/ 6996747 h 8260080"/>
              <a:gd name="connsiteX78" fmla="*/ 194541 w 3505200"/>
              <a:gd name="connsiteY78" fmla="*/ 7034659 h 8260080"/>
              <a:gd name="connsiteX79" fmla="*/ 208037 w 3505200"/>
              <a:gd name="connsiteY79" fmla="*/ 7014815 h 8260080"/>
              <a:gd name="connsiteX80" fmla="*/ 240581 w 3505200"/>
              <a:gd name="connsiteY80" fmla="*/ 6950522 h 8260080"/>
              <a:gd name="connsiteX81" fmla="*/ 262012 w 3505200"/>
              <a:gd name="connsiteY81" fmla="*/ 7020371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188119 w 3505200"/>
              <a:gd name="connsiteY77" fmla="*/ 7009447 h 8260080"/>
              <a:gd name="connsiteX78" fmla="*/ 194541 w 3505200"/>
              <a:gd name="connsiteY78" fmla="*/ 7034659 h 8260080"/>
              <a:gd name="connsiteX79" fmla="*/ 208037 w 3505200"/>
              <a:gd name="connsiteY79" fmla="*/ 7014815 h 8260080"/>
              <a:gd name="connsiteX80" fmla="*/ 240581 w 3505200"/>
              <a:gd name="connsiteY80" fmla="*/ 6950522 h 8260080"/>
              <a:gd name="connsiteX81" fmla="*/ 262012 w 3505200"/>
              <a:gd name="connsiteY81" fmla="*/ 7020371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188119 w 3505200"/>
              <a:gd name="connsiteY77" fmla="*/ 7009447 h 8260080"/>
              <a:gd name="connsiteX78" fmla="*/ 194541 w 3505200"/>
              <a:gd name="connsiteY78" fmla="*/ 7034659 h 8260080"/>
              <a:gd name="connsiteX79" fmla="*/ 219149 w 3505200"/>
              <a:gd name="connsiteY79" fmla="*/ 7000528 h 8260080"/>
              <a:gd name="connsiteX80" fmla="*/ 240581 w 3505200"/>
              <a:gd name="connsiteY80" fmla="*/ 6950522 h 8260080"/>
              <a:gd name="connsiteX81" fmla="*/ 262012 w 3505200"/>
              <a:gd name="connsiteY81" fmla="*/ 7020371 h 8260080"/>
              <a:gd name="connsiteX82" fmla="*/ 240582 w 3505200"/>
              <a:gd name="connsiteY82" fmla="*/ 7079109 h 8260080"/>
              <a:gd name="connsiteX83" fmla="*/ 280829 w 3505200"/>
              <a:gd name="connsiteY83" fmla="*/ 7148354 h 8260080"/>
              <a:gd name="connsiteX84" fmla="*/ 242962 w 3505200"/>
              <a:gd name="connsiteY84" fmla="*/ 7226746 h 8260080"/>
              <a:gd name="connsiteX85" fmla="*/ 282892 w 3505200"/>
              <a:gd name="connsiteY85" fmla="*/ 7300436 h 8260080"/>
              <a:gd name="connsiteX86" fmla="*/ 310833 w 3505200"/>
              <a:gd name="connsiteY86" fmla="*/ 7299484 h 8260080"/>
              <a:gd name="connsiteX87" fmla="*/ 319162 w 3505200"/>
              <a:gd name="connsiteY87" fmla="*/ 7310089 h 8260080"/>
              <a:gd name="connsiteX88" fmla="*/ 337026 w 3505200"/>
              <a:gd name="connsiteY88" fmla="*/ 7316154 h 8260080"/>
              <a:gd name="connsiteX89" fmla="*/ 370364 w 3505200"/>
              <a:gd name="connsiteY89" fmla="*/ 7360602 h 8260080"/>
              <a:gd name="connsiteX90" fmla="*/ 447040 w 3505200"/>
              <a:gd name="connsiteY90" fmla="*/ 7366000 h 8260080"/>
              <a:gd name="connsiteX91" fmla="*/ 447040 w 3505200"/>
              <a:gd name="connsiteY91" fmla="*/ 7477760 h 8260080"/>
              <a:gd name="connsiteX92" fmla="*/ 558800 w 3505200"/>
              <a:gd name="connsiteY92" fmla="*/ 7528560 h 8260080"/>
              <a:gd name="connsiteX93" fmla="*/ 508000 w 3505200"/>
              <a:gd name="connsiteY93" fmla="*/ 7630160 h 8260080"/>
              <a:gd name="connsiteX94" fmla="*/ 436880 w 3505200"/>
              <a:gd name="connsiteY94" fmla="*/ 7609840 h 8260080"/>
              <a:gd name="connsiteX95" fmla="*/ 447040 w 3505200"/>
              <a:gd name="connsiteY95" fmla="*/ 7691120 h 8260080"/>
              <a:gd name="connsiteX96" fmla="*/ 518160 w 3505200"/>
              <a:gd name="connsiteY96" fmla="*/ 7741920 h 8260080"/>
              <a:gd name="connsiteX97" fmla="*/ 457200 w 3505200"/>
              <a:gd name="connsiteY97" fmla="*/ 7792720 h 8260080"/>
              <a:gd name="connsiteX98" fmla="*/ 396240 w 3505200"/>
              <a:gd name="connsiteY98" fmla="*/ 7701280 h 8260080"/>
              <a:gd name="connsiteX99" fmla="*/ 396240 w 3505200"/>
              <a:gd name="connsiteY99" fmla="*/ 7701280 h 8260080"/>
              <a:gd name="connsiteX100" fmla="*/ 436880 w 3505200"/>
              <a:gd name="connsiteY100" fmla="*/ 7874000 h 8260080"/>
              <a:gd name="connsiteX101" fmla="*/ 436880 w 3505200"/>
              <a:gd name="connsiteY101" fmla="*/ 7924800 h 8260080"/>
              <a:gd name="connsiteX102" fmla="*/ 548640 w 3505200"/>
              <a:gd name="connsiteY102" fmla="*/ 7965440 h 8260080"/>
              <a:gd name="connsiteX103" fmla="*/ 508000 w 3505200"/>
              <a:gd name="connsiteY103" fmla="*/ 8016240 h 8260080"/>
              <a:gd name="connsiteX104" fmla="*/ 589280 w 3505200"/>
              <a:gd name="connsiteY104" fmla="*/ 8056880 h 8260080"/>
              <a:gd name="connsiteX105" fmla="*/ 497840 w 3505200"/>
              <a:gd name="connsiteY105" fmla="*/ 8117840 h 8260080"/>
              <a:gd name="connsiteX106" fmla="*/ 518160 w 3505200"/>
              <a:gd name="connsiteY106" fmla="*/ 8209280 h 8260080"/>
              <a:gd name="connsiteX107" fmla="*/ 640080 w 3505200"/>
              <a:gd name="connsiteY107" fmla="*/ 8260080 h 8260080"/>
              <a:gd name="connsiteX108" fmla="*/ 731520 w 3505200"/>
              <a:gd name="connsiteY108" fmla="*/ 8219440 h 8260080"/>
              <a:gd name="connsiteX109" fmla="*/ 853440 w 3505200"/>
              <a:gd name="connsiteY109" fmla="*/ 8209280 h 8260080"/>
              <a:gd name="connsiteX110" fmla="*/ 955040 w 3505200"/>
              <a:gd name="connsiteY110" fmla="*/ 8260080 h 8260080"/>
              <a:gd name="connsiteX111" fmla="*/ 965200 w 3505200"/>
              <a:gd name="connsiteY111" fmla="*/ 8107680 h 8260080"/>
              <a:gd name="connsiteX112" fmla="*/ 894080 w 3505200"/>
              <a:gd name="connsiteY112" fmla="*/ 8026400 h 8260080"/>
              <a:gd name="connsiteX113" fmla="*/ 1016000 w 3505200"/>
              <a:gd name="connsiteY113" fmla="*/ 7863840 h 8260080"/>
              <a:gd name="connsiteX114" fmla="*/ 1107440 w 3505200"/>
              <a:gd name="connsiteY114" fmla="*/ 7894320 h 8260080"/>
              <a:gd name="connsiteX115" fmla="*/ 1127760 w 3505200"/>
              <a:gd name="connsiteY115" fmla="*/ 7853680 h 8260080"/>
              <a:gd name="connsiteX116" fmla="*/ 1066800 w 3505200"/>
              <a:gd name="connsiteY116" fmla="*/ 7813040 h 8260080"/>
              <a:gd name="connsiteX117" fmla="*/ 1137920 w 3505200"/>
              <a:gd name="connsiteY117" fmla="*/ 7762240 h 8260080"/>
              <a:gd name="connsiteX118" fmla="*/ 1330960 w 3505200"/>
              <a:gd name="connsiteY118" fmla="*/ 7802880 h 8260080"/>
              <a:gd name="connsiteX119" fmla="*/ 1361440 w 3505200"/>
              <a:gd name="connsiteY119" fmla="*/ 7772400 h 8260080"/>
              <a:gd name="connsiteX120" fmla="*/ 1483360 w 3505200"/>
              <a:gd name="connsiteY120" fmla="*/ 7823200 h 8260080"/>
              <a:gd name="connsiteX121" fmla="*/ 1554480 w 3505200"/>
              <a:gd name="connsiteY121" fmla="*/ 7731760 h 8260080"/>
              <a:gd name="connsiteX122" fmla="*/ 1524000 w 3505200"/>
              <a:gd name="connsiteY122" fmla="*/ 7640320 h 8260080"/>
              <a:gd name="connsiteX123" fmla="*/ 1645920 w 3505200"/>
              <a:gd name="connsiteY123" fmla="*/ 7437120 h 8260080"/>
              <a:gd name="connsiteX124" fmla="*/ 1635760 w 3505200"/>
              <a:gd name="connsiteY124" fmla="*/ 7335520 h 8260080"/>
              <a:gd name="connsiteX125" fmla="*/ 1696720 w 3505200"/>
              <a:gd name="connsiteY125" fmla="*/ 7223760 h 8260080"/>
              <a:gd name="connsiteX126" fmla="*/ 1625600 w 3505200"/>
              <a:gd name="connsiteY126" fmla="*/ 7172960 h 8260080"/>
              <a:gd name="connsiteX127" fmla="*/ 1747520 w 3505200"/>
              <a:gd name="connsiteY127" fmla="*/ 6990080 h 8260080"/>
              <a:gd name="connsiteX128" fmla="*/ 1666240 w 3505200"/>
              <a:gd name="connsiteY128" fmla="*/ 6939280 h 8260080"/>
              <a:gd name="connsiteX129" fmla="*/ 1737360 w 3505200"/>
              <a:gd name="connsiteY129" fmla="*/ 6888480 h 8260080"/>
              <a:gd name="connsiteX130" fmla="*/ 1645920 w 3505200"/>
              <a:gd name="connsiteY130" fmla="*/ 6776720 h 8260080"/>
              <a:gd name="connsiteX131" fmla="*/ 1808480 w 3505200"/>
              <a:gd name="connsiteY131" fmla="*/ 6715760 h 8260080"/>
              <a:gd name="connsiteX132" fmla="*/ 1727200 w 3505200"/>
              <a:gd name="connsiteY132" fmla="*/ 6614160 h 8260080"/>
              <a:gd name="connsiteX133" fmla="*/ 1686560 w 3505200"/>
              <a:gd name="connsiteY133" fmla="*/ 6421120 h 8260080"/>
              <a:gd name="connsiteX134" fmla="*/ 1889760 w 3505200"/>
              <a:gd name="connsiteY134" fmla="*/ 6299200 h 8260080"/>
              <a:gd name="connsiteX135" fmla="*/ 1940560 w 3505200"/>
              <a:gd name="connsiteY135" fmla="*/ 6228080 h 8260080"/>
              <a:gd name="connsiteX136" fmla="*/ 2032000 w 3505200"/>
              <a:gd name="connsiteY136" fmla="*/ 6136640 h 8260080"/>
              <a:gd name="connsiteX137" fmla="*/ 2011680 w 3505200"/>
              <a:gd name="connsiteY137" fmla="*/ 6014720 h 8260080"/>
              <a:gd name="connsiteX138" fmla="*/ 2123440 w 3505200"/>
              <a:gd name="connsiteY138" fmla="*/ 6065520 h 8260080"/>
              <a:gd name="connsiteX139" fmla="*/ 2092960 w 3505200"/>
              <a:gd name="connsiteY139" fmla="*/ 6167120 h 8260080"/>
              <a:gd name="connsiteX140" fmla="*/ 2286000 w 3505200"/>
              <a:gd name="connsiteY140" fmla="*/ 5933440 h 8260080"/>
              <a:gd name="connsiteX141" fmla="*/ 2255520 w 3505200"/>
              <a:gd name="connsiteY141" fmla="*/ 5801360 h 8260080"/>
              <a:gd name="connsiteX142" fmla="*/ 2448560 w 3505200"/>
              <a:gd name="connsiteY142" fmla="*/ 5598160 h 8260080"/>
              <a:gd name="connsiteX143" fmla="*/ 2357120 w 3505200"/>
              <a:gd name="connsiteY143" fmla="*/ 5435600 h 8260080"/>
              <a:gd name="connsiteX144" fmla="*/ 2225040 w 3505200"/>
              <a:gd name="connsiteY144" fmla="*/ 5415280 h 8260080"/>
              <a:gd name="connsiteX145" fmla="*/ 2103120 w 3505200"/>
              <a:gd name="connsiteY145" fmla="*/ 5222240 h 8260080"/>
              <a:gd name="connsiteX146" fmla="*/ 2092960 w 3505200"/>
              <a:gd name="connsiteY146" fmla="*/ 5110480 h 8260080"/>
              <a:gd name="connsiteX147" fmla="*/ 2052320 w 3505200"/>
              <a:gd name="connsiteY147" fmla="*/ 5151120 h 8260080"/>
              <a:gd name="connsiteX148" fmla="*/ 2042160 w 3505200"/>
              <a:gd name="connsiteY148" fmla="*/ 5242560 h 8260080"/>
              <a:gd name="connsiteX149" fmla="*/ 1981200 w 3505200"/>
              <a:gd name="connsiteY149" fmla="*/ 5191760 h 8260080"/>
              <a:gd name="connsiteX150" fmla="*/ 2011680 w 3505200"/>
              <a:gd name="connsiteY150" fmla="*/ 5120640 h 8260080"/>
              <a:gd name="connsiteX151" fmla="*/ 1930400 w 3505200"/>
              <a:gd name="connsiteY151" fmla="*/ 5100320 h 8260080"/>
              <a:gd name="connsiteX152" fmla="*/ 1859280 w 3505200"/>
              <a:gd name="connsiteY152" fmla="*/ 4917440 h 8260080"/>
              <a:gd name="connsiteX153" fmla="*/ 1828800 w 3505200"/>
              <a:gd name="connsiteY153" fmla="*/ 4622800 h 8260080"/>
              <a:gd name="connsiteX154" fmla="*/ 1910080 w 3505200"/>
              <a:gd name="connsiteY154" fmla="*/ 4419600 h 8260080"/>
              <a:gd name="connsiteX155" fmla="*/ 1920240 w 3505200"/>
              <a:gd name="connsiteY155" fmla="*/ 4277360 h 8260080"/>
              <a:gd name="connsiteX156" fmla="*/ 1971040 w 3505200"/>
              <a:gd name="connsiteY156" fmla="*/ 4124960 h 8260080"/>
              <a:gd name="connsiteX157" fmla="*/ 1879600 w 3505200"/>
              <a:gd name="connsiteY157" fmla="*/ 4023360 h 8260080"/>
              <a:gd name="connsiteX158" fmla="*/ 2072640 w 3505200"/>
              <a:gd name="connsiteY158" fmla="*/ 4003040 h 8260080"/>
              <a:gd name="connsiteX159" fmla="*/ 2092960 w 3505200"/>
              <a:gd name="connsiteY159" fmla="*/ 3850640 h 8260080"/>
              <a:gd name="connsiteX160" fmla="*/ 2001520 w 3505200"/>
              <a:gd name="connsiteY160" fmla="*/ 3728720 h 8260080"/>
              <a:gd name="connsiteX161" fmla="*/ 2164080 w 3505200"/>
              <a:gd name="connsiteY161" fmla="*/ 3769360 h 8260080"/>
              <a:gd name="connsiteX162" fmla="*/ 2265680 w 3505200"/>
              <a:gd name="connsiteY162" fmla="*/ 3566160 h 8260080"/>
              <a:gd name="connsiteX163" fmla="*/ 2336800 w 3505200"/>
              <a:gd name="connsiteY163" fmla="*/ 3515360 h 8260080"/>
              <a:gd name="connsiteX164" fmla="*/ 2367280 w 3505200"/>
              <a:gd name="connsiteY164" fmla="*/ 3362960 h 8260080"/>
              <a:gd name="connsiteX165" fmla="*/ 2489200 w 3505200"/>
              <a:gd name="connsiteY165" fmla="*/ 3423920 h 8260080"/>
              <a:gd name="connsiteX166" fmla="*/ 2560320 w 3505200"/>
              <a:gd name="connsiteY166" fmla="*/ 3302000 h 8260080"/>
              <a:gd name="connsiteX167" fmla="*/ 2743200 w 3505200"/>
              <a:gd name="connsiteY167" fmla="*/ 3149600 h 8260080"/>
              <a:gd name="connsiteX168" fmla="*/ 2844800 w 3505200"/>
              <a:gd name="connsiteY168" fmla="*/ 3088640 h 8260080"/>
              <a:gd name="connsiteX169" fmla="*/ 2804160 w 3505200"/>
              <a:gd name="connsiteY169" fmla="*/ 2966720 h 8260080"/>
              <a:gd name="connsiteX170" fmla="*/ 2976880 w 3505200"/>
              <a:gd name="connsiteY170" fmla="*/ 2763520 h 8260080"/>
              <a:gd name="connsiteX171" fmla="*/ 2794000 w 3505200"/>
              <a:gd name="connsiteY171" fmla="*/ 2621280 h 8260080"/>
              <a:gd name="connsiteX172" fmla="*/ 2946400 w 3505200"/>
              <a:gd name="connsiteY172" fmla="*/ 2377440 h 8260080"/>
              <a:gd name="connsiteX173" fmla="*/ 2854960 w 3505200"/>
              <a:gd name="connsiteY173" fmla="*/ 2255520 h 8260080"/>
              <a:gd name="connsiteX174" fmla="*/ 3027680 w 3505200"/>
              <a:gd name="connsiteY174" fmla="*/ 2113280 h 8260080"/>
              <a:gd name="connsiteX175" fmla="*/ 3119120 w 3505200"/>
              <a:gd name="connsiteY175" fmla="*/ 2021840 h 8260080"/>
              <a:gd name="connsiteX176" fmla="*/ 3027680 w 3505200"/>
              <a:gd name="connsiteY176" fmla="*/ 1960880 h 8260080"/>
              <a:gd name="connsiteX177" fmla="*/ 3139440 w 3505200"/>
              <a:gd name="connsiteY177" fmla="*/ 1869440 h 8260080"/>
              <a:gd name="connsiteX178" fmla="*/ 3281680 w 3505200"/>
              <a:gd name="connsiteY178" fmla="*/ 1950720 h 8260080"/>
              <a:gd name="connsiteX179" fmla="*/ 3403600 w 3505200"/>
              <a:gd name="connsiteY179" fmla="*/ 1889760 h 8260080"/>
              <a:gd name="connsiteX180" fmla="*/ 3505200 w 3505200"/>
              <a:gd name="connsiteY180" fmla="*/ 1910080 h 8260080"/>
              <a:gd name="connsiteX181" fmla="*/ 3444240 w 3505200"/>
              <a:gd name="connsiteY181" fmla="*/ 1656080 h 8260080"/>
              <a:gd name="connsiteX182" fmla="*/ 3373120 w 3505200"/>
              <a:gd name="connsiteY182" fmla="*/ 1635760 h 8260080"/>
              <a:gd name="connsiteX183" fmla="*/ 3352800 w 3505200"/>
              <a:gd name="connsiteY183" fmla="*/ 1503680 h 8260080"/>
              <a:gd name="connsiteX184" fmla="*/ 3444240 w 3505200"/>
              <a:gd name="connsiteY184" fmla="*/ 1412240 h 8260080"/>
              <a:gd name="connsiteX185" fmla="*/ 3393440 w 3505200"/>
              <a:gd name="connsiteY185" fmla="*/ 1280160 h 8260080"/>
              <a:gd name="connsiteX186" fmla="*/ 3434080 w 3505200"/>
              <a:gd name="connsiteY186" fmla="*/ 1249680 h 8260080"/>
              <a:gd name="connsiteX187" fmla="*/ 3281680 w 3505200"/>
              <a:gd name="connsiteY187" fmla="*/ 1066800 h 8260080"/>
              <a:gd name="connsiteX188" fmla="*/ 3383280 w 3505200"/>
              <a:gd name="connsiteY188" fmla="*/ 975360 h 8260080"/>
              <a:gd name="connsiteX189" fmla="*/ 3302000 w 3505200"/>
              <a:gd name="connsiteY189" fmla="*/ 924560 h 8260080"/>
              <a:gd name="connsiteX190" fmla="*/ 3190240 w 3505200"/>
              <a:gd name="connsiteY190" fmla="*/ 944880 h 8260080"/>
              <a:gd name="connsiteX191" fmla="*/ 3281680 w 3505200"/>
              <a:gd name="connsiteY191" fmla="*/ 792480 h 8260080"/>
              <a:gd name="connsiteX192" fmla="*/ 3210560 w 3505200"/>
              <a:gd name="connsiteY192" fmla="*/ 650240 h 8260080"/>
              <a:gd name="connsiteX193" fmla="*/ 3302000 w 3505200"/>
              <a:gd name="connsiteY193" fmla="*/ 568960 h 8260080"/>
              <a:gd name="connsiteX194" fmla="*/ 3190240 w 3505200"/>
              <a:gd name="connsiteY194" fmla="*/ 487680 h 8260080"/>
              <a:gd name="connsiteX195" fmla="*/ 3108960 w 3505200"/>
              <a:gd name="connsiteY195" fmla="*/ 528320 h 8260080"/>
              <a:gd name="connsiteX196" fmla="*/ 3108960 w 3505200"/>
              <a:gd name="connsiteY196" fmla="*/ 406400 h 8260080"/>
              <a:gd name="connsiteX197" fmla="*/ 2926080 w 3505200"/>
              <a:gd name="connsiteY197" fmla="*/ 314960 h 8260080"/>
              <a:gd name="connsiteX198" fmla="*/ 2834640 w 3505200"/>
              <a:gd name="connsiteY198" fmla="*/ 355600 h 8260080"/>
              <a:gd name="connsiteX199" fmla="*/ 2682240 w 3505200"/>
              <a:gd name="connsiteY199" fmla="*/ 111760 h 8260080"/>
              <a:gd name="connsiteX200" fmla="*/ 2590800 w 3505200"/>
              <a:gd name="connsiteY200" fmla="*/ 121920 h 8260080"/>
              <a:gd name="connsiteX201" fmla="*/ 2611120 w 3505200"/>
              <a:gd name="connsiteY201" fmla="*/ 0 h 8260080"/>
              <a:gd name="connsiteX202" fmla="*/ 2438400 w 3505200"/>
              <a:gd name="connsiteY202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188119 w 3505200"/>
              <a:gd name="connsiteY77" fmla="*/ 7009447 h 8260080"/>
              <a:gd name="connsiteX78" fmla="*/ 194541 w 3505200"/>
              <a:gd name="connsiteY78" fmla="*/ 7034659 h 8260080"/>
              <a:gd name="connsiteX79" fmla="*/ 240581 w 3505200"/>
              <a:gd name="connsiteY79" fmla="*/ 6950522 h 8260080"/>
              <a:gd name="connsiteX80" fmla="*/ 262012 w 3505200"/>
              <a:gd name="connsiteY80" fmla="*/ 7020371 h 8260080"/>
              <a:gd name="connsiteX81" fmla="*/ 240582 w 3505200"/>
              <a:gd name="connsiteY81" fmla="*/ 7079109 h 8260080"/>
              <a:gd name="connsiteX82" fmla="*/ 280829 w 3505200"/>
              <a:gd name="connsiteY82" fmla="*/ 7148354 h 8260080"/>
              <a:gd name="connsiteX83" fmla="*/ 242962 w 3505200"/>
              <a:gd name="connsiteY83" fmla="*/ 7226746 h 8260080"/>
              <a:gd name="connsiteX84" fmla="*/ 282892 w 3505200"/>
              <a:gd name="connsiteY84" fmla="*/ 7300436 h 8260080"/>
              <a:gd name="connsiteX85" fmla="*/ 310833 w 3505200"/>
              <a:gd name="connsiteY85" fmla="*/ 7299484 h 8260080"/>
              <a:gd name="connsiteX86" fmla="*/ 319162 w 3505200"/>
              <a:gd name="connsiteY86" fmla="*/ 7310089 h 8260080"/>
              <a:gd name="connsiteX87" fmla="*/ 337026 w 3505200"/>
              <a:gd name="connsiteY87" fmla="*/ 7316154 h 8260080"/>
              <a:gd name="connsiteX88" fmla="*/ 370364 w 3505200"/>
              <a:gd name="connsiteY88" fmla="*/ 7360602 h 8260080"/>
              <a:gd name="connsiteX89" fmla="*/ 447040 w 3505200"/>
              <a:gd name="connsiteY89" fmla="*/ 7366000 h 8260080"/>
              <a:gd name="connsiteX90" fmla="*/ 447040 w 3505200"/>
              <a:gd name="connsiteY90" fmla="*/ 7477760 h 8260080"/>
              <a:gd name="connsiteX91" fmla="*/ 558800 w 3505200"/>
              <a:gd name="connsiteY91" fmla="*/ 7528560 h 8260080"/>
              <a:gd name="connsiteX92" fmla="*/ 508000 w 3505200"/>
              <a:gd name="connsiteY92" fmla="*/ 7630160 h 8260080"/>
              <a:gd name="connsiteX93" fmla="*/ 436880 w 3505200"/>
              <a:gd name="connsiteY93" fmla="*/ 7609840 h 8260080"/>
              <a:gd name="connsiteX94" fmla="*/ 447040 w 3505200"/>
              <a:gd name="connsiteY94" fmla="*/ 7691120 h 8260080"/>
              <a:gd name="connsiteX95" fmla="*/ 518160 w 3505200"/>
              <a:gd name="connsiteY95" fmla="*/ 7741920 h 8260080"/>
              <a:gd name="connsiteX96" fmla="*/ 457200 w 3505200"/>
              <a:gd name="connsiteY96" fmla="*/ 7792720 h 8260080"/>
              <a:gd name="connsiteX97" fmla="*/ 396240 w 3505200"/>
              <a:gd name="connsiteY97" fmla="*/ 7701280 h 8260080"/>
              <a:gd name="connsiteX98" fmla="*/ 396240 w 3505200"/>
              <a:gd name="connsiteY98" fmla="*/ 7701280 h 8260080"/>
              <a:gd name="connsiteX99" fmla="*/ 436880 w 3505200"/>
              <a:gd name="connsiteY99" fmla="*/ 7874000 h 8260080"/>
              <a:gd name="connsiteX100" fmla="*/ 436880 w 3505200"/>
              <a:gd name="connsiteY100" fmla="*/ 7924800 h 8260080"/>
              <a:gd name="connsiteX101" fmla="*/ 548640 w 3505200"/>
              <a:gd name="connsiteY101" fmla="*/ 7965440 h 8260080"/>
              <a:gd name="connsiteX102" fmla="*/ 508000 w 3505200"/>
              <a:gd name="connsiteY102" fmla="*/ 8016240 h 8260080"/>
              <a:gd name="connsiteX103" fmla="*/ 589280 w 3505200"/>
              <a:gd name="connsiteY103" fmla="*/ 8056880 h 8260080"/>
              <a:gd name="connsiteX104" fmla="*/ 497840 w 3505200"/>
              <a:gd name="connsiteY104" fmla="*/ 8117840 h 8260080"/>
              <a:gd name="connsiteX105" fmla="*/ 518160 w 3505200"/>
              <a:gd name="connsiteY105" fmla="*/ 8209280 h 8260080"/>
              <a:gd name="connsiteX106" fmla="*/ 640080 w 3505200"/>
              <a:gd name="connsiteY106" fmla="*/ 8260080 h 8260080"/>
              <a:gd name="connsiteX107" fmla="*/ 731520 w 3505200"/>
              <a:gd name="connsiteY107" fmla="*/ 8219440 h 8260080"/>
              <a:gd name="connsiteX108" fmla="*/ 853440 w 3505200"/>
              <a:gd name="connsiteY108" fmla="*/ 8209280 h 8260080"/>
              <a:gd name="connsiteX109" fmla="*/ 955040 w 3505200"/>
              <a:gd name="connsiteY109" fmla="*/ 8260080 h 8260080"/>
              <a:gd name="connsiteX110" fmla="*/ 965200 w 3505200"/>
              <a:gd name="connsiteY110" fmla="*/ 8107680 h 8260080"/>
              <a:gd name="connsiteX111" fmla="*/ 894080 w 3505200"/>
              <a:gd name="connsiteY111" fmla="*/ 8026400 h 8260080"/>
              <a:gd name="connsiteX112" fmla="*/ 1016000 w 3505200"/>
              <a:gd name="connsiteY112" fmla="*/ 7863840 h 8260080"/>
              <a:gd name="connsiteX113" fmla="*/ 1107440 w 3505200"/>
              <a:gd name="connsiteY113" fmla="*/ 7894320 h 8260080"/>
              <a:gd name="connsiteX114" fmla="*/ 1127760 w 3505200"/>
              <a:gd name="connsiteY114" fmla="*/ 7853680 h 8260080"/>
              <a:gd name="connsiteX115" fmla="*/ 1066800 w 3505200"/>
              <a:gd name="connsiteY115" fmla="*/ 7813040 h 8260080"/>
              <a:gd name="connsiteX116" fmla="*/ 1137920 w 3505200"/>
              <a:gd name="connsiteY116" fmla="*/ 7762240 h 8260080"/>
              <a:gd name="connsiteX117" fmla="*/ 1330960 w 3505200"/>
              <a:gd name="connsiteY117" fmla="*/ 7802880 h 8260080"/>
              <a:gd name="connsiteX118" fmla="*/ 1361440 w 3505200"/>
              <a:gd name="connsiteY118" fmla="*/ 7772400 h 8260080"/>
              <a:gd name="connsiteX119" fmla="*/ 1483360 w 3505200"/>
              <a:gd name="connsiteY119" fmla="*/ 7823200 h 8260080"/>
              <a:gd name="connsiteX120" fmla="*/ 1554480 w 3505200"/>
              <a:gd name="connsiteY120" fmla="*/ 7731760 h 8260080"/>
              <a:gd name="connsiteX121" fmla="*/ 1524000 w 3505200"/>
              <a:gd name="connsiteY121" fmla="*/ 7640320 h 8260080"/>
              <a:gd name="connsiteX122" fmla="*/ 1645920 w 3505200"/>
              <a:gd name="connsiteY122" fmla="*/ 7437120 h 8260080"/>
              <a:gd name="connsiteX123" fmla="*/ 1635760 w 3505200"/>
              <a:gd name="connsiteY123" fmla="*/ 7335520 h 8260080"/>
              <a:gd name="connsiteX124" fmla="*/ 1696720 w 3505200"/>
              <a:gd name="connsiteY124" fmla="*/ 7223760 h 8260080"/>
              <a:gd name="connsiteX125" fmla="*/ 1625600 w 3505200"/>
              <a:gd name="connsiteY125" fmla="*/ 7172960 h 8260080"/>
              <a:gd name="connsiteX126" fmla="*/ 1747520 w 3505200"/>
              <a:gd name="connsiteY126" fmla="*/ 6990080 h 8260080"/>
              <a:gd name="connsiteX127" fmla="*/ 1666240 w 3505200"/>
              <a:gd name="connsiteY127" fmla="*/ 6939280 h 8260080"/>
              <a:gd name="connsiteX128" fmla="*/ 1737360 w 3505200"/>
              <a:gd name="connsiteY128" fmla="*/ 6888480 h 8260080"/>
              <a:gd name="connsiteX129" fmla="*/ 1645920 w 3505200"/>
              <a:gd name="connsiteY129" fmla="*/ 6776720 h 8260080"/>
              <a:gd name="connsiteX130" fmla="*/ 1808480 w 3505200"/>
              <a:gd name="connsiteY130" fmla="*/ 6715760 h 8260080"/>
              <a:gd name="connsiteX131" fmla="*/ 1727200 w 3505200"/>
              <a:gd name="connsiteY131" fmla="*/ 6614160 h 8260080"/>
              <a:gd name="connsiteX132" fmla="*/ 1686560 w 3505200"/>
              <a:gd name="connsiteY132" fmla="*/ 6421120 h 8260080"/>
              <a:gd name="connsiteX133" fmla="*/ 1889760 w 3505200"/>
              <a:gd name="connsiteY133" fmla="*/ 6299200 h 8260080"/>
              <a:gd name="connsiteX134" fmla="*/ 1940560 w 3505200"/>
              <a:gd name="connsiteY134" fmla="*/ 6228080 h 8260080"/>
              <a:gd name="connsiteX135" fmla="*/ 2032000 w 3505200"/>
              <a:gd name="connsiteY135" fmla="*/ 6136640 h 8260080"/>
              <a:gd name="connsiteX136" fmla="*/ 2011680 w 3505200"/>
              <a:gd name="connsiteY136" fmla="*/ 6014720 h 8260080"/>
              <a:gd name="connsiteX137" fmla="*/ 2123440 w 3505200"/>
              <a:gd name="connsiteY137" fmla="*/ 6065520 h 8260080"/>
              <a:gd name="connsiteX138" fmla="*/ 2092960 w 3505200"/>
              <a:gd name="connsiteY138" fmla="*/ 6167120 h 8260080"/>
              <a:gd name="connsiteX139" fmla="*/ 2286000 w 3505200"/>
              <a:gd name="connsiteY139" fmla="*/ 5933440 h 8260080"/>
              <a:gd name="connsiteX140" fmla="*/ 2255520 w 3505200"/>
              <a:gd name="connsiteY140" fmla="*/ 5801360 h 8260080"/>
              <a:gd name="connsiteX141" fmla="*/ 2448560 w 3505200"/>
              <a:gd name="connsiteY141" fmla="*/ 5598160 h 8260080"/>
              <a:gd name="connsiteX142" fmla="*/ 2357120 w 3505200"/>
              <a:gd name="connsiteY142" fmla="*/ 5435600 h 8260080"/>
              <a:gd name="connsiteX143" fmla="*/ 2225040 w 3505200"/>
              <a:gd name="connsiteY143" fmla="*/ 5415280 h 8260080"/>
              <a:gd name="connsiteX144" fmla="*/ 2103120 w 3505200"/>
              <a:gd name="connsiteY144" fmla="*/ 5222240 h 8260080"/>
              <a:gd name="connsiteX145" fmla="*/ 2092960 w 3505200"/>
              <a:gd name="connsiteY145" fmla="*/ 5110480 h 8260080"/>
              <a:gd name="connsiteX146" fmla="*/ 2052320 w 3505200"/>
              <a:gd name="connsiteY146" fmla="*/ 5151120 h 8260080"/>
              <a:gd name="connsiteX147" fmla="*/ 2042160 w 3505200"/>
              <a:gd name="connsiteY147" fmla="*/ 5242560 h 8260080"/>
              <a:gd name="connsiteX148" fmla="*/ 1981200 w 3505200"/>
              <a:gd name="connsiteY148" fmla="*/ 5191760 h 8260080"/>
              <a:gd name="connsiteX149" fmla="*/ 2011680 w 3505200"/>
              <a:gd name="connsiteY149" fmla="*/ 5120640 h 8260080"/>
              <a:gd name="connsiteX150" fmla="*/ 1930400 w 3505200"/>
              <a:gd name="connsiteY150" fmla="*/ 5100320 h 8260080"/>
              <a:gd name="connsiteX151" fmla="*/ 1859280 w 3505200"/>
              <a:gd name="connsiteY151" fmla="*/ 4917440 h 8260080"/>
              <a:gd name="connsiteX152" fmla="*/ 1828800 w 3505200"/>
              <a:gd name="connsiteY152" fmla="*/ 4622800 h 8260080"/>
              <a:gd name="connsiteX153" fmla="*/ 1910080 w 3505200"/>
              <a:gd name="connsiteY153" fmla="*/ 4419600 h 8260080"/>
              <a:gd name="connsiteX154" fmla="*/ 1920240 w 3505200"/>
              <a:gd name="connsiteY154" fmla="*/ 4277360 h 8260080"/>
              <a:gd name="connsiteX155" fmla="*/ 1971040 w 3505200"/>
              <a:gd name="connsiteY155" fmla="*/ 4124960 h 8260080"/>
              <a:gd name="connsiteX156" fmla="*/ 1879600 w 3505200"/>
              <a:gd name="connsiteY156" fmla="*/ 4023360 h 8260080"/>
              <a:gd name="connsiteX157" fmla="*/ 2072640 w 3505200"/>
              <a:gd name="connsiteY157" fmla="*/ 4003040 h 8260080"/>
              <a:gd name="connsiteX158" fmla="*/ 2092960 w 3505200"/>
              <a:gd name="connsiteY158" fmla="*/ 3850640 h 8260080"/>
              <a:gd name="connsiteX159" fmla="*/ 2001520 w 3505200"/>
              <a:gd name="connsiteY159" fmla="*/ 3728720 h 8260080"/>
              <a:gd name="connsiteX160" fmla="*/ 2164080 w 3505200"/>
              <a:gd name="connsiteY160" fmla="*/ 3769360 h 8260080"/>
              <a:gd name="connsiteX161" fmla="*/ 2265680 w 3505200"/>
              <a:gd name="connsiteY161" fmla="*/ 3566160 h 8260080"/>
              <a:gd name="connsiteX162" fmla="*/ 2336800 w 3505200"/>
              <a:gd name="connsiteY162" fmla="*/ 3515360 h 8260080"/>
              <a:gd name="connsiteX163" fmla="*/ 2367280 w 3505200"/>
              <a:gd name="connsiteY163" fmla="*/ 3362960 h 8260080"/>
              <a:gd name="connsiteX164" fmla="*/ 2489200 w 3505200"/>
              <a:gd name="connsiteY164" fmla="*/ 3423920 h 8260080"/>
              <a:gd name="connsiteX165" fmla="*/ 2560320 w 3505200"/>
              <a:gd name="connsiteY165" fmla="*/ 3302000 h 8260080"/>
              <a:gd name="connsiteX166" fmla="*/ 2743200 w 3505200"/>
              <a:gd name="connsiteY166" fmla="*/ 3149600 h 8260080"/>
              <a:gd name="connsiteX167" fmla="*/ 2844800 w 3505200"/>
              <a:gd name="connsiteY167" fmla="*/ 3088640 h 8260080"/>
              <a:gd name="connsiteX168" fmla="*/ 2804160 w 3505200"/>
              <a:gd name="connsiteY168" fmla="*/ 2966720 h 8260080"/>
              <a:gd name="connsiteX169" fmla="*/ 2976880 w 3505200"/>
              <a:gd name="connsiteY169" fmla="*/ 2763520 h 8260080"/>
              <a:gd name="connsiteX170" fmla="*/ 2794000 w 3505200"/>
              <a:gd name="connsiteY170" fmla="*/ 2621280 h 8260080"/>
              <a:gd name="connsiteX171" fmla="*/ 2946400 w 3505200"/>
              <a:gd name="connsiteY171" fmla="*/ 2377440 h 8260080"/>
              <a:gd name="connsiteX172" fmla="*/ 2854960 w 3505200"/>
              <a:gd name="connsiteY172" fmla="*/ 2255520 h 8260080"/>
              <a:gd name="connsiteX173" fmla="*/ 3027680 w 3505200"/>
              <a:gd name="connsiteY173" fmla="*/ 2113280 h 8260080"/>
              <a:gd name="connsiteX174" fmla="*/ 3119120 w 3505200"/>
              <a:gd name="connsiteY174" fmla="*/ 2021840 h 8260080"/>
              <a:gd name="connsiteX175" fmla="*/ 3027680 w 3505200"/>
              <a:gd name="connsiteY175" fmla="*/ 1960880 h 8260080"/>
              <a:gd name="connsiteX176" fmla="*/ 3139440 w 3505200"/>
              <a:gd name="connsiteY176" fmla="*/ 1869440 h 8260080"/>
              <a:gd name="connsiteX177" fmla="*/ 3281680 w 3505200"/>
              <a:gd name="connsiteY177" fmla="*/ 1950720 h 8260080"/>
              <a:gd name="connsiteX178" fmla="*/ 3403600 w 3505200"/>
              <a:gd name="connsiteY178" fmla="*/ 1889760 h 8260080"/>
              <a:gd name="connsiteX179" fmla="*/ 3505200 w 3505200"/>
              <a:gd name="connsiteY179" fmla="*/ 1910080 h 8260080"/>
              <a:gd name="connsiteX180" fmla="*/ 3444240 w 3505200"/>
              <a:gd name="connsiteY180" fmla="*/ 1656080 h 8260080"/>
              <a:gd name="connsiteX181" fmla="*/ 3373120 w 3505200"/>
              <a:gd name="connsiteY181" fmla="*/ 1635760 h 8260080"/>
              <a:gd name="connsiteX182" fmla="*/ 3352800 w 3505200"/>
              <a:gd name="connsiteY182" fmla="*/ 1503680 h 8260080"/>
              <a:gd name="connsiteX183" fmla="*/ 3444240 w 3505200"/>
              <a:gd name="connsiteY183" fmla="*/ 1412240 h 8260080"/>
              <a:gd name="connsiteX184" fmla="*/ 3393440 w 3505200"/>
              <a:gd name="connsiteY184" fmla="*/ 1280160 h 8260080"/>
              <a:gd name="connsiteX185" fmla="*/ 3434080 w 3505200"/>
              <a:gd name="connsiteY185" fmla="*/ 1249680 h 8260080"/>
              <a:gd name="connsiteX186" fmla="*/ 3281680 w 3505200"/>
              <a:gd name="connsiteY186" fmla="*/ 1066800 h 8260080"/>
              <a:gd name="connsiteX187" fmla="*/ 3383280 w 3505200"/>
              <a:gd name="connsiteY187" fmla="*/ 975360 h 8260080"/>
              <a:gd name="connsiteX188" fmla="*/ 3302000 w 3505200"/>
              <a:gd name="connsiteY188" fmla="*/ 924560 h 8260080"/>
              <a:gd name="connsiteX189" fmla="*/ 3190240 w 3505200"/>
              <a:gd name="connsiteY189" fmla="*/ 944880 h 8260080"/>
              <a:gd name="connsiteX190" fmla="*/ 3281680 w 3505200"/>
              <a:gd name="connsiteY190" fmla="*/ 792480 h 8260080"/>
              <a:gd name="connsiteX191" fmla="*/ 3210560 w 3505200"/>
              <a:gd name="connsiteY191" fmla="*/ 650240 h 8260080"/>
              <a:gd name="connsiteX192" fmla="*/ 3302000 w 3505200"/>
              <a:gd name="connsiteY192" fmla="*/ 568960 h 8260080"/>
              <a:gd name="connsiteX193" fmla="*/ 3190240 w 3505200"/>
              <a:gd name="connsiteY193" fmla="*/ 487680 h 8260080"/>
              <a:gd name="connsiteX194" fmla="*/ 3108960 w 3505200"/>
              <a:gd name="connsiteY194" fmla="*/ 528320 h 8260080"/>
              <a:gd name="connsiteX195" fmla="*/ 3108960 w 3505200"/>
              <a:gd name="connsiteY195" fmla="*/ 406400 h 8260080"/>
              <a:gd name="connsiteX196" fmla="*/ 2926080 w 3505200"/>
              <a:gd name="connsiteY196" fmla="*/ 314960 h 8260080"/>
              <a:gd name="connsiteX197" fmla="*/ 2834640 w 3505200"/>
              <a:gd name="connsiteY197" fmla="*/ 355600 h 8260080"/>
              <a:gd name="connsiteX198" fmla="*/ 2682240 w 3505200"/>
              <a:gd name="connsiteY198" fmla="*/ 111760 h 8260080"/>
              <a:gd name="connsiteX199" fmla="*/ 2590800 w 3505200"/>
              <a:gd name="connsiteY199" fmla="*/ 121920 h 8260080"/>
              <a:gd name="connsiteX200" fmla="*/ 2611120 w 3505200"/>
              <a:gd name="connsiteY200" fmla="*/ 0 h 8260080"/>
              <a:gd name="connsiteX201" fmla="*/ 2438400 w 3505200"/>
              <a:gd name="connsiteY201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188119 w 3505200"/>
              <a:gd name="connsiteY77" fmla="*/ 7009447 h 8260080"/>
              <a:gd name="connsiteX78" fmla="*/ 240581 w 3505200"/>
              <a:gd name="connsiteY78" fmla="*/ 6950522 h 8260080"/>
              <a:gd name="connsiteX79" fmla="*/ 262012 w 3505200"/>
              <a:gd name="connsiteY79" fmla="*/ 7020371 h 8260080"/>
              <a:gd name="connsiteX80" fmla="*/ 240582 w 3505200"/>
              <a:gd name="connsiteY80" fmla="*/ 7079109 h 8260080"/>
              <a:gd name="connsiteX81" fmla="*/ 280829 w 3505200"/>
              <a:gd name="connsiteY81" fmla="*/ 7148354 h 8260080"/>
              <a:gd name="connsiteX82" fmla="*/ 242962 w 3505200"/>
              <a:gd name="connsiteY82" fmla="*/ 7226746 h 8260080"/>
              <a:gd name="connsiteX83" fmla="*/ 282892 w 3505200"/>
              <a:gd name="connsiteY83" fmla="*/ 7300436 h 8260080"/>
              <a:gd name="connsiteX84" fmla="*/ 310833 w 3505200"/>
              <a:gd name="connsiteY84" fmla="*/ 7299484 h 8260080"/>
              <a:gd name="connsiteX85" fmla="*/ 319162 w 3505200"/>
              <a:gd name="connsiteY85" fmla="*/ 7310089 h 8260080"/>
              <a:gd name="connsiteX86" fmla="*/ 337026 w 3505200"/>
              <a:gd name="connsiteY86" fmla="*/ 7316154 h 8260080"/>
              <a:gd name="connsiteX87" fmla="*/ 370364 w 3505200"/>
              <a:gd name="connsiteY87" fmla="*/ 7360602 h 8260080"/>
              <a:gd name="connsiteX88" fmla="*/ 447040 w 3505200"/>
              <a:gd name="connsiteY88" fmla="*/ 7366000 h 8260080"/>
              <a:gd name="connsiteX89" fmla="*/ 447040 w 3505200"/>
              <a:gd name="connsiteY89" fmla="*/ 7477760 h 8260080"/>
              <a:gd name="connsiteX90" fmla="*/ 558800 w 3505200"/>
              <a:gd name="connsiteY90" fmla="*/ 7528560 h 8260080"/>
              <a:gd name="connsiteX91" fmla="*/ 508000 w 3505200"/>
              <a:gd name="connsiteY91" fmla="*/ 7630160 h 8260080"/>
              <a:gd name="connsiteX92" fmla="*/ 436880 w 3505200"/>
              <a:gd name="connsiteY92" fmla="*/ 7609840 h 8260080"/>
              <a:gd name="connsiteX93" fmla="*/ 447040 w 3505200"/>
              <a:gd name="connsiteY93" fmla="*/ 7691120 h 8260080"/>
              <a:gd name="connsiteX94" fmla="*/ 518160 w 3505200"/>
              <a:gd name="connsiteY94" fmla="*/ 7741920 h 8260080"/>
              <a:gd name="connsiteX95" fmla="*/ 457200 w 3505200"/>
              <a:gd name="connsiteY95" fmla="*/ 7792720 h 8260080"/>
              <a:gd name="connsiteX96" fmla="*/ 396240 w 3505200"/>
              <a:gd name="connsiteY96" fmla="*/ 7701280 h 8260080"/>
              <a:gd name="connsiteX97" fmla="*/ 396240 w 3505200"/>
              <a:gd name="connsiteY97" fmla="*/ 7701280 h 8260080"/>
              <a:gd name="connsiteX98" fmla="*/ 436880 w 3505200"/>
              <a:gd name="connsiteY98" fmla="*/ 7874000 h 8260080"/>
              <a:gd name="connsiteX99" fmla="*/ 436880 w 3505200"/>
              <a:gd name="connsiteY99" fmla="*/ 7924800 h 8260080"/>
              <a:gd name="connsiteX100" fmla="*/ 548640 w 3505200"/>
              <a:gd name="connsiteY100" fmla="*/ 7965440 h 8260080"/>
              <a:gd name="connsiteX101" fmla="*/ 508000 w 3505200"/>
              <a:gd name="connsiteY101" fmla="*/ 8016240 h 8260080"/>
              <a:gd name="connsiteX102" fmla="*/ 589280 w 3505200"/>
              <a:gd name="connsiteY102" fmla="*/ 8056880 h 8260080"/>
              <a:gd name="connsiteX103" fmla="*/ 497840 w 3505200"/>
              <a:gd name="connsiteY103" fmla="*/ 8117840 h 8260080"/>
              <a:gd name="connsiteX104" fmla="*/ 518160 w 3505200"/>
              <a:gd name="connsiteY104" fmla="*/ 8209280 h 8260080"/>
              <a:gd name="connsiteX105" fmla="*/ 640080 w 3505200"/>
              <a:gd name="connsiteY105" fmla="*/ 8260080 h 8260080"/>
              <a:gd name="connsiteX106" fmla="*/ 731520 w 3505200"/>
              <a:gd name="connsiteY106" fmla="*/ 8219440 h 8260080"/>
              <a:gd name="connsiteX107" fmla="*/ 853440 w 3505200"/>
              <a:gd name="connsiteY107" fmla="*/ 8209280 h 8260080"/>
              <a:gd name="connsiteX108" fmla="*/ 955040 w 3505200"/>
              <a:gd name="connsiteY108" fmla="*/ 8260080 h 8260080"/>
              <a:gd name="connsiteX109" fmla="*/ 965200 w 3505200"/>
              <a:gd name="connsiteY109" fmla="*/ 8107680 h 8260080"/>
              <a:gd name="connsiteX110" fmla="*/ 894080 w 3505200"/>
              <a:gd name="connsiteY110" fmla="*/ 8026400 h 8260080"/>
              <a:gd name="connsiteX111" fmla="*/ 1016000 w 3505200"/>
              <a:gd name="connsiteY111" fmla="*/ 7863840 h 8260080"/>
              <a:gd name="connsiteX112" fmla="*/ 1107440 w 3505200"/>
              <a:gd name="connsiteY112" fmla="*/ 7894320 h 8260080"/>
              <a:gd name="connsiteX113" fmla="*/ 1127760 w 3505200"/>
              <a:gd name="connsiteY113" fmla="*/ 7853680 h 8260080"/>
              <a:gd name="connsiteX114" fmla="*/ 1066800 w 3505200"/>
              <a:gd name="connsiteY114" fmla="*/ 7813040 h 8260080"/>
              <a:gd name="connsiteX115" fmla="*/ 1137920 w 3505200"/>
              <a:gd name="connsiteY115" fmla="*/ 7762240 h 8260080"/>
              <a:gd name="connsiteX116" fmla="*/ 1330960 w 3505200"/>
              <a:gd name="connsiteY116" fmla="*/ 7802880 h 8260080"/>
              <a:gd name="connsiteX117" fmla="*/ 1361440 w 3505200"/>
              <a:gd name="connsiteY117" fmla="*/ 7772400 h 8260080"/>
              <a:gd name="connsiteX118" fmla="*/ 1483360 w 3505200"/>
              <a:gd name="connsiteY118" fmla="*/ 7823200 h 8260080"/>
              <a:gd name="connsiteX119" fmla="*/ 1554480 w 3505200"/>
              <a:gd name="connsiteY119" fmla="*/ 7731760 h 8260080"/>
              <a:gd name="connsiteX120" fmla="*/ 1524000 w 3505200"/>
              <a:gd name="connsiteY120" fmla="*/ 7640320 h 8260080"/>
              <a:gd name="connsiteX121" fmla="*/ 1645920 w 3505200"/>
              <a:gd name="connsiteY121" fmla="*/ 7437120 h 8260080"/>
              <a:gd name="connsiteX122" fmla="*/ 1635760 w 3505200"/>
              <a:gd name="connsiteY122" fmla="*/ 7335520 h 8260080"/>
              <a:gd name="connsiteX123" fmla="*/ 1696720 w 3505200"/>
              <a:gd name="connsiteY123" fmla="*/ 7223760 h 8260080"/>
              <a:gd name="connsiteX124" fmla="*/ 1625600 w 3505200"/>
              <a:gd name="connsiteY124" fmla="*/ 7172960 h 8260080"/>
              <a:gd name="connsiteX125" fmla="*/ 1747520 w 3505200"/>
              <a:gd name="connsiteY125" fmla="*/ 6990080 h 8260080"/>
              <a:gd name="connsiteX126" fmla="*/ 1666240 w 3505200"/>
              <a:gd name="connsiteY126" fmla="*/ 6939280 h 8260080"/>
              <a:gd name="connsiteX127" fmla="*/ 1737360 w 3505200"/>
              <a:gd name="connsiteY127" fmla="*/ 6888480 h 8260080"/>
              <a:gd name="connsiteX128" fmla="*/ 1645920 w 3505200"/>
              <a:gd name="connsiteY128" fmla="*/ 6776720 h 8260080"/>
              <a:gd name="connsiteX129" fmla="*/ 1808480 w 3505200"/>
              <a:gd name="connsiteY129" fmla="*/ 6715760 h 8260080"/>
              <a:gd name="connsiteX130" fmla="*/ 1727200 w 3505200"/>
              <a:gd name="connsiteY130" fmla="*/ 6614160 h 8260080"/>
              <a:gd name="connsiteX131" fmla="*/ 1686560 w 3505200"/>
              <a:gd name="connsiteY131" fmla="*/ 6421120 h 8260080"/>
              <a:gd name="connsiteX132" fmla="*/ 1889760 w 3505200"/>
              <a:gd name="connsiteY132" fmla="*/ 6299200 h 8260080"/>
              <a:gd name="connsiteX133" fmla="*/ 1940560 w 3505200"/>
              <a:gd name="connsiteY133" fmla="*/ 6228080 h 8260080"/>
              <a:gd name="connsiteX134" fmla="*/ 2032000 w 3505200"/>
              <a:gd name="connsiteY134" fmla="*/ 6136640 h 8260080"/>
              <a:gd name="connsiteX135" fmla="*/ 2011680 w 3505200"/>
              <a:gd name="connsiteY135" fmla="*/ 6014720 h 8260080"/>
              <a:gd name="connsiteX136" fmla="*/ 2123440 w 3505200"/>
              <a:gd name="connsiteY136" fmla="*/ 6065520 h 8260080"/>
              <a:gd name="connsiteX137" fmla="*/ 2092960 w 3505200"/>
              <a:gd name="connsiteY137" fmla="*/ 6167120 h 8260080"/>
              <a:gd name="connsiteX138" fmla="*/ 2286000 w 3505200"/>
              <a:gd name="connsiteY138" fmla="*/ 5933440 h 8260080"/>
              <a:gd name="connsiteX139" fmla="*/ 2255520 w 3505200"/>
              <a:gd name="connsiteY139" fmla="*/ 5801360 h 8260080"/>
              <a:gd name="connsiteX140" fmla="*/ 2448560 w 3505200"/>
              <a:gd name="connsiteY140" fmla="*/ 5598160 h 8260080"/>
              <a:gd name="connsiteX141" fmla="*/ 2357120 w 3505200"/>
              <a:gd name="connsiteY141" fmla="*/ 5435600 h 8260080"/>
              <a:gd name="connsiteX142" fmla="*/ 2225040 w 3505200"/>
              <a:gd name="connsiteY142" fmla="*/ 5415280 h 8260080"/>
              <a:gd name="connsiteX143" fmla="*/ 2103120 w 3505200"/>
              <a:gd name="connsiteY143" fmla="*/ 5222240 h 8260080"/>
              <a:gd name="connsiteX144" fmla="*/ 2092960 w 3505200"/>
              <a:gd name="connsiteY144" fmla="*/ 5110480 h 8260080"/>
              <a:gd name="connsiteX145" fmla="*/ 2052320 w 3505200"/>
              <a:gd name="connsiteY145" fmla="*/ 5151120 h 8260080"/>
              <a:gd name="connsiteX146" fmla="*/ 2042160 w 3505200"/>
              <a:gd name="connsiteY146" fmla="*/ 5242560 h 8260080"/>
              <a:gd name="connsiteX147" fmla="*/ 1981200 w 3505200"/>
              <a:gd name="connsiteY147" fmla="*/ 5191760 h 8260080"/>
              <a:gd name="connsiteX148" fmla="*/ 2011680 w 3505200"/>
              <a:gd name="connsiteY148" fmla="*/ 5120640 h 8260080"/>
              <a:gd name="connsiteX149" fmla="*/ 1930400 w 3505200"/>
              <a:gd name="connsiteY149" fmla="*/ 5100320 h 8260080"/>
              <a:gd name="connsiteX150" fmla="*/ 1859280 w 3505200"/>
              <a:gd name="connsiteY150" fmla="*/ 4917440 h 8260080"/>
              <a:gd name="connsiteX151" fmla="*/ 1828800 w 3505200"/>
              <a:gd name="connsiteY151" fmla="*/ 4622800 h 8260080"/>
              <a:gd name="connsiteX152" fmla="*/ 1910080 w 3505200"/>
              <a:gd name="connsiteY152" fmla="*/ 4419600 h 8260080"/>
              <a:gd name="connsiteX153" fmla="*/ 1920240 w 3505200"/>
              <a:gd name="connsiteY153" fmla="*/ 4277360 h 8260080"/>
              <a:gd name="connsiteX154" fmla="*/ 1971040 w 3505200"/>
              <a:gd name="connsiteY154" fmla="*/ 4124960 h 8260080"/>
              <a:gd name="connsiteX155" fmla="*/ 1879600 w 3505200"/>
              <a:gd name="connsiteY155" fmla="*/ 4023360 h 8260080"/>
              <a:gd name="connsiteX156" fmla="*/ 2072640 w 3505200"/>
              <a:gd name="connsiteY156" fmla="*/ 4003040 h 8260080"/>
              <a:gd name="connsiteX157" fmla="*/ 2092960 w 3505200"/>
              <a:gd name="connsiteY157" fmla="*/ 3850640 h 8260080"/>
              <a:gd name="connsiteX158" fmla="*/ 2001520 w 3505200"/>
              <a:gd name="connsiteY158" fmla="*/ 3728720 h 8260080"/>
              <a:gd name="connsiteX159" fmla="*/ 2164080 w 3505200"/>
              <a:gd name="connsiteY159" fmla="*/ 3769360 h 8260080"/>
              <a:gd name="connsiteX160" fmla="*/ 2265680 w 3505200"/>
              <a:gd name="connsiteY160" fmla="*/ 3566160 h 8260080"/>
              <a:gd name="connsiteX161" fmla="*/ 2336800 w 3505200"/>
              <a:gd name="connsiteY161" fmla="*/ 3515360 h 8260080"/>
              <a:gd name="connsiteX162" fmla="*/ 2367280 w 3505200"/>
              <a:gd name="connsiteY162" fmla="*/ 3362960 h 8260080"/>
              <a:gd name="connsiteX163" fmla="*/ 2489200 w 3505200"/>
              <a:gd name="connsiteY163" fmla="*/ 3423920 h 8260080"/>
              <a:gd name="connsiteX164" fmla="*/ 2560320 w 3505200"/>
              <a:gd name="connsiteY164" fmla="*/ 3302000 h 8260080"/>
              <a:gd name="connsiteX165" fmla="*/ 2743200 w 3505200"/>
              <a:gd name="connsiteY165" fmla="*/ 3149600 h 8260080"/>
              <a:gd name="connsiteX166" fmla="*/ 2844800 w 3505200"/>
              <a:gd name="connsiteY166" fmla="*/ 3088640 h 8260080"/>
              <a:gd name="connsiteX167" fmla="*/ 2804160 w 3505200"/>
              <a:gd name="connsiteY167" fmla="*/ 2966720 h 8260080"/>
              <a:gd name="connsiteX168" fmla="*/ 2976880 w 3505200"/>
              <a:gd name="connsiteY168" fmla="*/ 2763520 h 8260080"/>
              <a:gd name="connsiteX169" fmla="*/ 2794000 w 3505200"/>
              <a:gd name="connsiteY169" fmla="*/ 2621280 h 8260080"/>
              <a:gd name="connsiteX170" fmla="*/ 2946400 w 3505200"/>
              <a:gd name="connsiteY170" fmla="*/ 2377440 h 8260080"/>
              <a:gd name="connsiteX171" fmla="*/ 2854960 w 3505200"/>
              <a:gd name="connsiteY171" fmla="*/ 2255520 h 8260080"/>
              <a:gd name="connsiteX172" fmla="*/ 3027680 w 3505200"/>
              <a:gd name="connsiteY172" fmla="*/ 2113280 h 8260080"/>
              <a:gd name="connsiteX173" fmla="*/ 3119120 w 3505200"/>
              <a:gd name="connsiteY173" fmla="*/ 2021840 h 8260080"/>
              <a:gd name="connsiteX174" fmla="*/ 3027680 w 3505200"/>
              <a:gd name="connsiteY174" fmla="*/ 1960880 h 8260080"/>
              <a:gd name="connsiteX175" fmla="*/ 3139440 w 3505200"/>
              <a:gd name="connsiteY175" fmla="*/ 1869440 h 8260080"/>
              <a:gd name="connsiteX176" fmla="*/ 3281680 w 3505200"/>
              <a:gd name="connsiteY176" fmla="*/ 1950720 h 8260080"/>
              <a:gd name="connsiteX177" fmla="*/ 3403600 w 3505200"/>
              <a:gd name="connsiteY177" fmla="*/ 1889760 h 8260080"/>
              <a:gd name="connsiteX178" fmla="*/ 3505200 w 3505200"/>
              <a:gd name="connsiteY178" fmla="*/ 1910080 h 8260080"/>
              <a:gd name="connsiteX179" fmla="*/ 3444240 w 3505200"/>
              <a:gd name="connsiteY179" fmla="*/ 1656080 h 8260080"/>
              <a:gd name="connsiteX180" fmla="*/ 3373120 w 3505200"/>
              <a:gd name="connsiteY180" fmla="*/ 1635760 h 8260080"/>
              <a:gd name="connsiteX181" fmla="*/ 3352800 w 3505200"/>
              <a:gd name="connsiteY181" fmla="*/ 1503680 h 8260080"/>
              <a:gd name="connsiteX182" fmla="*/ 3444240 w 3505200"/>
              <a:gd name="connsiteY182" fmla="*/ 1412240 h 8260080"/>
              <a:gd name="connsiteX183" fmla="*/ 3393440 w 3505200"/>
              <a:gd name="connsiteY183" fmla="*/ 1280160 h 8260080"/>
              <a:gd name="connsiteX184" fmla="*/ 3434080 w 3505200"/>
              <a:gd name="connsiteY184" fmla="*/ 1249680 h 8260080"/>
              <a:gd name="connsiteX185" fmla="*/ 3281680 w 3505200"/>
              <a:gd name="connsiteY185" fmla="*/ 1066800 h 8260080"/>
              <a:gd name="connsiteX186" fmla="*/ 3383280 w 3505200"/>
              <a:gd name="connsiteY186" fmla="*/ 975360 h 8260080"/>
              <a:gd name="connsiteX187" fmla="*/ 3302000 w 3505200"/>
              <a:gd name="connsiteY187" fmla="*/ 924560 h 8260080"/>
              <a:gd name="connsiteX188" fmla="*/ 3190240 w 3505200"/>
              <a:gd name="connsiteY188" fmla="*/ 944880 h 8260080"/>
              <a:gd name="connsiteX189" fmla="*/ 3281680 w 3505200"/>
              <a:gd name="connsiteY189" fmla="*/ 792480 h 8260080"/>
              <a:gd name="connsiteX190" fmla="*/ 3210560 w 3505200"/>
              <a:gd name="connsiteY190" fmla="*/ 650240 h 8260080"/>
              <a:gd name="connsiteX191" fmla="*/ 3302000 w 3505200"/>
              <a:gd name="connsiteY191" fmla="*/ 568960 h 8260080"/>
              <a:gd name="connsiteX192" fmla="*/ 3190240 w 3505200"/>
              <a:gd name="connsiteY192" fmla="*/ 487680 h 8260080"/>
              <a:gd name="connsiteX193" fmla="*/ 3108960 w 3505200"/>
              <a:gd name="connsiteY193" fmla="*/ 528320 h 8260080"/>
              <a:gd name="connsiteX194" fmla="*/ 3108960 w 3505200"/>
              <a:gd name="connsiteY194" fmla="*/ 406400 h 8260080"/>
              <a:gd name="connsiteX195" fmla="*/ 2926080 w 3505200"/>
              <a:gd name="connsiteY195" fmla="*/ 314960 h 8260080"/>
              <a:gd name="connsiteX196" fmla="*/ 2834640 w 3505200"/>
              <a:gd name="connsiteY196" fmla="*/ 355600 h 8260080"/>
              <a:gd name="connsiteX197" fmla="*/ 2682240 w 3505200"/>
              <a:gd name="connsiteY197" fmla="*/ 111760 h 8260080"/>
              <a:gd name="connsiteX198" fmla="*/ 2590800 w 3505200"/>
              <a:gd name="connsiteY198" fmla="*/ 121920 h 8260080"/>
              <a:gd name="connsiteX199" fmla="*/ 2611120 w 3505200"/>
              <a:gd name="connsiteY199" fmla="*/ 0 h 8260080"/>
              <a:gd name="connsiteX200" fmla="*/ 2438400 w 3505200"/>
              <a:gd name="connsiteY200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04861 w 3505200"/>
              <a:gd name="connsiteY70" fmla="*/ 65838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190574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208037 w 3505200"/>
              <a:gd name="connsiteY71" fmla="*/ 6676677 h 8260080"/>
              <a:gd name="connsiteX72" fmla="*/ 171524 w 3505200"/>
              <a:gd name="connsiteY72" fmla="*/ 6726684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208037 w 3505200"/>
              <a:gd name="connsiteY71" fmla="*/ 6676677 h 8260080"/>
              <a:gd name="connsiteX72" fmla="*/ 192162 w 3505200"/>
              <a:gd name="connsiteY72" fmla="*/ 6740971 h 8260080"/>
              <a:gd name="connsiteX73" fmla="*/ 138112 w 3505200"/>
              <a:gd name="connsiteY73" fmla="*/ 67671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208037 w 3505200"/>
              <a:gd name="connsiteY71" fmla="*/ 6676677 h 8260080"/>
              <a:gd name="connsiteX72" fmla="*/ 192162 w 3505200"/>
              <a:gd name="connsiteY72" fmla="*/ 6740971 h 8260080"/>
              <a:gd name="connsiteX73" fmla="*/ 166687 w 3505200"/>
              <a:gd name="connsiteY73" fmla="*/ 6779894 h 8260080"/>
              <a:gd name="connsiteX74" fmla="*/ 150093 w 3505200"/>
              <a:gd name="connsiteY74" fmla="*/ 6845746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208037 w 3505200"/>
              <a:gd name="connsiteY71" fmla="*/ 6676677 h 8260080"/>
              <a:gd name="connsiteX72" fmla="*/ 192162 w 3505200"/>
              <a:gd name="connsiteY72" fmla="*/ 6740971 h 8260080"/>
              <a:gd name="connsiteX73" fmla="*/ 166687 w 3505200"/>
              <a:gd name="connsiteY73" fmla="*/ 6779894 h 8260080"/>
              <a:gd name="connsiteX74" fmla="*/ 178668 w 3505200"/>
              <a:gd name="connsiteY74" fmla="*/ 6837808 h 8260080"/>
              <a:gd name="connsiteX75" fmla="*/ 195337 w 3505200"/>
              <a:gd name="connsiteY75" fmla="*/ 6907659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208037 w 3505200"/>
              <a:gd name="connsiteY71" fmla="*/ 6676677 h 8260080"/>
              <a:gd name="connsiteX72" fmla="*/ 192162 w 3505200"/>
              <a:gd name="connsiteY72" fmla="*/ 6740971 h 8260080"/>
              <a:gd name="connsiteX73" fmla="*/ 166687 w 3505200"/>
              <a:gd name="connsiteY73" fmla="*/ 6779894 h 8260080"/>
              <a:gd name="connsiteX74" fmla="*/ 178668 w 3505200"/>
              <a:gd name="connsiteY74" fmla="*/ 6837808 h 8260080"/>
              <a:gd name="connsiteX75" fmla="*/ 217562 w 3505200"/>
              <a:gd name="connsiteY75" fmla="*/ 6893371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0582 w 3505200"/>
              <a:gd name="connsiteY79" fmla="*/ 7079109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  <a:gd name="connsiteX0" fmla="*/ 2438400 w 3505200"/>
              <a:gd name="connsiteY0" fmla="*/ 0 h 8260080"/>
              <a:gd name="connsiteX1" fmla="*/ 2499360 w 3505200"/>
              <a:gd name="connsiteY1" fmla="*/ 132080 h 8260080"/>
              <a:gd name="connsiteX2" fmla="*/ 2438400 w 3505200"/>
              <a:gd name="connsiteY2" fmla="*/ 325120 h 8260080"/>
              <a:gd name="connsiteX3" fmla="*/ 2499360 w 3505200"/>
              <a:gd name="connsiteY3" fmla="*/ 365760 h 8260080"/>
              <a:gd name="connsiteX4" fmla="*/ 2407920 w 3505200"/>
              <a:gd name="connsiteY4" fmla="*/ 436880 h 8260080"/>
              <a:gd name="connsiteX5" fmla="*/ 2204720 w 3505200"/>
              <a:gd name="connsiteY5" fmla="*/ 335280 h 8260080"/>
              <a:gd name="connsiteX6" fmla="*/ 2143760 w 3505200"/>
              <a:gd name="connsiteY6" fmla="*/ 375920 h 8260080"/>
              <a:gd name="connsiteX7" fmla="*/ 2072640 w 3505200"/>
              <a:gd name="connsiteY7" fmla="*/ 284480 h 8260080"/>
              <a:gd name="connsiteX8" fmla="*/ 1991360 w 3505200"/>
              <a:gd name="connsiteY8" fmla="*/ 335280 h 8260080"/>
              <a:gd name="connsiteX9" fmla="*/ 1991360 w 3505200"/>
              <a:gd name="connsiteY9" fmla="*/ 508000 h 8260080"/>
              <a:gd name="connsiteX10" fmla="*/ 2042160 w 3505200"/>
              <a:gd name="connsiteY10" fmla="*/ 599440 h 8260080"/>
              <a:gd name="connsiteX11" fmla="*/ 1981200 w 3505200"/>
              <a:gd name="connsiteY11" fmla="*/ 701040 h 8260080"/>
              <a:gd name="connsiteX12" fmla="*/ 1838960 w 3505200"/>
              <a:gd name="connsiteY12" fmla="*/ 599440 h 8260080"/>
              <a:gd name="connsiteX13" fmla="*/ 1778000 w 3505200"/>
              <a:gd name="connsiteY13" fmla="*/ 680720 h 8260080"/>
              <a:gd name="connsiteX14" fmla="*/ 1717040 w 3505200"/>
              <a:gd name="connsiteY14" fmla="*/ 721360 h 8260080"/>
              <a:gd name="connsiteX15" fmla="*/ 1676400 w 3505200"/>
              <a:gd name="connsiteY15" fmla="*/ 853440 h 8260080"/>
              <a:gd name="connsiteX16" fmla="*/ 1625600 w 3505200"/>
              <a:gd name="connsiteY16" fmla="*/ 965200 h 8260080"/>
              <a:gd name="connsiteX17" fmla="*/ 1564640 w 3505200"/>
              <a:gd name="connsiteY17" fmla="*/ 1005840 h 8260080"/>
              <a:gd name="connsiteX18" fmla="*/ 1635760 w 3505200"/>
              <a:gd name="connsiteY18" fmla="*/ 1188720 h 8260080"/>
              <a:gd name="connsiteX19" fmla="*/ 1605280 w 3505200"/>
              <a:gd name="connsiteY19" fmla="*/ 1300480 h 8260080"/>
              <a:gd name="connsiteX20" fmla="*/ 1361440 w 3505200"/>
              <a:gd name="connsiteY20" fmla="*/ 1595120 h 8260080"/>
              <a:gd name="connsiteX21" fmla="*/ 1391920 w 3505200"/>
              <a:gd name="connsiteY21" fmla="*/ 1727200 h 8260080"/>
              <a:gd name="connsiteX22" fmla="*/ 1239520 w 3505200"/>
              <a:gd name="connsiteY22" fmla="*/ 1808480 h 8260080"/>
              <a:gd name="connsiteX23" fmla="*/ 1117600 w 3505200"/>
              <a:gd name="connsiteY23" fmla="*/ 1828800 h 8260080"/>
              <a:gd name="connsiteX24" fmla="*/ 1178560 w 3505200"/>
              <a:gd name="connsiteY24" fmla="*/ 1950720 h 8260080"/>
              <a:gd name="connsiteX25" fmla="*/ 1127760 w 3505200"/>
              <a:gd name="connsiteY25" fmla="*/ 2133600 h 8260080"/>
              <a:gd name="connsiteX26" fmla="*/ 1168400 w 3505200"/>
              <a:gd name="connsiteY26" fmla="*/ 2214880 h 8260080"/>
              <a:gd name="connsiteX27" fmla="*/ 1076960 w 3505200"/>
              <a:gd name="connsiteY27" fmla="*/ 2428240 h 8260080"/>
              <a:gd name="connsiteX28" fmla="*/ 894080 w 3505200"/>
              <a:gd name="connsiteY28" fmla="*/ 2743200 h 8260080"/>
              <a:gd name="connsiteX29" fmla="*/ 1026160 w 3505200"/>
              <a:gd name="connsiteY29" fmla="*/ 2814320 h 8260080"/>
              <a:gd name="connsiteX30" fmla="*/ 1016000 w 3505200"/>
              <a:gd name="connsiteY30" fmla="*/ 3007360 h 8260080"/>
              <a:gd name="connsiteX31" fmla="*/ 1005840 w 3505200"/>
              <a:gd name="connsiteY31" fmla="*/ 3098800 h 8260080"/>
              <a:gd name="connsiteX32" fmla="*/ 772160 w 3505200"/>
              <a:gd name="connsiteY32" fmla="*/ 3048000 h 8260080"/>
              <a:gd name="connsiteX33" fmla="*/ 619760 w 3505200"/>
              <a:gd name="connsiteY33" fmla="*/ 3108960 h 8260080"/>
              <a:gd name="connsiteX34" fmla="*/ 467360 w 3505200"/>
              <a:gd name="connsiteY34" fmla="*/ 3342640 h 8260080"/>
              <a:gd name="connsiteX35" fmla="*/ 538480 w 3505200"/>
              <a:gd name="connsiteY35" fmla="*/ 3393440 h 8260080"/>
              <a:gd name="connsiteX36" fmla="*/ 426720 w 3505200"/>
              <a:gd name="connsiteY36" fmla="*/ 3474720 h 8260080"/>
              <a:gd name="connsiteX37" fmla="*/ 508000 w 3505200"/>
              <a:gd name="connsiteY37" fmla="*/ 3667760 h 8260080"/>
              <a:gd name="connsiteX38" fmla="*/ 436880 w 3505200"/>
              <a:gd name="connsiteY38" fmla="*/ 3728720 h 8260080"/>
              <a:gd name="connsiteX39" fmla="*/ 487680 w 3505200"/>
              <a:gd name="connsiteY39" fmla="*/ 3840480 h 8260080"/>
              <a:gd name="connsiteX40" fmla="*/ 416560 w 3505200"/>
              <a:gd name="connsiteY40" fmla="*/ 3942080 h 8260080"/>
              <a:gd name="connsiteX41" fmla="*/ 528320 w 3505200"/>
              <a:gd name="connsiteY41" fmla="*/ 4114800 h 8260080"/>
              <a:gd name="connsiteX42" fmla="*/ 406400 w 3505200"/>
              <a:gd name="connsiteY42" fmla="*/ 4450080 h 8260080"/>
              <a:gd name="connsiteX43" fmla="*/ 518160 w 3505200"/>
              <a:gd name="connsiteY43" fmla="*/ 4551680 h 8260080"/>
              <a:gd name="connsiteX44" fmla="*/ 629920 w 3505200"/>
              <a:gd name="connsiteY44" fmla="*/ 4643120 h 8260080"/>
              <a:gd name="connsiteX45" fmla="*/ 579120 w 3505200"/>
              <a:gd name="connsiteY45" fmla="*/ 4846320 h 8260080"/>
              <a:gd name="connsiteX46" fmla="*/ 447040 w 3505200"/>
              <a:gd name="connsiteY46" fmla="*/ 4886960 h 8260080"/>
              <a:gd name="connsiteX47" fmla="*/ 416560 w 3505200"/>
              <a:gd name="connsiteY47" fmla="*/ 5008880 h 8260080"/>
              <a:gd name="connsiteX48" fmla="*/ 528320 w 3505200"/>
              <a:gd name="connsiteY48" fmla="*/ 5151120 h 8260080"/>
              <a:gd name="connsiteX49" fmla="*/ 528320 w 3505200"/>
              <a:gd name="connsiteY49" fmla="*/ 5262880 h 8260080"/>
              <a:gd name="connsiteX50" fmla="*/ 457200 w 3505200"/>
              <a:gd name="connsiteY50" fmla="*/ 5303520 h 8260080"/>
              <a:gd name="connsiteX51" fmla="*/ 518160 w 3505200"/>
              <a:gd name="connsiteY51" fmla="*/ 5374640 h 8260080"/>
              <a:gd name="connsiteX52" fmla="*/ 365760 w 3505200"/>
              <a:gd name="connsiteY52" fmla="*/ 5547360 h 8260080"/>
              <a:gd name="connsiteX53" fmla="*/ 274320 w 3505200"/>
              <a:gd name="connsiteY53" fmla="*/ 5516880 h 8260080"/>
              <a:gd name="connsiteX54" fmla="*/ 274320 w 3505200"/>
              <a:gd name="connsiteY54" fmla="*/ 5628640 h 8260080"/>
              <a:gd name="connsiteX55" fmla="*/ 203200 w 3505200"/>
              <a:gd name="connsiteY55" fmla="*/ 5720080 h 8260080"/>
              <a:gd name="connsiteX56" fmla="*/ 254000 w 3505200"/>
              <a:gd name="connsiteY56" fmla="*/ 5821680 h 8260080"/>
              <a:gd name="connsiteX57" fmla="*/ 213360 w 3505200"/>
              <a:gd name="connsiteY57" fmla="*/ 5974080 h 8260080"/>
              <a:gd name="connsiteX58" fmla="*/ 193040 w 3505200"/>
              <a:gd name="connsiteY58" fmla="*/ 6106160 h 8260080"/>
              <a:gd name="connsiteX59" fmla="*/ 172720 w 3505200"/>
              <a:gd name="connsiteY59" fmla="*/ 6167120 h 8260080"/>
              <a:gd name="connsiteX60" fmla="*/ 121920 w 3505200"/>
              <a:gd name="connsiteY60" fmla="*/ 6116320 h 8260080"/>
              <a:gd name="connsiteX61" fmla="*/ 121920 w 3505200"/>
              <a:gd name="connsiteY61" fmla="*/ 6024880 h 8260080"/>
              <a:gd name="connsiteX62" fmla="*/ 60960 w 3505200"/>
              <a:gd name="connsiteY62" fmla="*/ 5994400 h 8260080"/>
              <a:gd name="connsiteX63" fmla="*/ 0 w 3505200"/>
              <a:gd name="connsiteY63" fmla="*/ 6085840 h 8260080"/>
              <a:gd name="connsiteX64" fmla="*/ 50800 w 3505200"/>
              <a:gd name="connsiteY64" fmla="*/ 6268720 h 8260080"/>
              <a:gd name="connsiteX65" fmla="*/ 40640 w 3505200"/>
              <a:gd name="connsiteY65" fmla="*/ 6421120 h 8260080"/>
              <a:gd name="connsiteX66" fmla="*/ 101600 w 3505200"/>
              <a:gd name="connsiteY66" fmla="*/ 6451600 h 8260080"/>
              <a:gd name="connsiteX67" fmla="*/ 172720 w 3505200"/>
              <a:gd name="connsiteY67" fmla="*/ 6400800 h 8260080"/>
              <a:gd name="connsiteX68" fmla="*/ 81280 w 3505200"/>
              <a:gd name="connsiteY68" fmla="*/ 6492240 h 8260080"/>
              <a:gd name="connsiteX69" fmla="*/ 252730 w 3505200"/>
              <a:gd name="connsiteY69" fmla="*/ 6538278 h 8260080"/>
              <a:gd name="connsiteX70" fmla="*/ 212799 w 3505200"/>
              <a:gd name="connsiteY70" fmla="*/ 6609208 h 8260080"/>
              <a:gd name="connsiteX71" fmla="*/ 208037 w 3505200"/>
              <a:gd name="connsiteY71" fmla="*/ 6676677 h 8260080"/>
              <a:gd name="connsiteX72" fmla="*/ 192162 w 3505200"/>
              <a:gd name="connsiteY72" fmla="*/ 6740971 h 8260080"/>
              <a:gd name="connsiteX73" fmla="*/ 166687 w 3505200"/>
              <a:gd name="connsiteY73" fmla="*/ 6779894 h 8260080"/>
              <a:gd name="connsiteX74" fmla="*/ 178668 w 3505200"/>
              <a:gd name="connsiteY74" fmla="*/ 6837808 h 8260080"/>
              <a:gd name="connsiteX75" fmla="*/ 217562 w 3505200"/>
              <a:gd name="connsiteY75" fmla="*/ 6893371 h 8260080"/>
              <a:gd name="connsiteX76" fmla="*/ 240029 w 3505200"/>
              <a:gd name="connsiteY76" fmla="*/ 6950868 h 8260080"/>
              <a:gd name="connsiteX77" fmla="*/ 240581 w 3505200"/>
              <a:gd name="connsiteY77" fmla="*/ 6950522 h 8260080"/>
              <a:gd name="connsiteX78" fmla="*/ 262012 w 3505200"/>
              <a:gd name="connsiteY78" fmla="*/ 7020371 h 8260080"/>
              <a:gd name="connsiteX79" fmla="*/ 245345 w 3505200"/>
              <a:gd name="connsiteY79" fmla="*/ 7074347 h 8260080"/>
              <a:gd name="connsiteX80" fmla="*/ 280829 w 3505200"/>
              <a:gd name="connsiteY80" fmla="*/ 7148354 h 8260080"/>
              <a:gd name="connsiteX81" fmla="*/ 242962 w 3505200"/>
              <a:gd name="connsiteY81" fmla="*/ 7226746 h 8260080"/>
              <a:gd name="connsiteX82" fmla="*/ 282892 w 3505200"/>
              <a:gd name="connsiteY82" fmla="*/ 7300436 h 8260080"/>
              <a:gd name="connsiteX83" fmla="*/ 310833 w 3505200"/>
              <a:gd name="connsiteY83" fmla="*/ 7299484 h 8260080"/>
              <a:gd name="connsiteX84" fmla="*/ 319162 w 3505200"/>
              <a:gd name="connsiteY84" fmla="*/ 7310089 h 8260080"/>
              <a:gd name="connsiteX85" fmla="*/ 337026 w 3505200"/>
              <a:gd name="connsiteY85" fmla="*/ 7316154 h 8260080"/>
              <a:gd name="connsiteX86" fmla="*/ 370364 w 3505200"/>
              <a:gd name="connsiteY86" fmla="*/ 7360602 h 8260080"/>
              <a:gd name="connsiteX87" fmla="*/ 447040 w 3505200"/>
              <a:gd name="connsiteY87" fmla="*/ 7366000 h 8260080"/>
              <a:gd name="connsiteX88" fmla="*/ 447040 w 3505200"/>
              <a:gd name="connsiteY88" fmla="*/ 7477760 h 8260080"/>
              <a:gd name="connsiteX89" fmla="*/ 558800 w 3505200"/>
              <a:gd name="connsiteY89" fmla="*/ 7528560 h 8260080"/>
              <a:gd name="connsiteX90" fmla="*/ 508000 w 3505200"/>
              <a:gd name="connsiteY90" fmla="*/ 7630160 h 8260080"/>
              <a:gd name="connsiteX91" fmla="*/ 436880 w 3505200"/>
              <a:gd name="connsiteY91" fmla="*/ 7609840 h 8260080"/>
              <a:gd name="connsiteX92" fmla="*/ 447040 w 3505200"/>
              <a:gd name="connsiteY92" fmla="*/ 7691120 h 8260080"/>
              <a:gd name="connsiteX93" fmla="*/ 518160 w 3505200"/>
              <a:gd name="connsiteY93" fmla="*/ 7741920 h 8260080"/>
              <a:gd name="connsiteX94" fmla="*/ 457200 w 3505200"/>
              <a:gd name="connsiteY94" fmla="*/ 7792720 h 8260080"/>
              <a:gd name="connsiteX95" fmla="*/ 396240 w 3505200"/>
              <a:gd name="connsiteY95" fmla="*/ 7701280 h 8260080"/>
              <a:gd name="connsiteX96" fmla="*/ 396240 w 3505200"/>
              <a:gd name="connsiteY96" fmla="*/ 7701280 h 8260080"/>
              <a:gd name="connsiteX97" fmla="*/ 436880 w 3505200"/>
              <a:gd name="connsiteY97" fmla="*/ 7874000 h 8260080"/>
              <a:gd name="connsiteX98" fmla="*/ 436880 w 3505200"/>
              <a:gd name="connsiteY98" fmla="*/ 7924800 h 8260080"/>
              <a:gd name="connsiteX99" fmla="*/ 548640 w 3505200"/>
              <a:gd name="connsiteY99" fmla="*/ 7965440 h 8260080"/>
              <a:gd name="connsiteX100" fmla="*/ 508000 w 3505200"/>
              <a:gd name="connsiteY100" fmla="*/ 8016240 h 8260080"/>
              <a:gd name="connsiteX101" fmla="*/ 589280 w 3505200"/>
              <a:gd name="connsiteY101" fmla="*/ 8056880 h 8260080"/>
              <a:gd name="connsiteX102" fmla="*/ 497840 w 3505200"/>
              <a:gd name="connsiteY102" fmla="*/ 8117840 h 8260080"/>
              <a:gd name="connsiteX103" fmla="*/ 518160 w 3505200"/>
              <a:gd name="connsiteY103" fmla="*/ 8209280 h 8260080"/>
              <a:gd name="connsiteX104" fmla="*/ 640080 w 3505200"/>
              <a:gd name="connsiteY104" fmla="*/ 8260080 h 8260080"/>
              <a:gd name="connsiteX105" fmla="*/ 731520 w 3505200"/>
              <a:gd name="connsiteY105" fmla="*/ 8219440 h 8260080"/>
              <a:gd name="connsiteX106" fmla="*/ 853440 w 3505200"/>
              <a:gd name="connsiteY106" fmla="*/ 8209280 h 8260080"/>
              <a:gd name="connsiteX107" fmla="*/ 955040 w 3505200"/>
              <a:gd name="connsiteY107" fmla="*/ 8260080 h 8260080"/>
              <a:gd name="connsiteX108" fmla="*/ 965200 w 3505200"/>
              <a:gd name="connsiteY108" fmla="*/ 8107680 h 8260080"/>
              <a:gd name="connsiteX109" fmla="*/ 894080 w 3505200"/>
              <a:gd name="connsiteY109" fmla="*/ 8026400 h 8260080"/>
              <a:gd name="connsiteX110" fmla="*/ 1016000 w 3505200"/>
              <a:gd name="connsiteY110" fmla="*/ 7863840 h 8260080"/>
              <a:gd name="connsiteX111" fmla="*/ 1107440 w 3505200"/>
              <a:gd name="connsiteY111" fmla="*/ 7894320 h 8260080"/>
              <a:gd name="connsiteX112" fmla="*/ 1127760 w 3505200"/>
              <a:gd name="connsiteY112" fmla="*/ 7853680 h 8260080"/>
              <a:gd name="connsiteX113" fmla="*/ 1066800 w 3505200"/>
              <a:gd name="connsiteY113" fmla="*/ 7813040 h 8260080"/>
              <a:gd name="connsiteX114" fmla="*/ 1137920 w 3505200"/>
              <a:gd name="connsiteY114" fmla="*/ 7762240 h 8260080"/>
              <a:gd name="connsiteX115" fmla="*/ 1330960 w 3505200"/>
              <a:gd name="connsiteY115" fmla="*/ 7802880 h 8260080"/>
              <a:gd name="connsiteX116" fmla="*/ 1361440 w 3505200"/>
              <a:gd name="connsiteY116" fmla="*/ 7772400 h 8260080"/>
              <a:gd name="connsiteX117" fmla="*/ 1483360 w 3505200"/>
              <a:gd name="connsiteY117" fmla="*/ 7823200 h 8260080"/>
              <a:gd name="connsiteX118" fmla="*/ 1554480 w 3505200"/>
              <a:gd name="connsiteY118" fmla="*/ 7731760 h 8260080"/>
              <a:gd name="connsiteX119" fmla="*/ 1524000 w 3505200"/>
              <a:gd name="connsiteY119" fmla="*/ 7640320 h 8260080"/>
              <a:gd name="connsiteX120" fmla="*/ 1645920 w 3505200"/>
              <a:gd name="connsiteY120" fmla="*/ 7437120 h 8260080"/>
              <a:gd name="connsiteX121" fmla="*/ 1635760 w 3505200"/>
              <a:gd name="connsiteY121" fmla="*/ 7335520 h 8260080"/>
              <a:gd name="connsiteX122" fmla="*/ 1696720 w 3505200"/>
              <a:gd name="connsiteY122" fmla="*/ 7223760 h 8260080"/>
              <a:gd name="connsiteX123" fmla="*/ 1625600 w 3505200"/>
              <a:gd name="connsiteY123" fmla="*/ 7172960 h 8260080"/>
              <a:gd name="connsiteX124" fmla="*/ 1747520 w 3505200"/>
              <a:gd name="connsiteY124" fmla="*/ 6990080 h 8260080"/>
              <a:gd name="connsiteX125" fmla="*/ 1666240 w 3505200"/>
              <a:gd name="connsiteY125" fmla="*/ 6939280 h 8260080"/>
              <a:gd name="connsiteX126" fmla="*/ 1737360 w 3505200"/>
              <a:gd name="connsiteY126" fmla="*/ 6888480 h 8260080"/>
              <a:gd name="connsiteX127" fmla="*/ 1645920 w 3505200"/>
              <a:gd name="connsiteY127" fmla="*/ 6776720 h 8260080"/>
              <a:gd name="connsiteX128" fmla="*/ 1808480 w 3505200"/>
              <a:gd name="connsiteY128" fmla="*/ 6715760 h 8260080"/>
              <a:gd name="connsiteX129" fmla="*/ 1727200 w 3505200"/>
              <a:gd name="connsiteY129" fmla="*/ 6614160 h 8260080"/>
              <a:gd name="connsiteX130" fmla="*/ 1686560 w 3505200"/>
              <a:gd name="connsiteY130" fmla="*/ 6421120 h 8260080"/>
              <a:gd name="connsiteX131" fmla="*/ 1889760 w 3505200"/>
              <a:gd name="connsiteY131" fmla="*/ 6299200 h 8260080"/>
              <a:gd name="connsiteX132" fmla="*/ 1940560 w 3505200"/>
              <a:gd name="connsiteY132" fmla="*/ 6228080 h 8260080"/>
              <a:gd name="connsiteX133" fmla="*/ 2032000 w 3505200"/>
              <a:gd name="connsiteY133" fmla="*/ 6136640 h 8260080"/>
              <a:gd name="connsiteX134" fmla="*/ 2011680 w 3505200"/>
              <a:gd name="connsiteY134" fmla="*/ 6014720 h 8260080"/>
              <a:gd name="connsiteX135" fmla="*/ 2123440 w 3505200"/>
              <a:gd name="connsiteY135" fmla="*/ 6065520 h 8260080"/>
              <a:gd name="connsiteX136" fmla="*/ 2092960 w 3505200"/>
              <a:gd name="connsiteY136" fmla="*/ 6167120 h 8260080"/>
              <a:gd name="connsiteX137" fmla="*/ 2286000 w 3505200"/>
              <a:gd name="connsiteY137" fmla="*/ 5933440 h 8260080"/>
              <a:gd name="connsiteX138" fmla="*/ 2255520 w 3505200"/>
              <a:gd name="connsiteY138" fmla="*/ 5801360 h 8260080"/>
              <a:gd name="connsiteX139" fmla="*/ 2448560 w 3505200"/>
              <a:gd name="connsiteY139" fmla="*/ 5598160 h 8260080"/>
              <a:gd name="connsiteX140" fmla="*/ 2357120 w 3505200"/>
              <a:gd name="connsiteY140" fmla="*/ 5435600 h 8260080"/>
              <a:gd name="connsiteX141" fmla="*/ 2225040 w 3505200"/>
              <a:gd name="connsiteY141" fmla="*/ 5415280 h 8260080"/>
              <a:gd name="connsiteX142" fmla="*/ 2103120 w 3505200"/>
              <a:gd name="connsiteY142" fmla="*/ 5222240 h 8260080"/>
              <a:gd name="connsiteX143" fmla="*/ 2092960 w 3505200"/>
              <a:gd name="connsiteY143" fmla="*/ 5110480 h 8260080"/>
              <a:gd name="connsiteX144" fmla="*/ 2052320 w 3505200"/>
              <a:gd name="connsiteY144" fmla="*/ 5151120 h 8260080"/>
              <a:gd name="connsiteX145" fmla="*/ 2042160 w 3505200"/>
              <a:gd name="connsiteY145" fmla="*/ 5242560 h 8260080"/>
              <a:gd name="connsiteX146" fmla="*/ 1981200 w 3505200"/>
              <a:gd name="connsiteY146" fmla="*/ 5191760 h 8260080"/>
              <a:gd name="connsiteX147" fmla="*/ 2011680 w 3505200"/>
              <a:gd name="connsiteY147" fmla="*/ 5120640 h 8260080"/>
              <a:gd name="connsiteX148" fmla="*/ 1930400 w 3505200"/>
              <a:gd name="connsiteY148" fmla="*/ 5100320 h 8260080"/>
              <a:gd name="connsiteX149" fmla="*/ 1859280 w 3505200"/>
              <a:gd name="connsiteY149" fmla="*/ 4917440 h 8260080"/>
              <a:gd name="connsiteX150" fmla="*/ 1828800 w 3505200"/>
              <a:gd name="connsiteY150" fmla="*/ 4622800 h 8260080"/>
              <a:gd name="connsiteX151" fmla="*/ 1910080 w 3505200"/>
              <a:gd name="connsiteY151" fmla="*/ 4419600 h 8260080"/>
              <a:gd name="connsiteX152" fmla="*/ 1920240 w 3505200"/>
              <a:gd name="connsiteY152" fmla="*/ 4277360 h 8260080"/>
              <a:gd name="connsiteX153" fmla="*/ 1971040 w 3505200"/>
              <a:gd name="connsiteY153" fmla="*/ 4124960 h 8260080"/>
              <a:gd name="connsiteX154" fmla="*/ 1879600 w 3505200"/>
              <a:gd name="connsiteY154" fmla="*/ 4023360 h 8260080"/>
              <a:gd name="connsiteX155" fmla="*/ 2072640 w 3505200"/>
              <a:gd name="connsiteY155" fmla="*/ 4003040 h 8260080"/>
              <a:gd name="connsiteX156" fmla="*/ 2092960 w 3505200"/>
              <a:gd name="connsiteY156" fmla="*/ 3850640 h 8260080"/>
              <a:gd name="connsiteX157" fmla="*/ 2001520 w 3505200"/>
              <a:gd name="connsiteY157" fmla="*/ 3728720 h 8260080"/>
              <a:gd name="connsiteX158" fmla="*/ 2164080 w 3505200"/>
              <a:gd name="connsiteY158" fmla="*/ 3769360 h 8260080"/>
              <a:gd name="connsiteX159" fmla="*/ 2265680 w 3505200"/>
              <a:gd name="connsiteY159" fmla="*/ 3566160 h 8260080"/>
              <a:gd name="connsiteX160" fmla="*/ 2336800 w 3505200"/>
              <a:gd name="connsiteY160" fmla="*/ 3515360 h 8260080"/>
              <a:gd name="connsiteX161" fmla="*/ 2367280 w 3505200"/>
              <a:gd name="connsiteY161" fmla="*/ 3362960 h 8260080"/>
              <a:gd name="connsiteX162" fmla="*/ 2489200 w 3505200"/>
              <a:gd name="connsiteY162" fmla="*/ 3423920 h 8260080"/>
              <a:gd name="connsiteX163" fmla="*/ 2560320 w 3505200"/>
              <a:gd name="connsiteY163" fmla="*/ 3302000 h 8260080"/>
              <a:gd name="connsiteX164" fmla="*/ 2743200 w 3505200"/>
              <a:gd name="connsiteY164" fmla="*/ 3149600 h 8260080"/>
              <a:gd name="connsiteX165" fmla="*/ 2844800 w 3505200"/>
              <a:gd name="connsiteY165" fmla="*/ 3088640 h 8260080"/>
              <a:gd name="connsiteX166" fmla="*/ 2804160 w 3505200"/>
              <a:gd name="connsiteY166" fmla="*/ 2966720 h 8260080"/>
              <a:gd name="connsiteX167" fmla="*/ 2976880 w 3505200"/>
              <a:gd name="connsiteY167" fmla="*/ 2763520 h 8260080"/>
              <a:gd name="connsiteX168" fmla="*/ 2794000 w 3505200"/>
              <a:gd name="connsiteY168" fmla="*/ 2621280 h 8260080"/>
              <a:gd name="connsiteX169" fmla="*/ 2946400 w 3505200"/>
              <a:gd name="connsiteY169" fmla="*/ 2377440 h 8260080"/>
              <a:gd name="connsiteX170" fmla="*/ 2854960 w 3505200"/>
              <a:gd name="connsiteY170" fmla="*/ 2255520 h 8260080"/>
              <a:gd name="connsiteX171" fmla="*/ 3027680 w 3505200"/>
              <a:gd name="connsiteY171" fmla="*/ 2113280 h 8260080"/>
              <a:gd name="connsiteX172" fmla="*/ 3119120 w 3505200"/>
              <a:gd name="connsiteY172" fmla="*/ 2021840 h 8260080"/>
              <a:gd name="connsiteX173" fmla="*/ 3027680 w 3505200"/>
              <a:gd name="connsiteY173" fmla="*/ 1960880 h 8260080"/>
              <a:gd name="connsiteX174" fmla="*/ 3139440 w 3505200"/>
              <a:gd name="connsiteY174" fmla="*/ 1869440 h 8260080"/>
              <a:gd name="connsiteX175" fmla="*/ 3281680 w 3505200"/>
              <a:gd name="connsiteY175" fmla="*/ 1950720 h 8260080"/>
              <a:gd name="connsiteX176" fmla="*/ 3403600 w 3505200"/>
              <a:gd name="connsiteY176" fmla="*/ 1889760 h 8260080"/>
              <a:gd name="connsiteX177" fmla="*/ 3505200 w 3505200"/>
              <a:gd name="connsiteY177" fmla="*/ 1910080 h 8260080"/>
              <a:gd name="connsiteX178" fmla="*/ 3444240 w 3505200"/>
              <a:gd name="connsiteY178" fmla="*/ 1656080 h 8260080"/>
              <a:gd name="connsiteX179" fmla="*/ 3373120 w 3505200"/>
              <a:gd name="connsiteY179" fmla="*/ 1635760 h 8260080"/>
              <a:gd name="connsiteX180" fmla="*/ 3352800 w 3505200"/>
              <a:gd name="connsiteY180" fmla="*/ 1503680 h 8260080"/>
              <a:gd name="connsiteX181" fmla="*/ 3444240 w 3505200"/>
              <a:gd name="connsiteY181" fmla="*/ 1412240 h 8260080"/>
              <a:gd name="connsiteX182" fmla="*/ 3393440 w 3505200"/>
              <a:gd name="connsiteY182" fmla="*/ 1280160 h 8260080"/>
              <a:gd name="connsiteX183" fmla="*/ 3434080 w 3505200"/>
              <a:gd name="connsiteY183" fmla="*/ 1249680 h 8260080"/>
              <a:gd name="connsiteX184" fmla="*/ 3281680 w 3505200"/>
              <a:gd name="connsiteY184" fmla="*/ 1066800 h 8260080"/>
              <a:gd name="connsiteX185" fmla="*/ 3383280 w 3505200"/>
              <a:gd name="connsiteY185" fmla="*/ 975360 h 8260080"/>
              <a:gd name="connsiteX186" fmla="*/ 3302000 w 3505200"/>
              <a:gd name="connsiteY186" fmla="*/ 924560 h 8260080"/>
              <a:gd name="connsiteX187" fmla="*/ 3190240 w 3505200"/>
              <a:gd name="connsiteY187" fmla="*/ 944880 h 8260080"/>
              <a:gd name="connsiteX188" fmla="*/ 3281680 w 3505200"/>
              <a:gd name="connsiteY188" fmla="*/ 792480 h 8260080"/>
              <a:gd name="connsiteX189" fmla="*/ 3210560 w 3505200"/>
              <a:gd name="connsiteY189" fmla="*/ 650240 h 8260080"/>
              <a:gd name="connsiteX190" fmla="*/ 3302000 w 3505200"/>
              <a:gd name="connsiteY190" fmla="*/ 568960 h 8260080"/>
              <a:gd name="connsiteX191" fmla="*/ 3190240 w 3505200"/>
              <a:gd name="connsiteY191" fmla="*/ 487680 h 8260080"/>
              <a:gd name="connsiteX192" fmla="*/ 3108960 w 3505200"/>
              <a:gd name="connsiteY192" fmla="*/ 528320 h 8260080"/>
              <a:gd name="connsiteX193" fmla="*/ 3108960 w 3505200"/>
              <a:gd name="connsiteY193" fmla="*/ 406400 h 8260080"/>
              <a:gd name="connsiteX194" fmla="*/ 2926080 w 3505200"/>
              <a:gd name="connsiteY194" fmla="*/ 314960 h 8260080"/>
              <a:gd name="connsiteX195" fmla="*/ 2834640 w 3505200"/>
              <a:gd name="connsiteY195" fmla="*/ 355600 h 8260080"/>
              <a:gd name="connsiteX196" fmla="*/ 2682240 w 3505200"/>
              <a:gd name="connsiteY196" fmla="*/ 111760 h 8260080"/>
              <a:gd name="connsiteX197" fmla="*/ 2590800 w 3505200"/>
              <a:gd name="connsiteY197" fmla="*/ 121920 h 8260080"/>
              <a:gd name="connsiteX198" fmla="*/ 2611120 w 3505200"/>
              <a:gd name="connsiteY198" fmla="*/ 0 h 8260080"/>
              <a:gd name="connsiteX199" fmla="*/ 2438400 w 3505200"/>
              <a:gd name="connsiteY199" fmla="*/ 0 h 8260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</a:cxnLst>
            <a:rect l="l" t="t" r="r" b="b"/>
            <a:pathLst>
              <a:path w="3505200" h="8260080">
                <a:moveTo>
                  <a:pt x="2438400" y="0"/>
                </a:moveTo>
                <a:lnTo>
                  <a:pt x="2499360" y="132080"/>
                </a:lnTo>
                <a:lnTo>
                  <a:pt x="2438400" y="325120"/>
                </a:lnTo>
                <a:lnTo>
                  <a:pt x="2499360" y="365760"/>
                </a:lnTo>
                <a:lnTo>
                  <a:pt x="2407920" y="436880"/>
                </a:lnTo>
                <a:lnTo>
                  <a:pt x="2204720" y="335280"/>
                </a:lnTo>
                <a:lnTo>
                  <a:pt x="2143760" y="375920"/>
                </a:lnTo>
                <a:lnTo>
                  <a:pt x="2072640" y="284480"/>
                </a:lnTo>
                <a:lnTo>
                  <a:pt x="1991360" y="335280"/>
                </a:lnTo>
                <a:lnTo>
                  <a:pt x="1991360" y="508000"/>
                </a:lnTo>
                <a:lnTo>
                  <a:pt x="2042160" y="599440"/>
                </a:lnTo>
                <a:lnTo>
                  <a:pt x="1981200" y="701040"/>
                </a:lnTo>
                <a:lnTo>
                  <a:pt x="1838960" y="599440"/>
                </a:lnTo>
                <a:lnTo>
                  <a:pt x="1778000" y="680720"/>
                </a:lnTo>
                <a:lnTo>
                  <a:pt x="1717040" y="721360"/>
                </a:lnTo>
                <a:lnTo>
                  <a:pt x="1676400" y="853440"/>
                </a:lnTo>
                <a:lnTo>
                  <a:pt x="1625600" y="965200"/>
                </a:lnTo>
                <a:lnTo>
                  <a:pt x="1564640" y="1005840"/>
                </a:lnTo>
                <a:lnTo>
                  <a:pt x="1635760" y="1188720"/>
                </a:lnTo>
                <a:lnTo>
                  <a:pt x="1605280" y="1300480"/>
                </a:lnTo>
                <a:lnTo>
                  <a:pt x="1361440" y="1595120"/>
                </a:lnTo>
                <a:lnTo>
                  <a:pt x="1391920" y="1727200"/>
                </a:lnTo>
                <a:lnTo>
                  <a:pt x="1239520" y="1808480"/>
                </a:lnTo>
                <a:lnTo>
                  <a:pt x="1117600" y="1828800"/>
                </a:lnTo>
                <a:lnTo>
                  <a:pt x="1178560" y="1950720"/>
                </a:lnTo>
                <a:lnTo>
                  <a:pt x="1127760" y="2133600"/>
                </a:lnTo>
                <a:lnTo>
                  <a:pt x="1168400" y="2214880"/>
                </a:lnTo>
                <a:lnTo>
                  <a:pt x="1076960" y="2428240"/>
                </a:lnTo>
                <a:lnTo>
                  <a:pt x="894080" y="2743200"/>
                </a:lnTo>
                <a:lnTo>
                  <a:pt x="1026160" y="2814320"/>
                </a:lnTo>
                <a:lnTo>
                  <a:pt x="1016000" y="3007360"/>
                </a:lnTo>
                <a:lnTo>
                  <a:pt x="1005840" y="3098800"/>
                </a:lnTo>
                <a:lnTo>
                  <a:pt x="772160" y="3048000"/>
                </a:lnTo>
                <a:lnTo>
                  <a:pt x="619760" y="3108960"/>
                </a:lnTo>
                <a:lnTo>
                  <a:pt x="467360" y="3342640"/>
                </a:lnTo>
                <a:lnTo>
                  <a:pt x="538480" y="3393440"/>
                </a:lnTo>
                <a:lnTo>
                  <a:pt x="426720" y="3474720"/>
                </a:lnTo>
                <a:lnTo>
                  <a:pt x="508000" y="3667760"/>
                </a:lnTo>
                <a:lnTo>
                  <a:pt x="436880" y="3728720"/>
                </a:lnTo>
                <a:lnTo>
                  <a:pt x="487680" y="3840480"/>
                </a:lnTo>
                <a:lnTo>
                  <a:pt x="416560" y="3942080"/>
                </a:lnTo>
                <a:lnTo>
                  <a:pt x="528320" y="4114800"/>
                </a:lnTo>
                <a:lnTo>
                  <a:pt x="406400" y="4450080"/>
                </a:lnTo>
                <a:lnTo>
                  <a:pt x="518160" y="4551680"/>
                </a:lnTo>
                <a:lnTo>
                  <a:pt x="629920" y="4643120"/>
                </a:lnTo>
                <a:lnTo>
                  <a:pt x="579120" y="4846320"/>
                </a:lnTo>
                <a:lnTo>
                  <a:pt x="447040" y="4886960"/>
                </a:lnTo>
                <a:lnTo>
                  <a:pt x="416560" y="5008880"/>
                </a:lnTo>
                <a:lnTo>
                  <a:pt x="528320" y="5151120"/>
                </a:lnTo>
                <a:lnTo>
                  <a:pt x="528320" y="5262880"/>
                </a:lnTo>
                <a:lnTo>
                  <a:pt x="457200" y="5303520"/>
                </a:lnTo>
                <a:lnTo>
                  <a:pt x="518160" y="5374640"/>
                </a:lnTo>
                <a:lnTo>
                  <a:pt x="365760" y="5547360"/>
                </a:lnTo>
                <a:lnTo>
                  <a:pt x="274320" y="5516880"/>
                </a:lnTo>
                <a:lnTo>
                  <a:pt x="274320" y="5628640"/>
                </a:lnTo>
                <a:lnTo>
                  <a:pt x="203200" y="5720080"/>
                </a:lnTo>
                <a:lnTo>
                  <a:pt x="254000" y="5821680"/>
                </a:lnTo>
                <a:lnTo>
                  <a:pt x="213360" y="5974080"/>
                </a:lnTo>
                <a:lnTo>
                  <a:pt x="193040" y="6106160"/>
                </a:lnTo>
                <a:lnTo>
                  <a:pt x="172720" y="6167120"/>
                </a:lnTo>
                <a:lnTo>
                  <a:pt x="121920" y="6116320"/>
                </a:lnTo>
                <a:lnTo>
                  <a:pt x="121920" y="6024880"/>
                </a:lnTo>
                <a:lnTo>
                  <a:pt x="60960" y="5994400"/>
                </a:lnTo>
                <a:lnTo>
                  <a:pt x="0" y="6085840"/>
                </a:lnTo>
                <a:lnTo>
                  <a:pt x="50800" y="6268720"/>
                </a:lnTo>
                <a:lnTo>
                  <a:pt x="40640" y="6421120"/>
                </a:lnTo>
                <a:lnTo>
                  <a:pt x="101600" y="6451600"/>
                </a:lnTo>
                <a:lnTo>
                  <a:pt x="172720" y="6400800"/>
                </a:lnTo>
                <a:lnTo>
                  <a:pt x="81280" y="6492240"/>
                </a:lnTo>
                <a:cubicBezTo>
                  <a:pt x="135255" y="6507586"/>
                  <a:pt x="198755" y="6522932"/>
                  <a:pt x="252730" y="6538278"/>
                </a:cubicBezTo>
                <a:cubicBezTo>
                  <a:pt x="271343" y="6570605"/>
                  <a:pt x="240237" y="6628206"/>
                  <a:pt x="212799" y="6609208"/>
                </a:cubicBezTo>
                <a:cubicBezTo>
                  <a:pt x="200058" y="6631084"/>
                  <a:pt x="219162" y="6646113"/>
                  <a:pt x="208037" y="6676677"/>
                </a:cubicBezTo>
                <a:cubicBezTo>
                  <a:pt x="198115" y="6699696"/>
                  <a:pt x="199054" y="6723768"/>
                  <a:pt x="192162" y="6740971"/>
                </a:cubicBezTo>
                <a:cubicBezTo>
                  <a:pt x="185270" y="6758174"/>
                  <a:pt x="168936" y="6763755"/>
                  <a:pt x="166687" y="6779894"/>
                </a:cubicBezTo>
                <a:cubicBezTo>
                  <a:pt x="164438" y="6796033"/>
                  <a:pt x="170189" y="6818895"/>
                  <a:pt x="178668" y="6837808"/>
                </a:cubicBezTo>
                <a:cubicBezTo>
                  <a:pt x="187147" y="6856721"/>
                  <a:pt x="207335" y="6874528"/>
                  <a:pt x="217562" y="6893371"/>
                </a:cubicBezTo>
                <a:cubicBezTo>
                  <a:pt x="227789" y="6912214"/>
                  <a:pt x="225754" y="6931257"/>
                  <a:pt x="240029" y="6950868"/>
                </a:cubicBezTo>
                <a:cubicBezTo>
                  <a:pt x="247570" y="6958012"/>
                  <a:pt x="236917" y="6938938"/>
                  <a:pt x="240581" y="6950522"/>
                </a:cubicBezTo>
                <a:cubicBezTo>
                  <a:pt x="244245" y="6962106"/>
                  <a:pt x="261218" y="6999734"/>
                  <a:pt x="262012" y="7020371"/>
                </a:cubicBezTo>
                <a:cubicBezTo>
                  <a:pt x="262806" y="7041008"/>
                  <a:pt x="238637" y="7054869"/>
                  <a:pt x="245345" y="7074347"/>
                </a:cubicBezTo>
                <a:cubicBezTo>
                  <a:pt x="258800" y="7091444"/>
                  <a:pt x="283607" y="7124145"/>
                  <a:pt x="280829" y="7148354"/>
                </a:cubicBezTo>
                <a:cubicBezTo>
                  <a:pt x="283288" y="7178454"/>
                  <a:pt x="240503" y="7196646"/>
                  <a:pt x="242962" y="7226746"/>
                </a:cubicBezTo>
                <a:lnTo>
                  <a:pt x="282892" y="7300436"/>
                </a:lnTo>
                <a:cubicBezTo>
                  <a:pt x="289824" y="7326312"/>
                  <a:pt x="311044" y="7273608"/>
                  <a:pt x="310833" y="7299484"/>
                </a:cubicBezTo>
                <a:cubicBezTo>
                  <a:pt x="319656" y="7293156"/>
                  <a:pt x="314797" y="7307311"/>
                  <a:pt x="319162" y="7310089"/>
                </a:cubicBezTo>
                <a:cubicBezTo>
                  <a:pt x="323527" y="7312867"/>
                  <a:pt x="331271" y="7299798"/>
                  <a:pt x="337026" y="7316154"/>
                </a:cubicBezTo>
                <a:cubicBezTo>
                  <a:pt x="352107" y="7351608"/>
                  <a:pt x="367189" y="7322767"/>
                  <a:pt x="370364" y="7360602"/>
                </a:cubicBezTo>
                <a:lnTo>
                  <a:pt x="447040" y="7366000"/>
                </a:lnTo>
                <a:lnTo>
                  <a:pt x="447040" y="7477760"/>
                </a:lnTo>
                <a:lnTo>
                  <a:pt x="558800" y="7528560"/>
                </a:lnTo>
                <a:lnTo>
                  <a:pt x="508000" y="7630160"/>
                </a:lnTo>
                <a:lnTo>
                  <a:pt x="436880" y="7609840"/>
                </a:lnTo>
                <a:lnTo>
                  <a:pt x="447040" y="7691120"/>
                </a:lnTo>
                <a:lnTo>
                  <a:pt x="518160" y="7741920"/>
                </a:lnTo>
                <a:lnTo>
                  <a:pt x="457200" y="7792720"/>
                </a:lnTo>
                <a:lnTo>
                  <a:pt x="396240" y="7701280"/>
                </a:lnTo>
                <a:lnTo>
                  <a:pt x="396240" y="7701280"/>
                </a:lnTo>
                <a:lnTo>
                  <a:pt x="436880" y="7874000"/>
                </a:lnTo>
                <a:lnTo>
                  <a:pt x="436880" y="7924800"/>
                </a:lnTo>
                <a:lnTo>
                  <a:pt x="548640" y="7965440"/>
                </a:lnTo>
                <a:lnTo>
                  <a:pt x="508000" y="8016240"/>
                </a:lnTo>
                <a:lnTo>
                  <a:pt x="589280" y="8056880"/>
                </a:lnTo>
                <a:lnTo>
                  <a:pt x="497840" y="8117840"/>
                </a:lnTo>
                <a:lnTo>
                  <a:pt x="518160" y="8209280"/>
                </a:lnTo>
                <a:lnTo>
                  <a:pt x="640080" y="8260080"/>
                </a:lnTo>
                <a:lnTo>
                  <a:pt x="731520" y="8219440"/>
                </a:lnTo>
                <a:lnTo>
                  <a:pt x="853440" y="8209280"/>
                </a:lnTo>
                <a:lnTo>
                  <a:pt x="955040" y="8260080"/>
                </a:lnTo>
                <a:lnTo>
                  <a:pt x="965200" y="8107680"/>
                </a:lnTo>
                <a:lnTo>
                  <a:pt x="894080" y="8026400"/>
                </a:lnTo>
                <a:lnTo>
                  <a:pt x="1016000" y="7863840"/>
                </a:lnTo>
                <a:lnTo>
                  <a:pt x="1107440" y="7894320"/>
                </a:lnTo>
                <a:lnTo>
                  <a:pt x="1127760" y="7853680"/>
                </a:lnTo>
                <a:lnTo>
                  <a:pt x="1066800" y="7813040"/>
                </a:lnTo>
                <a:lnTo>
                  <a:pt x="1137920" y="7762240"/>
                </a:lnTo>
                <a:lnTo>
                  <a:pt x="1330960" y="7802880"/>
                </a:lnTo>
                <a:lnTo>
                  <a:pt x="1361440" y="7772400"/>
                </a:lnTo>
                <a:lnTo>
                  <a:pt x="1483360" y="7823200"/>
                </a:lnTo>
                <a:lnTo>
                  <a:pt x="1554480" y="7731760"/>
                </a:lnTo>
                <a:lnTo>
                  <a:pt x="1524000" y="7640320"/>
                </a:lnTo>
                <a:lnTo>
                  <a:pt x="1645920" y="7437120"/>
                </a:lnTo>
                <a:lnTo>
                  <a:pt x="1635760" y="7335520"/>
                </a:lnTo>
                <a:lnTo>
                  <a:pt x="1696720" y="7223760"/>
                </a:lnTo>
                <a:lnTo>
                  <a:pt x="1625600" y="7172960"/>
                </a:lnTo>
                <a:lnTo>
                  <a:pt x="1747520" y="6990080"/>
                </a:lnTo>
                <a:lnTo>
                  <a:pt x="1666240" y="6939280"/>
                </a:lnTo>
                <a:lnTo>
                  <a:pt x="1737360" y="6888480"/>
                </a:lnTo>
                <a:lnTo>
                  <a:pt x="1645920" y="6776720"/>
                </a:lnTo>
                <a:lnTo>
                  <a:pt x="1808480" y="6715760"/>
                </a:lnTo>
                <a:lnTo>
                  <a:pt x="1727200" y="6614160"/>
                </a:lnTo>
                <a:lnTo>
                  <a:pt x="1686560" y="6421120"/>
                </a:lnTo>
                <a:lnTo>
                  <a:pt x="1889760" y="6299200"/>
                </a:lnTo>
                <a:lnTo>
                  <a:pt x="1940560" y="6228080"/>
                </a:lnTo>
                <a:lnTo>
                  <a:pt x="2032000" y="6136640"/>
                </a:lnTo>
                <a:lnTo>
                  <a:pt x="2011680" y="6014720"/>
                </a:lnTo>
                <a:lnTo>
                  <a:pt x="2123440" y="6065520"/>
                </a:lnTo>
                <a:lnTo>
                  <a:pt x="2092960" y="6167120"/>
                </a:lnTo>
                <a:lnTo>
                  <a:pt x="2286000" y="5933440"/>
                </a:lnTo>
                <a:lnTo>
                  <a:pt x="2255520" y="5801360"/>
                </a:lnTo>
                <a:lnTo>
                  <a:pt x="2448560" y="5598160"/>
                </a:lnTo>
                <a:lnTo>
                  <a:pt x="2357120" y="5435600"/>
                </a:lnTo>
                <a:lnTo>
                  <a:pt x="2225040" y="5415280"/>
                </a:lnTo>
                <a:lnTo>
                  <a:pt x="2103120" y="5222240"/>
                </a:lnTo>
                <a:lnTo>
                  <a:pt x="2092960" y="5110480"/>
                </a:lnTo>
                <a:lnTo>
                  <a:pt x="2052320" y="5151120"/>
                </a:lnTo>
                <a:lnTo>
                  <a:pt x="2042160" y="5242560"/>
                </a:lnTo>
                <a:lnTo>
                  <a:pt x="1981200" y="5191760"/>
                </a:lnTo>
                <a:lnTo>
                  <a:pt x="2011680" y="5120640"/>
                </a:lnTo>
                <a:lnTo>
                  <a:pt x="1930400" y="5100320"/>
                </a:lnTo>
                <a:lnTo>
                  <a:pt x="1859280" y="4917440"/>
                </a:lnTo>
                <a:lnTo>
                  <a:pt x="1828800" y="4622800"/>
                </a:lnTo>
                <a:lnTo>
                  <a:pt x="1910080" y="4419600"/>
                </a:lnTo>
                <a:lnTo>
                  <a:pt x="1920240" y="4277360"/>
                </a:lnTo>
                <a:lnTo>
                  <a:pt x="1971040" y="4124960"/>
                </a:lnTo>
                <a:lnTo>
                  <a:pt x="1879600" y="4023360"/>
                </a:lnTo>
                <a:lnTo>
                  <a:pt x="2072640" y="4003040"/>
                </a:lnTo>
                <a:lnTo>
                  <a:pt x="2092960" y="3850640"/>
                </a:lnTo>
                <a:lnTo>
                  <a:pt x="2001520" y="3728720"/>
                </a:lnTo>
                <a:lnTo>
                  <a:pt x="2164080" y="3769360"/>
                </a:lnTo>
                <a:lnTo>
                  <a:pt x="2265680" y="3566160"/>
                </a:lnTo>
                <a:lnTo>
                  <a:pt x="2336800" y="3515360"/>
                </a:lnTo>
                <a:lnTo>
                  <a:pt x="2367280" y="3362960"/>
                </a:lnTo>
                <a:lnTo>
                  <a:pt x="2489200" y="3423920"/>
                </a:lnTo>
                <a:lnTo>
                  <a:pt x="2560320" y="3302000"/>
                </a:lnTo>
                <a:lnTo>
                  <a:pt x="2743200" y="3149600"/>
                </a:lnTo>
                <a:lnTo>
                  <a:pt x="2844800" y="3088640"/>
                </a:lnTo>
                <a:lnTo>
                  <a:pt x="2804160" y="2966720"/>
                </a:lnTo>
                <a:lnTo>
                  <a:pt x="2976880" y="2763520"/>
                </a:lnTo>
                <a:lnTo>
                  <a:pt x="2794000" y="2621280"/>
                </a:lnTo>
                <a:lnTo>
                  <a:pt x="2946400" y="2377440"/>
                </a:lnTo>
                <a:lnTo>
                  <a:pt x="2854960" y="2255520"/>
                </a:lnTo>
                <a:lnTo>
                  <a:pt x="3027680" y="2113280"/>
                </a:lnTo>
                <a:lnTo>
                  <a:pt x="3119120" y="2021840"/>
                </a:lnTo>
                <a:lnTo>
                  <a:pt x="3027680" y="1960880"/>
                </a:lnTo>
                <a:lnTo>
                  <a:pt x="3139440" y="1869440"/>
                </a:lnTo>
                <a:lnTo>
                  <a:pt x="3281680" y="1950720"/>
                </a:lnTo>
                <a:lnTo>
                  <a:pt x="3403600" y="1889760"/>
                </a:lnTo>
                <a:lnTo>
                  <a:pt x="3505200" y="1910080"/>
                </a:lnTo>
                <a:lnTo>
                  <a:pt x="3444240" y="1656080"/>
                </a:lnTo>
                <a:lnTo>
                  <a:pt x="3373120" y="1635760"/>
                </a:lnTo>
                <a:lnTo>
                  <a:pt x="3352800" y="1503680"/>
                </a:lnTo>
                <a:lnTo>
                  <a:pt x="3444240" y="1412240"/>
                </a:lnTo>
                <a:lnTo>
                  <a:pt x="3393440" y="1280160"/>
                </a:lnTo>
                <a:lnTo>
                  <a:pt x="3434080" y="1249680"/>
                </a:lnTo>
                <a:lnTo>
                  <a:pt x="3281680" y="1066800"/>
                </a:lnTo>
                <a:lnTo>
                  <a:pt x="3383280" y="975360"/>
                </a:lnTo>
                <a:lnTo>
                  <a:pt x="3302000" y="924560"/>
                </a:lnTo>
                <a:lnTo>
                  <a:pt x="3190240" y="944880"/>
                </a:lnTo>
                <a:lnTo>
                  <a:pt x="3281680" y="792480"/>
                </a:lnTo>
                <a:lnTo>
                  <a:pt x="3210560" y="650240"/>
                </a:lnTo>
                <a:lnTo>
                  <a:pt x="3302000" y="568960"/>
                </a:lnTo>
                <a:lnTo>
                  <a:pt x="3190240" y="487680"/>
                </a:lnTo>
                <a:lnTo>
                  <a:pt x="3108960" y="528320"/>
                </a:lnTo>
                <a:lnTo>
                  <a:pt x="3108960" y="406400"/>
                </a:lnTo>
                <a:lnTo>
                  <a:pt x="2926080" y="314960"/>
                </a:lnTo>
                <a:lnTo>
                  <a:pt x="2834640" y="355600"/>
                </a:lnTo>
                <a:lnTo>
                  <a:pt x="2682240" y="111760"/>
                </a:lnTo>
                <a:lnTo>
                  <a:pt x="2590800" y="121920"/>
                </a:lnTo>
                <a:lnTo>
                  <a:pt x="2611120" y="0"/>
                </a:lnTo>
                <a:lnTo>
                  <a:pt x="2438400" y="0"/>
                </a:lnTo>
                <a:close/>
              </a:path>
            </a:pathLst>
          </a:custGeom>
          <a:noFill/>
          <a:ln w="635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80" name="Bildobjekt 79">
            <a:extLst>
              <a:ext uri="{FF2B5EF4-FFF2-40B4-BE49-F238E27FC236}">
                <a16:creationId xmlns:a16="http://schemas.microsoft.com/office/drawing/2014/main" id="{D1220602-F292-4D93-9790-F2B0466372E5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095" y="2923447"/>
            <a:ext cx="738801" cy="738801"/>
          </a:xfrm>
          <a:prstGeom prst="rect">
            <a:avLst/>
          </a:prstGeom>
        </p:spPr>
      </p:pic>
      <p:sp>
        <p:nvSpPr>
          <p:cNvPr id="81" name="textruta 80">
            <a:extLst>
              <a:ext uri="{FF2B5EF4-FFF2-40B4-BE49-F238E27FC236}">
                <a16:creationId xmlns:a16="http://schemas.microsoft.com/office/drawing/2014/main" id="{C19620B0-2101-4046-80F2-750E5586EA4F}"/>
              </a:ext>
            </a:extLst>
          </p:cNvPr>
          <p:cNvSpPr txBox="1"/>
          <p:nvPr/>
        </p:nvSpPr>
        <p:spPr>
          <a:xfrm>
            <a:off x="2410419" y="6418904"/>
            <a:ext cx="1614896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sv-SE" sz="1000" dirty="0">
                <a:solidFill>
                  <a:schemeClr val="tx2"/>
                </a:solidFill>
              </a:rPr>
              <a:t>Anställda i företag</a:t>
            </a:r>
          </a:p>
        </p:txBody>
      </p:sp>
      <p:sp>
        <p:nvSpPr>
          <p:cNvPr id="82" name="textruta 81">
            <a:extLst>
              <a:ext uri="{FF2B5EF4-FFF2-40B4-BE49-F238E27FC236}">
                <a16:creationId xmlns:a16="http://schemas.microsoft.com/office/drawing/2014/main" id="{28B47125-7130-4A89-825D-4003E339D860}"/>
              </a:ext>
            </a:extLst>
          </p:cNvPr>
          <p:cNvSpPr txBox="1"/>
          <p:nvPr/>
        </p:nvSpPr>
        <p:spPr>
          <a:xfrm>
            <a:off x="4089843" y="6418904"/>
            <a:ext cx="1614896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sv-SE" sz="1000" dirty="0">
                <a:solidFill>
                  <a:schemeClr val="tx2"/>
                </a:solidFill>
              </a:rPr>
              <a:t>Arbetslöshet</a:t>
            </a:r>
          </a:p>
        </p:txBody>
      </p:sp>
      <p:sp>
        <p:nvSpPr>
          <p:cNvPr id="83" name="textruta 82">
            <a:extLst>
              <a:ext uri="{FF2B5EF4-FFF2-40B4-BE49-F238E27FC236}">
                <a16:creationId xmlns:a16="http://schemas.microsoft.com/office/drawing/2014/main" id="{6979D59F-5EE3-45A3-8F78-4C2B11E527F4}"/>
              </a:ext>
            </a:extLst>
          </p:cNvPr>
          <p:cNvSpPr txBox="1"/>
          <p:nvPr/>
        </p:nvSpPr>
        <p:spPr>
          <a:xfrm>
            <a:off x="5769267" y="6418904"/>
            <a:ext cx="1614896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sv-SE" sz="1000" dirty="0">
                <a:solidFill>
                  <a:schemeClr val="tx2"/>
                </a:solidFill>
              </a:rPr>
              <a:t>Vakanser &amp; varsel</a:t>
            </a:r>
          </a:p>
        </p:txBody>
      </p:sp>
    </p:spTree>
    <p:extLst>
      <p:ext uri="{BB962C8B-B14F-4D97-AF65-F5344CB8AC3E}">
        <p14:creationId xmlns:p14="http://schemas.microsoft.com/office/powerpoint/2010/main" val="23622792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:pull dir="d"/>
      </p:transition>
    </mc:Choice>
    <mc:Fallback>
      <p:transition spd="slow">
        <p:pull dir="d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92F6F36-3182-4468-84DB-7C0BF6A9D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Hyfsad tillväxt på viktiga marknader framåt…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E8A77D55-7F35-48D7-A093-EC5CDABF5A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898049"/>
            <a:ext cx="9866312" cy="246221"/>
          </a:xfrm>
        </p:spPr>
        <p:txBody>
          <a:bodyPr/>
          <a:lstStyle/>
          <a:p>
            <a:r>
              <a:rPr lang="sv-SE" sz="1000" dirty="0"/>
              <a:t>Källa: SEB (februari 2022), Swedbank, Nordea, Handelsbanken, IMF (januari 2022) och OECD (december 2021) för BNP samt SCB för regionens exportvärde.</a:t>
            </a:r>
          </a:p>
        </p:txBody>
      </p:sp>
      <p:grpSp>
        <p:nvGrpSpPr>
          <p:cNvPr id="7" name="Grupp 6">
            <a:extLst>
              <a:ext uri="{FF2B5EF4-FFF2-40B4-BE49-F238E27FC236}">
                <a16:creationId xmlns:a16="http://schemas.microsoft.com/office/drawing/2014/main" id="{6C050022-5ECD-4617-BDB2-9060EC467BD3}"/>
              </a:ext>
            </a:extLst>
          </p:cNvPr>
          <p:cNvGrpSpPr/>
          <p:nvPr/>
        </p:nvGrpSpPr>
        <p:grpSpPr>
          <a:xfrm>
            <a:off x="6701587" y="1047474"/>
            <a:ext cx="4736388" cy="4578795"/>
            <a:chOff x="6507235" y="593368"/>
            <a:chExt cx="4736388" cy="4578795"/>
          </a:xfrm>
        </p:grpSpPr>
        <p:sp>
          <p:nvSpPr>
            <p:cNvPr id="8" name="Sexhörning 7">
              <a:extLst>
                <a:ext uri="{FF2B5EF4-FFF2-40B4-BE49-F238E27FC236}">
                  <a16:creationId xmlns:a16="http://schemas.microsoft.com/office/drawing/2014/main" id="{1A764774-E258-48D8-8F07-CE68B4CDBFE1}"/>
                </a:ext>
              </a:extLst>
            </p:cNvPr>
            <p:cNvSpPr/>
            <p:nvPr/>
          </p:nvSpPr>
          <p:spPr>
            <a:xfrm>
              <a:off x="8624377" y="593368"/>
              <a:ext cx="2619245" cy="2257970"/>
            </a:xfrm>
            <a:prstGeom prst="hexag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6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portviktad BNP-tillväxt på regionens viktiga marknader</a:t>
              </a:r>
            </a:p>
          </p:txBody>
        </p:sp>
        <p:sp>
          <p:nvSpPr>
            <p:cNvPr id="12" name="Sexhörning 11">
              <a:extLst>
                <a:ext uri="{FF2B5EF4-FFF2-40B4-BE49-F238E27FC236}">
                  <a16:creationId xmlns:a16="http://schemas.microsoft.com/office/drawing/2014/main" id="{72E92AAC-E6BA-445C-BEFF-3E2DFF5A1A4E}"/>
                </a:ext>
              </a:extLst>
            </p:cNvPr>
            <p:cNvSpPr/>
            <p:nvPr/>
          </p:nvSpPr>
          <p:spPr>
            <a:xfrm>
              <a:off x="8624378" y="2914193"/>
              <a:ext cx="2619245" cy="2257970"/>
            </a:xfrm>
            <a:prstGeom prst="hexagon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600"/>
                </a:spcAft>
              </a:pPr>
              <a:r>
                <a:rPr lang="sv-SE" sz="3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3</a:t>
              </a:r>
              <a:endParaRPr lang="sv-SE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sv-SE" sz="4800" b="1" dirty="0">
                  <a:solidFill>
                    <a:schemeClr val="tx1"/>
                  </a:solidFill>
                  <a:latin typeface="ITC New Baskerville Std" panose="02020602060506020304" pitchFamily="18" charset="0"/>
                </a:rPr>
                <a:t>2,5</a:t>
              </a:r>
              <a:r>
                <a:rPr lang="sv-SE" sz="3200" b="1" dirty="0">
                  <a:solidFill>
                    <a:schemeClr val="tx1"/>
                  </a:solidFill>
                  <a:latin typeface="ITC New Baskerville Std" panose="02020602060506020304" pitchFamily="18" charset="0"/>
                </a:rPr>
                <a:t>%</a:t>
              </a:r>
              <a:endParaRPr lang="sv-SE" sz="4800" b="1" dirty="0">
                <a:solidFill>
                  <a:schemeClr val="tx1"/>
                </a:solidFill>
                <a:latin typeface="ITC New Baskerville Std" panose="02020602060506020304" pitchFamily="18" charset="0"/>
              </a:endParaRPr>
            </a:p>
          </p:txBody>
        </p:sp>
        <p:sp>
          <p:nvSpPr>
            <p:cNvPr id="13" name="Sexhörning 12">
              <a:extLst>
                <a:ext uri="{FF2B5EF4-FFF2-40B4-BE49-F238E27FC236}">
                  <a16:creationId xmlns:a16="http://schemas.microsoft.com/office/drawing/2014/main" id="{64BFB283-1EB4-4A79-A419-0DEDB5E4D305}"/>
                </a:ext>
              </a:extLst>
            </p:cNvPr>
            <p:cNvSpPr/>
            <p:nvPr/>
          </p:nvSpPr>
          <p:spPr>
            <a:xfrm>
              <a:off x="6507235" y="1748407"/>
              <a:ext cx="2619245" cy="2257970"/>
            </a:xfrm>
            <a:prstGeom prst="hex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600"/>
                </a:spcAft>
              </a:pPr>
              <a:r>
                <a:rPr lang="sv-SE" sz="3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2</a:t>
              </a:r>
              <a:endParaRPr lang="sv-SE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sv-SE" sz="4800" b="1" dirty="0">
                  <a:solidFill>
                    <a:schemeClr val="tx1"/>
                  </a:solidFill>
                  <a:latin typeface="ITC New Baskerville Std" panose="02020602060506020304" pitchFamily="18" charset="0"/>
                </a:rPr>
                <a:t>3,8</a:t>
              </a:r>
              <a:r>
                <a:rPr lang="sv-SE" sz="3200" b="1" dirty="0">
                  <a:solidFill>
                    <a:schemeClr val="tx1"/>
                  </a:solidFill>
                  <a:latin typeface="ITC New Baskerville Std" panose="02020602060506020304" pitchFamily="18" charset="0"/>
                </a:rPr>
                <a:t>%</a:t>
              </a:r>
              <a:endParaRPr lang="sv-SE" sz="4800" b="1" dirty="0">
                <a:solidFill>
                  <a:schemeClr val="tx1"/>
                </a:solidFill>
                <a:latin typeface="ITC New Baskerville Std" panose="02020602060506020304" pitchFamily="18" charset="0"/>
              </a:endParaRPr>
            </a:p>
          </p:txBody>
        </p:sp>
      </p:grpSp>
      <p:graphicFrame>
        <p:nvGraphicFramePr>
          <p:cNvPr id="14" name="Platshållare för innehåll 10">
            <a:extLst>
              <a:ext uri="{FF2B5EF4-FFF2-40B4-BE49-F238E27FC236}">
                <a16:creationId xmlns:a16="http://schemas.microsoft.com/office/drawing/2014/main" id="{2EB41591-B779-4F45-9F7D-B653CA656066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909689193"/>
              </p:ext>
            </p:extLst>
          </p:nvPr>
        </p:nvGraphicFramePr>
        <p:xfrm>
          <a:off x="1484923" y="1403981"/>
          <a:ext cx="4304243" cy="39901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ruta 14">
            <a:extLst>
              <a:ext uri="{FF2B5EF4-FFF2-40B4-BE49-F238E27FC236}">
                <a16:creationId xmlns:a16="http://schemas.microsoft.com/office/drawing/2014/main" id="{B80C3992-6A67-414A-89AD-C43884FDA74E}"/>
              </a:ext>
            </a:extLst>
          </p:cNvPr>
          <p:cNvSpPr txBox="1"/>
          <p:nvPr/>
        </p:nvSpPr>
        <p:spPr>
          <a:xfrm>
            <a:off x="4466758" y="1446035"/>
            <a:ext cx="11504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dirty="0"/>
              <a:t>USA 14%</a:t>
            </a:r>
          </a:p>
        </p:txBody>
      </p:sp>
      <p:sp>
        <p:nvSpPr>
          <p:cNvPr id="16" name="textruta 15">
            <a:extLst>
              <a:ext uri="{FF2B5EF4-FFF2-40B4-BE49-F238E27FC236}">
                <a16:creationId xmlns:a16="http://schemas.microsoft.com/office/drawing/2014/main" id="{B4A09401-FA6F-4096-897A-93C179D0E692}"/>
              </a:ext>
            </a:extLst>
          </p:cNvPr>
          <p:cNvSpPr txBox="1"/>
          <p:nvPr/>
        </p:nvSpPr>
        <p:spPr>
          <a:xfrm>
            <a:off x="5410200" y="2521782"/>
            <a:ext cx="1371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dirty="0"/>
              <a:t>Belgien 11%</a:t>
            </a:r>
          </a:p>
        </p:txBody>
      </p:sp>
      <p:sp>
        <p:nvSpPr>
          <p:cNvPr id="17" name="textruta 16">
            <a:extLst>
              <a:ext uri="{FF2B5EF4-FFF2-40B4-BE49-F238E27FC236}">
                <a16:creationId xmlns:a16="http://schemas.microsoft.com/office/drawing/2014/main" id="{14835C2A-A135-4AAD-B892-D05F12108076}"/>
              </a:ext>
            </a:extLst>
          </p:cNvPr>
          <p:cNvSpPr txBox="1"/>
          <p:nvPr/>
        </p:nvSpPr>
        <p:spPr>
          <a:xfrm>
            <a:off x="5387157" y="3988779"/>
            <a:ext cx="11383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dirty="0"/>
              <a:t>Norge 10%</a:t>
            </a:r>
          </a:p>
        </p:txBody>
      </p:sp>
      <p:sp>
        <p:nvSpPr>
          <p:cNvPr id="18" name="textruta 17">
            <a:extLst>
              <a:ext uri="{FF2B5EF4-FFF2-40B4-BE49-F238E27FC236}">
                <a16:creationId xmlns:a16="http://schemas.microsoft.com/office/drawing/2014/main" id="{1ED5B5C0-31C3-4A07-AB34-E3BB5C26DD74}"/>
              </a:ext>
            </a:extLst>
          </p:cNvPr>
          <p:cNvSpPr txBox="1"/>
          <p:nvPr/>
        </p:nvSpPr>
        <p:spPr>
          <a:xfrm>
            <a:off x="4786568" y="4892823"/>
            <a:ext cx="10827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dirty="0"/>
              <a:t>Kina 10%</a:t>
            </a:r>
          </a:p>
        </p:txBody>
      </p:sp>
      <p:sp>
        <p:nvSpPr>
          <p:cNvPr id="19" name="textruta 18">
            <a:extLst>
              <a:ext uri="{FF2B5EF4-FFF2-40B4-BE49-F238E27FC236}">
                <a16:creationId xmlns:a16="http://schemas.microsoft.com/office/drawing/2014/main" id="{B9550914-BCDC-4570-A206-5EB3FFCE8E0A}"/>
              </a:ext>
            </a:extLst>
          </p:cNvPr>
          <p:cNvSpPr txBox="1"/>
          <p:nvPr/>
        </p:nvSpPr>
        <p:spPr>
          <a:xfrm>
            <a:off x="800563" y="1654690"/>
            <a:ext cx="17289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dirty="0"/>
              <a:t>Övriga länder 22%</a:t>
            </a:r>
          </a:p>
        </p:txBody>
      </p:sp>
      <p:sp>
        <p:nvSpPr>
          <p:cNvPr id="20" name="textruta 19">
            <a:extLst>
              <a:ext uri="{FF2B5EF4-FFF2-40B4-BE49-F238E27FC236}">
                <a16:creationId xmlns:a16="http://schemas.microsoft.com/office/drawing/2014/main" id="{A89D8FF9-5137-4344-92D5-B0C22AA7634B}"/>
              </a:ext>
            </a:extLst>
          </p:cNvPr>
          <p:cNvSpPr txBox="1"/>
          <p:nvPr/>
        </p:nvSpPr>
        <p:spPr>
          <a:xfrm>
            <a:off x="292920" y="3097562"/>
            <a:ext cx="14152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400" dirty="0"/>
              <a:t>Frankrike 3%</a:t>
            </a:r>
          </a:p>
        </p:txBody>
      </p:sp>
      <p:sp>
        <p:nvSpPr>
          <p:cNvPr id="21" name="textruta 20">
            <a:extLst>
              <a:ext uri="{FF2B5EF4-FFF2-40B4-BE49-F238E27FC236}">
                <a16:creationId xmlns:a16="http://schemas.microsoft.com/office/drawing/2014/main" id="{883A5075-937B-4BE8-B466-256A3C0B7983}"/>
              </a:ext>
            </a:extLst>
          </p:cNvPr>
          <p:cNvSpPr txBox="1"/>
          <p:nvPr/>
        </p:nvSpPr>
        <p:spPr>
          <a:xfrm>
            <a:off x="109413" y="3541963"/>
            <a:ext cx="17862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dirty="0"/>
              <a:t>Nederländerna 4%</a:t>
            </a:r>
          </a:p>
        </p:txBody>
      </p:sp>
      <p:sp>
        <p:nvSpPr>
          <p:cNvPr id="22" name="textruta 21">
            <a:extLst>
              <a:ext uri="{FF2B5EF4-FFF2-40B4-BE49-F238E27FC236}">
                <a16:creationId xmlns:a16="http://schemas.microsoft.com/office/drawing/2014/main" id="{8D751C88-1574-4204-B810-77442A69BB56}"/>
              </a:ext>
            </a:extLst>
          </p:cNvPr>
          <p:cNvSpPr txBox="1"/>
          <p:nvPr/>
        </p:nvSpPr>
        <p:spPr>
          <a:xfrm>
            <a:off x="109413" y="4032238"/>
            <a:ext cx="17289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400" dirty="0"/>
              <a:t>Storbritannien 5%</a:t>
            </a:r>
          </a:p>
        </p:txBody>
      </p:sp>
      <p:sp>
        <p:nvSpPr>
          <p:cNvPr id="23" name="textruta 22">
            <a:extLst>
              <a:ext uri="{FF2B5EF4-FFF2-40B4-BE49-F238E27FC236}">
                <a16:creationId xmlns:a16="http://schemas.microsoft.com/office/drawing/2014/main" id="{F308887B-66F4-4D2A-9EB1-B55EDD02D1F0}"/>
              </a:ext>
            </a:extLst>
          </p:cNvPr>
          <p:cNvSpPr txBox="1"/>
          <p:nvPr/>
        </p:nvSpPr>
        <p:spPr>
          <a:xfrm>
            <a:off x="938039" y="4643062"/>
            <a:ext cx="13023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400" dirty="0"/>
              <a:t>Finland 6%</a:t>
            </a:r>
          </a:p>
        </p:txBody>
      </p:sp>
      <p:sp>
        <p:nvSpPr>
          <p:cNvPr id="24" name="textruta 23">
            <a:extLst>
              <a:ext uri="{FF2B5EF4-FFF2-40B4-BE49-F238E27FC236}">
                <a16:creationId xmlns:a16="http://schemas.microsoft.com/office/drawing/2014/main" id="{73375883-9085-417F-8715-66D3615BA06D}"/>
              </a:ext>
            </a:extLst>
          </p:cNvPr>
          <p:cNvSpPr txBox="1"/>
          <p:nvPr/>
        </p:nvSpPr>
        <p:spPr>
          <a:xfrm>
            <a:off x="1565982" y="5146242"/>
            <a:ext cx="13488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400" dirty="0"/>
              <a:t>Danmark 7%</a:t>
            </a:r>
          </a:p>
        </p:txBody>
      </p:sp>
      <p:sp>
        <p:nvSpPr>
          <p:cNvPr id="25" name="textruta 24">
            <a:extLst>
              <a:ext uri="{FF2B5EF4-FFF2-40B4-BE49-F238E27FC236}">
                <a16:creationId xmlns:a16="http://schemas.microsoft.com/office/drawing/2014/main" id="{3434A895-B6A1-4086-9E2B-6F64DEF7EEDF}"/>
              </a:ext>
            </a:extLst>
          </p:cNvPr>
          <p:cNvSpPr txBox="1"/>
          <p:nvPr/>
        </p:nvSpPr>
        <p:spPr>
          <a:xfrm>
            <a:off x="3682639" y="5318492"/>
            <a:ext cx="12957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dirty="0"/>
              <a:t>Tyskland 8%</a:t>
            </a:r>
          </a:p>
        </p:txBody>
      </p:sp>
      <p:grpSp>
        <p:nvGrpSpPr>
          <p:cNvPr id="3" name="Grupp 2">
            <a:extLst>
              <a:ext uri="{FF2B5EF4-FFF2-40B4-BE49-F238E27FC236}">
                <a16:creationId xmlns:a16="http://schemas.microsoft.com/office/drawing/2014/main" id="{AF2042CD-402F-4528-ACEE-7A0750859D27}"/>
              </a:ext>
            </a:extLst>
          </p:cNvPr>
          <p:cNvGrpSpPr/>
          <p:nvPr/>
        </p:nvGrpSpPr>
        <p:grpSpPr>
          <a:xfrm>
            <a:off x="2783954" y="2668717"/>
            <a:ext cx="1676770" cy="1393768"/>
            <a:chOff x="2783954" y="2668717"/>
            <a:chExt cx="1676770" cy="1393768"/>
          </a:xfrm>
        </p:grpSpPr>
        <p:grpSp>
          <p:nvGrpSpPr>
            <p:cNvPr id="26" name="Grupp 25">
              <a:extLst>
                <a:ext uri="{FF2B5EF4-FFF2-40B4-BE49-F238E27FC236}">
                  <a16:creationId xmlns:a16="http://schemas.microsoft.com/office/drawing/2014/main" id="{3D4E9112-B485-4062-8D8E-3FD13EFB0B79}"/>
                </a:ext>
              </a:extLst>
            </p:cNvPr>
            <p:cNvGrpSpPr/>
            <p:nvPr/>
          </p:nvGrpSpPr>
          <p:grpSpPr>
            <a:xfrm>
              <a:off x="2783954" y="2975710"/>
              <a:ext cx="1676770" cy="1086775"/>
              <a:chOff x="2741946" y="2697453"/>
              <a:chExt cx="1676770" cy="1086775"/>
            </a:xfrm>
          </p:grpSpPr>
          <p:sp>
            <p:nvSpPr>
              <p:cNvPr id="27" name="textruta 26">
                <a:extLst>
                  <a:ext uri="{FF2B5EF4-FFF2-40B4-BE49-F238E27FC236}">
                    <a16:creationId xmlns:a16="http://schemas.microsoft.com/office/drawing/2014/main" id="{1D2F4341-6CF1-409E-8945-453623C488AB}"/>
                  </a:ext>
                </a:extLst>
              </p:cNvPr>
              <p:cNvSpPr txBox="1"/>
              <p:nvPr/>
            </p:nvSpPr>
            <p:spPr>
              <a:xfrm>
                <a:off x="2741946" y="3322563"/>
                <a:ext cx="1676770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sv-SE" sz="2400" b="1" dirty="0">
                    <a:latin typeface="ITC New Baskerville Std" panose="02020602060506020304" pitchFamily="18" charset="0"/>
                  </a:rPr>
                  <a:t>mdkr</a:t>
                </a:r>
                <a:endParaRPr lang="sv-SE" sz="1400" b="1" dirty="0">
                  <a:latin typeface="ITC New Baskerville Std" panose="02020602060506020304" pitchFamily="18" charset="0"/>
                </a:endParaRPr>
              </a:p>
            </p:txBody>
          </p:sp>
          <p:sp>
            <p:nvSpPr>
              <p:cNvPr id="28" name="textruta 27">
                <a:extLst>
                  <a:ext uri="{FF2B5EF4-FFF2-40B4-BE49-F238E27FC236}">
                    <a16:creationId xmlns:a16="http://schemas.microsoft.com/office/drawing/2014/main" id="{901251C9-6ABB-4E97-8D28-B9967FE4CA67}"/>
                  </a:ext>
                </a:extLst>
              </p:cNvPr>
              <p:cNvSpPr txBox="1"/>
              <p:nvPr/>
            </p:nvSpPr>
            <p:spPr>
              <a:xfrm>
                <a:off x="2741946" y="2697453"/>
                <a:ext cx="1676770" cy="83099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sv-SE" sz="4800" b="1" dirty="0">
                    <a:latin typeface="ITC New Baskerville Std" panose="02020602060506020304" pitchFamily="18" charset="0"/>
                  </a:rPr>
                  <a:t>218</a:t>
                </a:r>
                <a:endParaRPr lang="sv-SE" sz="1400" dirty="0"/>
              </a:p>
            </p:txBody>
          </p:sp>
        </p:grpSp>
        <p:sp>
          <p:nvSpPr>
            <p:cNvPr id="29" name="textruta 28">
              <a:extLst>
                <a:ext uri="{FF2B5EF4-FFF2-40B4-BE49-F238E27FC236}">
                  <a16:creationId xmlns:a16="http://schemas.microsoft.com/office/drawing/2014/main" id="{7947D930-5DC0-47F0-B53C-D1BFCEB935C9}"/>
                </a:ext>
              </a:extLst>
            </p:cNvPr>
            <p:cNvSpPr txBox="1"/>
            <p:nvPr/>
          </p:nvSpPr>
          <p:spPr>
            <a:xfrm>
              <a:off x="2783954" y="2668717"/>
              <a:ext cx="1676770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sv-SE" sz="1200" dirty="0"/>
                <a:t>Samlat</a:t>
              </a:r>
              <a:br>
                <a:rPr lang="sv-SE" sz="1200" dirty="0"/>
              </a:br>
              <a:r>
                <a:rPr lang="sv-SE" sz="1200" dirty="0"/>
                <a:t>exportvär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489210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92F6F36-3182-4468-84DB-7C0BF6A9D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God tillväxt väntas för den svenska ekonomin 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0E81B60A-734B-4DB4-B166-473A946713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sv-SE" dirty="0"/>
              <a:t>DE FEM SENASTE PROGNOSERNA ÖVER SVERIGES BNP-TILLVÄXT (I %) 2020-2023</a:t>
            </a:r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5B3B0274-EC15-426C-A357-37E7F19816C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898049"/>
            <a:ext cx="9866312" cy="246221"/>
          </a:xfrm>
        </p:spPr>
        <p:txBody>
          <a:bodyPr/>
          <a:lstStyle/>
          <a:p>
            <a:r>
              <a:rPr lang="sv-SE" sz="1000" dirty="0"/>
              <a:t>Källa: Konjunkturinstitutet</a:t>
            </a:r>
          </a:p>
        </p:txBody>
      </p:sp>
      <p:graphicFrame>
        <p:nvGraphicFramePr>
          <p:cNvPr id="7" name="Platshållare för innehåll 6">
            <a:extLst>
              <a:ext uri="{FF2B5EF4-FFF2-40B4-BE49-F238E27FC236}">
                <a16:creationId xmlns:a16="http://schemas.microsoft.com/office/drawing/2014/main" id="{6BE9C0E4-6DFD-448F-9B4F-6A80E15F5010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1852742958"/>
              </p:ext>
            </p:extLst>
          </p:nvPr>
        </p:nvGraphicFramePr>
        <p:xfrm>
          <a:off x="839788" y="1808163"/>
          <a:ext cx="9720000" cy="3997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ruta 2">
            <a:extLst>
              <a:ext uri="{FF2B5EF4-FFF2-40B4-BE49-F238E27FC236}">
                <a16:creationId xmlns:a16="http://schemas.microsoft.com/office/drawing/2014/main" id="{BC2CEFDA-FAC8-498E-B4D1-709E9266A80E}"/>
              </a:ext>
            </a:extLst>
          </p:cNvPr>
          <p:cNvSpPr txBox="1"/>
          <p:nvPr/>
        </p:nvSpPr>
        <p:spPr>
          <a:xfrm>
            <a:off x="1176793" y="5559267"/>
            <a:ext cx="1476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00" dirty="0"/>
              <a:t>10 februari 2022</a:t>
            </a:r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FE96C3D3-2066-4622-80DA-3166883F6EF2}"/>
              </a:ext>
            </a:extLst>
          </p:cNvPr>
          <p:cNvSpPr txBox="1"/>
          <p:nvPr/>
        </p:nvSpPr>
        <p:spPr>
          <a:xfrm>
            <a:off x="2505986" y="5559267"/>
            <a:ext cx="1476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00" dirty="0"/>
              <a:t>26 januari 2022</a:t>
            </a: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604E8461-3E20-4928-8987-A35F47239FCE}"/>
              </a:ext>
            </a:extLst>
          </p:cNvPr>
          <p:cNvSpPr txBox="1"/>
          <p:nvPr/>
        </p:nvSpPr>
        <p:spPr>
          <a:xfrm>
            <a:off x="3835179" y="5559266"/>
            <a:ext cx="1476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00" dirty="0"/>
              <a:t>26 januari 2022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CCFA7F18-FA3D-4B6F-92E2-6191D93C61D4}"/>
              </a:ext>
            </a:extLst>
          </p:cNvPr>
          <p:cNvSpPr txBox="1"/>
          <p:nvPr/>
        </p:nvSpPr>
        <p:spPr>
          <a:xfrm>
            <a:off x="5197068" y="5559266"/>
            <a:ext cx="1476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00" dirty="0"/>
              <a:t>25 januari 2022</a:t>
            </a: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4DF506AD-DC84-43F4-AFEC-9BC1AF3DB40D}"/>
              </a:ext>
            </a:extLst>
          </p:cNvPr>
          <p:cNvSpPr txBox="1"/>
          <p:nvPr/>
        </p:nvSpPr>
        <p:spPr>
          <a:xfrm>
            <a:off x="6501951" y="5559266"/>
            <a:ext cx="1476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00" dirty="0"/>
              <a:t>19 januari 2022</a:t>
            </a:r>
          </a:p>
        </p:txBody>
      </p:sp>
    </p:spTree>
    <p:extLst>
      <p:ext uri="{BB962C8B-B14F-4D97-AF65-F5344CB8AC3E}">
        <p14:creationId xmlns:p14="http://schemas.microsoft.com/office/powerpoint/2010/main" val="42026025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92F6F36-3182-4468-84DB-7C0BF6A9D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Regionens företag upplever fortsatt stark konjunktur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B69B02D-5C18-4E26-8B68-29502F1400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6704012" cy="468312"/>
          </a:xfrm>
        </p:spPr>
        <p:txBody>
          <a:bodyPr/>
          <a:lstStyle/>
          <a:p>
            <a:r>
              <a:rPr lang="sv-SE" dirty="0"/>
              <a:t>KONKJUNKTURINDIKATOR FÖR NÄRINGSLIVET I GÖTEBORGSREGIONEN – KVARTALSVIS FRÅN 2006</a:t>
            </a:r>
          </a:p>
          <a:p>
            <a:endParaRPr lang="sv-SE" dirty="0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B6A3813A-FE94-456F-BF54-ADB38DF67D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898049"/>
            <a:ext cx="9866312" cy="246221"/>
          </a:xfrm>
        </p:spPr>
        <p:txBody>
          <a:bodyPr/>
          <a:lstStyle/>
          <a:p>
            <a:r>
              <a:rPr lang="sv-SE" sz="1000" dirty="0"/>
              <a:t>Källa: Konjunkturinstitutet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1BD5E072-30D3-439D-BEEE-326FFBC4BCE4}"/>
              </a:ext>
            </a:extLst>
          </p:cNvPr>
          <p:cNvSpPr/>
          <p:nvPr/>
        </p:nvSpPr>
        <p:spPr>
          <a:xfrm>
            <a:off x="838199" y="6144270"/>
            <a:ext cx="859790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sz="1000" b="1" dirty="0"/>
              <a:t>Not: </a:t>
            </a:r>
            <a:r>
              <a:rPr lang="sv-SE" sz="1000" dirty="0"/>
              <a:t>Svarsperiod för undersökningen är 29 december 2021 – 20 januari 2022. 1 533 företag fick enkäten, 760 företag svarade (svarsfrekvens = 50%)</a:t>
            </a:r>
          </a:p>
        </p:txBody>
      </p:sp>
      <p:grpSp>
        <p:nvGrpSpPr>
          <p:cNvPr id="12" name="Grupp 11">
            <a:extLst>
              <a:ext uri="{FF2B5EF4-FFF2-40B4-BE49-F238E27FC236}">
                <a16:creationId xmlns:a16="http://schemas.microsoft.com/office/drawing/2014/main" id="{39CF8D28-8350-4E85-9F2D-71991540AF19}"/>
              </a:ext>
            </a:extLst>
          </p:cNvPr>
          <p:cNvGrpSpPr/>
          <p:nvPr/>
        </p:nvGrpSpPr>
        <p:grpSpPr>
          <a:xfrm>
            <a:off x="8186349" y="-17733"/>
            <a:ext cx="4381500" cy="3069591"/>
            <a:chOff x="0" y="0"/>
            <a:chExt cx="4402455" cy="2950623"/>
          </a:xfrm>
        </p:grpSpPr>
        <p:graphicFrame>
          <p:nvGraphicFramePr>
            <p:cNvPr id="13" name="Diagram 12">
              <a:extLst>
                <a:ext uri="{FF2B5EF4-FFF2-40B4-BE49-F238E27FC236}">
                  <a16:creationId xmlns:a16="http://schemas.microsoft.com/office/drawing/2014/main" id="{B5BE0EEE-5992-4918-A5C5-FD7AF34F0442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671917619"/>
                </p:ext>
              </p:extLst>
            </p:nvPr>
          </p:nvGraphicFramePr>
          <p:xfrm>
            <a:off x="0" y="169323"/>
            <a:ext cx="4402455" cy="27813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4" name="textruta 3">
              <a:extLst>
                <a:ext uri="{FF2B5EF4-FFF2-40B4-BE49-F238E27FC236}">
                  <a16:creationId xmlns:a16="http://schemas.microsoft.com/office/drawing/2014/main" id="{F70D4239-4663-4748-A0EC-F7F9F7380362}"/>
                </a:ext>
              </a:extLst>
            </p:cNvPr>
            <p:cNvSpPr txBox="1"/>
            <p:nvPr/>
          </p:nvSpPr>
          <p:spPr>
            <a:xfrm>
              <a:off x="699770" y="496837"/>
              <a:ext cx="838200" cy="464820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sv-SE" sz="1200" dirty="0">
                  <a:solidFill>
                    <a:schemeClr val="tx1"/>
                  </a:solidFill>
                  <a:latin typeface="Arial" panose="020B0604020202020204" pitchFamily="34" charset="0"/>
                  <a:ea typeface="Galaxie Polaris Medium" panose="02000000000000000000" pitchFamily="50" charset="0"/>
                  <a:cs typeface="Arial" panose="020B0604020202020204" pitchFamily="34" charset="0"/>
                </a:rPr>
                <a:t>90</a:t>
              </a:r>
            </a:p>
          </p:txBody>
        </p:sp>
        <p:sp>
          <p:nvSpPr>
            <p:cNvPr id="15" name="textruta 14">
              <a:extLst>
                <a:ext uri="{FF2B5EF4-FFF2-40B4-BE49-F238E27FC236}">
                  <a16:creationId xmlns:a16="http://schemas.microsoft.com/office/drawing/2014/main" id="{63727A66-669D-417F-81F9-604A953D9763}"/>
                </a:ext>
              </a:extLst>
            </p:cNvPr>
            <p:cNvSpPr txBox="1"/>
            <p:nvPr/>
          </p:nvSpPr>
          <p:spPr>
            <a:xfrm>
              <a:off x="1397091" y="0"/>
              <a:ext cx="838200" cy="464820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sv-SE" sz="1200">
                  <a:solidFill>
                    <a:schemeClr val="tx1"/>
                  </a:solidFill>
                  <a:latin typeface="Arial" panose="020B0604020202020204" pitchFamily="34" charset="0"/>
                  <a:ea typeface="Galaxie Polaris Medium" panose="02000000000000000000" pitchFamily="50" charset="0"/>
                  <a:cs typeface="Arial" panose="020B0604020202020204" pitchFamily="34" charset="0"/>
                </a:rPr>
                <a:t>99</a:t>
              </a:r>
            </a:p>
          </p:txBody>
        </p:sp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AD2ABAC1-310C-4CF4-8420-5518C6D9AFAB}"/>
                </a:ext>
              </a:extLst>
            </p:cNvPr>
            <p:cNvSpPr txBox="1"/>
            <p:nvPr/>
          </p:nvSpPr>
          <p:spPr>
            <a:xfrm>
              <a:off x="2556918" y="1"/>
              <a:ext cx="838200" cy="464820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sv-SE" sz="1200">
                  <a:solidFill>
                    <a:schemeClr val="tx1"/>
                  </a:solidFill>
                  <a:latin typeface="Arial" panose="020B0604020202020204" pitchFamily="34" charset="0"/>
                  <a:ea typeface="Galaxie Polaris Medium" panose="02000000000000000000" pitchFamily="50" charset="0"/>
                  <a:cs typeface="Arial" panose="020B0604020202020204" pitchFamily="34" charset="0"/>
                </a:rPr>
                <a:t>101</a:t>
              </a:r>
            </a:p>
          </p:txBody>
        </p:sp>
        <p:sp>
          <p:nvSpPr>
            <p:cNvPr id="17" name="textruta 16">
              <a:extLst>
                <a:ext uri="{FF2B5EF4-FFF2-40B4-BE49-F238E27FC236}">
                  <a16:creationId xmlns:a16="http://schemas.microsoft.com/office/drawing/2014/main" id="{281587B9-D861-491A-B6C2-B7A92B79B5A7}"/>
                </a:ext>
              </a:extLst>
            </p:cNvPr>
            <p:cNvSpPr txBox="1"/>
            <p:nvPr/>
          </p:nvSpPr>
          <p:spPr>
            <a:xfrm>
              <a:off x="3250519" y="496836"/>
              <a:ext cx="838200" cy="464820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sv-SE" sz="1200">
                  <a:solidFill>
                    <a:schemeClr val="tx1"/>
                  </a:solidFill>
                  <a:latin typeface="Arial" panose="020B0604020202020204" pitchFamily="34" charset="0"/>
                  <a:ea typeface="Galaxie Polaris Medium" panose="02000000000000000000" pitchFamily="50" charset="0"/>
                  <a:cs typeface="Arial" panose="020B0604020202020204" pitchFamily="34" charset="0"/>
                </a:rPr>
                <a:t>110</a:t>
              </a:r>
            </a:p>
          </p:txBody>
        </p:sp>
      </p:grpSp>
      <p:graphicFrame>
        <p:nvGraphicFramePr>
          <p:cNvPr id="18" name="Platshållare för innehåll 17">
            <a:extLst>
              <a:ext uri="{FF2B5EF4-FFF2-40B4-BE49-F238E27FC236}">
                <a16:creationId xmlns:a16="http://schemas.microsoft.com/office/drawing/2014/main" id="{297BBD36-F3E9-4781-B4CA-135B80EE4BF4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267764214"/>
              </p:ext>
            </p:extLst>
          </p:nvPr>
        </p:nvGraphicFramePr>
        <p:xfrm>
          <a:off x="839788" y="1808163"/>
          <a:ext cx="9720000" cy="3997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2228228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92F6F36-3182-4468-84DB-7C0BF6A9D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Normalstarkt läge inom handel och tjänster i regionen</a:t>
            </a:r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B6A3813A-FE94-456F-BF54-ADB38DF67D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898049"/>
            <a:ext cx="9866312" cy="246221"/>
          </a:xfrm>
        </p:spPr>
        <p:txBody>
          <a:bodyPr/>
          <a:lstStyle/>
          <a:p>
            <a:r>
              <a:rPr lang="sv-SE" sz="1000" dirty="0"/>
              <a:t>Källa: Konjunkturinstitutet</a:t>
            </a:r>
          </a:p>
        </p:txBody>
      </p:sp>
      <p:grpSp>
        <p:nvGrpSpPr>
          <p:cNvPr id="36" name="Grupp 35">
            <a:extLst>
              <a:ext uri="{FF2B5EF4-FFF2-40B4-BE49-F238E27FC236}">
                <a16:creationId xmlns:a16="http://schemas.microsoft.com/office/drawing/2014/main" id="{BEBB9498-582A-4271-AC04-68C01279CC54}"/>
              </a:ext>
            </a:extLst>
          </p:cNvPr>
          <p:cNvGrpSpPr/>
          <p:nvPr/>
        </p:nvGrpSpPr>
        <p:grpSpPr>
          <a:xfrm>
            <a:off x="6457260" y="1186353"/>
            <a:ext cx="4129615" cy="2773924"/>
            <a:chOff x="6233187" y="1216633"/>
            <a:chExt cx="4129615" cy="2773924"/>
          </a:xfrm>
        </p:grpSpPr>
        <p:grpSp>
          <p:nvGrpSpPr>
            <p:cNvPr id="37" name="Grupp 36">
              <a:extLst>
                <a:ext uri="{FF2B5EF4-FFF2-40B4-BE49-F238E27FC236}">
                  <a16:creationId xmlns:a16="http://schemas.microsoft.com/office/drawing/2014/main" id="{05001E95-1070-4C09-90AA-F8282C439D06}"/>
                </a:ext>
              </a:extLst>
            </p:cNvPr>
            <p:cNvGrpSpPr/>
            <p:nvPr/>
          </p:nvGrpSpPr>
          <p:grpSpPr>
            <a:xfrm>
              <a:off x="6403334" y="1216633"/>
              <a:ext cx="3959468" cy="2773924"/>
              <a:chOff x="0" y="0"/>
              <a:chExt cx="4402455" cy="2950623"/>
            </a:xfrm>
          </p:grpSpPr>
          <p:graphicFrame>
            <p:nvGraphicFramePr>
              <p:cNvPr id="39" name="Diagram 38">
                <a:extLst>
                  <a:ext uri="{FF2B5EF4-FFF2-40B4-BE49-F238E27FC236}">
                    <a16:creationId xmlns:a16="http://schemas.microsoft.com/office/drawing/2014/main" id="{FEFB4A8E-88A5-46B4-BDAD-4515801F8B33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129840870"/>
                  </p:ext>
                </p:extLst>
              </p:nvPr>
            </p:nvGraphicFramePr>
            <p:xfrm>
              <a:off x="0" y="169323"/>
              <a:ext cx="4402455" cy="278130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40" name="textruta 3">
                <a:extLst>
                  <a:ext uri="{FF2B5EF4-FFF2-40B4-BE49-F238E27FC236}">
                    <a16:creationId xmlns:a16="http://schemas.microsoft.com/office/drawing/2014/main" id="{5BFF1A36-C3CA-4D5C-87F8-C035F430FE12}"/>
                  </a:ext>
                </a:extLst>
              </p:cNvPr>
              <p:cNvSpPr txBox="1"/>
              <p:nvPr/>
            </p:nvSpPr>
            <p:spPr>
              <a:xfrm>
                <a:off x="699770" y="496837"/>
                <a:ext cx="838200" cy="464820"/>
              </a:xfrm>
              <a:prstGeom prst="rect">
                <a:avLst/>
              </a:prstGeom>
              <a:noFill/>
              <a:ln w="9525" cmpd="sng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sv-SE" sz="1200" dirty="0">
                    <a:solidFill>
                      <a:schemeClr val="tx1"/>
                    </a:solidFill>
                    <a:latin typeface="Arial" panose="020B0604020202020204" pitchFamily="34" charset="0"/>
                    <a:ea typeface="Galaxie Polaris Medium" panose="02000000000000000000" pitchFamily="50" charset="0"/>
                    <a:cs typeface="Arial" panose="020B0604020202020204" pitchFamily="34" charset="0"/>
                  </a:rPr>
                  <a:t>90</a:t>
                </a:r>
              </a:p>
            </p:txBody>
          </p:sp>
          <p:sp>
            <p:nvSpPr>
              <p:cNvPr id="41" name="textruta 40">
                <a:extLst>
                  <a:ext uri="{FF2B5EF4-FFF2-40B4-BE49-F238E27FC236}">
                    <a16:creationId xmlns:a16="http://schemas.microsoft.com/office/drawing/2014/main" id="{AF55273F-EF1A-4C76-86AB-911D2697FB25}"/>
                  </a:ext>
                </a:extLst>
              </p:cNvPr>
              <p:cNvSpPr txBox="1"/>
              <p:nvPr/>
            </p:nvSpPr>
            <p:spPr>
              <a:xfrm>
                <a:off x="1397091" y="0"/>
                <a:ext cx="838200" cy="464820"/>
              </a:xfrm>
              <a:prstGeom prst="rect">
                <a:avLst/>
              </a:prstGeom>
              <a:noFill/>
              <a:ln w="9525" cmpd="sng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sv-SE" sz="1200">
                    <a:solidFill>
                      <a:schemeClr val="tx1"/>
                    </a:solidFill>
                    <a:latin typeface="Arial" panose="020B0604020202020204" pitchFamily="34" charset="0"/>
                    <a:ea typeface="Galaxie Polaris Medium" panose="02000000000000000000" pitchFamily="50" charset="0"/>
                    <a:cs typeface="Arial" panose="020B0604020202020204" pitchFamily="34" charset="0"/>
                  </a:rPr>
                  <a:t>99</a:t>
                </a:r>
              </a:p>
            </p:txBody>
          </p:sp>
          <p:sp>
            <p:nvSpPr>
              <p:cNvPr id="42" name="textruta 41">
                <a:extLst>
                  <a:ext uri="{FF2B5EF4-FFF2-40B4-BE49-F238E27FC236}">
                    <a16:creationId xmlns:a16="http://schemas.microsoft.com/office/drawing/2014/main" id="{1BE8729A-8B84-451C-A048-BE2D0DC75C16}"/>
                  </a:ext>
                </a:extLst>
              </p:cNvPr>
              <p:cNvSpPr txBox="1"/>
              <p:nvPr/>
            </p:nvSpPr>
            <p:spPr>
              <a:xfrm>
                <a:off x="2556918" y="1"/>
                <a:ext cx="838200" cy="464820"/>
              </a:xfrm>
              <a:prstGeom prst="rect">
                <a:avLst/>
              </a:prstGeom>
              <a:noFill/>
              <a:ln w="9525" cmpd="sng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sv-SE" sz="1200">
                    <a:solidFill>
                      <a:schemeClr val="tx1"/>
                    </a:solidFill>
                    <a:latin typeface="Arial" panose="020B0604020202020204" pitchFamily="34" charset="0"/>
                    <a:ea typeface="Galaxie Polaris Medium" panose="02000000000000000000" pitchFamily="50" charset="0"/>
                    <a:cs typeface="Arial" panose="020B0604020202020204" pitchFamily="34" charset="0"/>
                  </a:rPr>
                  <a:t>101</a:t>
                </a:r>
              </a:p>
            </p:txBody>
          </p:sp>
          <p:sp>
            <p:nvSpPr>
              <p:cNvPr id="43" name="textruta 42">
                <a:extLst>
                  <a:ext uri="{FF2B5EF4-FFF2-40B4-BE49-F238E27FC236}">
                    <a16:creationId xmlns:a16="http://schemas.microsoft.com/office/drawing/2014/main" id="{1A9C2695-A435-4854-B76C-5C3A45DB73CD}"/>
                  </a:ext>
                </a:extLst>
              </p:cNvPr>
              <p:cNvSpPr txBox="1"/>
              <p:nvPr/>
            </p:nvSpPr>
            <p:spPr>
              <a:xfrm>
                <a:off x="3250519" y="496836"/>
                <a:ext cx="838200" cy="464820"/>
              </a:xfrm>
              <a:prstGeom prst="rect">
                <a:avLst/>
              </a:prstGeom>
              <a:noFill/>
              <a:ln w="9525" cmpd="sng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sv-SE" sz="1200">
                    <a:solidFill>
                      <a:schemeClr val="tx1"/>
                    </a:solidFill>
                    <a:latin typeface="Arial" panose="020B0604020202020204" pitchFamily="34" charset="0"/>
                    <a:ea typeface="Galaxie Polaris Medium" panose="02000000000000000000" pitchFamily="50" charset="0"/>
                    <a:cs typeface="Arial" panose="020B0604020202020204" pitchFamily="34" charset="0"/>
                  </a:rPr>
                  <a:t>110</a:t>
                </a:r>
              </a:p>
            </p:txBody>
          </p:sp>
        </p:grpSp>
        <p:sp>
          <p:nvSpPr>
            <p:cNvPr id="38" name="textruta 37">
              <a:extLst>
                <a:ext uri="{FF2B5EF4-FFF2-40B4-BE49-F238E27FC236}">
                  <a16:creationId xmlns:a16="http://schemas.microsoft.com/office/drawing/2014/main" id="{A8169016-5000-41C7-A6C1-0AC493F75C87}"/>
                </a:ext>
              </a:extLst>
            </p:cNvPr>
            <p:cNvSpPr txBox="1"/>
            <p:nvPr/>
          </p:nvSpPr>
          <p:spPr>
            <a:xfrm>
              <a:off x="6233187" y="2515821"/>
              <a:ext cx="98519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sv-SE" sz="1600" dirty="0"/>
                <a:t>Tjänster</a:t>
              </a:r>
            </a:p>
          </p:txBody>
        </p:sp>
      </p:grpSp>
      <p:grpSp>
        <p:nvGrpSpPr>
          <p:cNvPr id="44" name="Grupp 43">
            <a:extLst>
              <a:ext uri="{FF2B5EF4-FFF2-40B4-BE49-F238E27FC236}">
                <a16:creationId xmlns:a16="http://schemas.microsoft.com/office/drawing/2014/main" id="{BD67C057-F384-4B1A-B217-8D23729B7460}"/>
              </a:ext>
            </a:extLst>
          </p:cNvPr>
          <p:cNvGrpSpPr/>
          <p:nvPr/>
        </p:nvGrpSpPr>
        <p:grpSpPr>
          <a:xfrm>
            <a:off x="1770633" y="1186353"/>
            <a:ext cx="3959468" cy="2773924"/>
            <a:chOff x="0" y="0"/>
            <a:chExt cx="4402455" cy="2950623"/>
          </a:xfrm>
        </p:grpSpPr>
        <p:graphicFrame>
          <p:nvGraphicFramePr>
            <p:cNvPr id="45" name="Diagram 44">
              <a:extLst>
                <a:ext uri="{FF2B5EF4-FFF2-40B4-BE49-F238E27FC236}">
                  <a16:creationId xmlns:a16="http://schemas.microsoft.com/office/drawing/2014/main" id="{AC2435B4-1A38-491D-B41F-A3DF6AC9228C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560891709"/>
                </p:ext>
              </p:extLst>
            </p:nvPr>
          </p:nvGraphicFramePr>
          <p:xfrm>
            <a:off x="0" y="169323"/>
            <a:ext cx="4402455" cy="27813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46" name="textruta 3">
              <a:extLst>
                <a:ext uri="{FF2B5EF4-FFF2-40B4-BE49-F238E27FC236}">
                  <a16:creationId xmlns:a16="http://schemas.microsoft.com/office/drawing/2014/main" id="{236DCC54-DC37-4289-894A-7CED55FF9806}"/>
                </a:ext>
              </a:extLst>
            </p:cNvPr>
            <p:cNvSpPr txBox="1"/>
            <p:nvPr/>
          </p:nvSpPr>
          <p:spPr>
            <a:xfrm>
              <a:off x="699770" y="496837"/>
              <a:ext cx="838200" cy="464820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sv-SE" sz="1200" dirty="0">
                  <a:solidFill>
                    <a:schemeClr val="tx1"/>
                  </a:solidFill>
                  <a:latin typeface="Arial" panose="020B0604020202020204" pitchFamily="34" charset="0"/>
                  <a:ea typeface="Galaxie Polaris Medium" panose="02000000000000000000" pitchFamily="50" charset="0"/>
                  <a:cs typeface="Arial" panose="020B0604020202020204" pitchFamily="34" charset="0"/>
                </a:rPr>
                <a:t>90</a:t>
              </a:r>
            </a:p>
          </p:txBody>
        </p:sp>
        <p:sp>
          <p:nvSpPr>
            <p:cNvPr id="47" name="textruta 46">
              <a:extLst>
                <a:ext uri="{FF2B5EF4-FFF2-40B4-BE49-F238E27FC236}">
                  <a16:creationId xmlns:a16="http://schemas.microsoft.com/office/drawing/2014/main" id="{B3673696-7787-4D4F-A648-3E6EB24ED221}"/>
                </a:ext>
              </a:extLst>
            </p:cNvPr>
            <p:cNvSpPr txBox="1"/>
            <p:nvPr/>
          </p:nvSpPr>
          <p:spPr>
            <a:xfrm>
              <a:off x="1397091" y="0"/>
              <a:ext cx="838200" cy="464820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sv-SE" sz="1200">
                  <a:solidFill>
                    <a:schemeClr val="tx1"/>
                  </a:solidFill>
                  <a:latin typeface="Arial" panose="020B0604020202020204" pitchFamily="34" charset="0"/>
                  <a:ea typeface="Galaxie Polaris Medium" panose="02000000000000000000" pitchFamily="50" charset="0"/>
                  <a:cs typeface="Arial" panose="020B0604020202020204" pitchFamily="34" charset="0"/>
                </a:rPr>
                <a:t>99</a:t>
              </a:r>
            </a:p>
          </p:txBody>
        </p:sp>
        <p:sp>
          <p:nvSpPr>
            <p:cNvPr id="48" name="textruta 47">
              <a:extLst>
                <a:ext uri="{FF2B5EF4-FFF2-40B4-BE49-F238E27FC236}">
                  <a16:creationId xmlns:a16="http://schemas.microsoft.com/office/drawing/2014/main" id="{B25B53CD-97FE-4E60-B983-D320271BAE24}"/>
                </a:ext>
              </a:extLst>
            </p:cNvPr>
            <p:cNvSpPr txBox="1"/>
            <p:nvPr/>
          </p:nvSpPr>
          <p:spPr>
            <a:xfrm>
              <a:off x="2556918" y="1"/>
              <a:ext cx="838200" cy="464820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sv-SE" sz="1200">
                  <a:solidFill>
                    <a:schemeClr val="tx1"/>
                  </a:solidFill>
                  <a:latin typeface="Arial" panose="020B0604020202020204" pitchFamily="34" charset="0"/>
                  <a:ea typeface="Galaxie Polaris Medium" panose="02000000000000000000" pitchFamily="50" charset="0"/>
                  <a:cs typeface="Arial" panose="020B0604020202020204" pitchFamily="34" charset="0"/>
                </a:rPr>
                <a:t>101</a:t>
              </a:r>
            </a:p>
          </p:txBody>
        </p:sp>
        <p:sp>
          <p:nvSpPr>
            <p:cNvPr id="49" name="textruta 48">
              <a:extLst>
                <a:ext uri="{FF2B5EF4-FFF2-40B4-BE49-F238E27FC236}">
                  <a16:creationId xmlns:a16="http://schemas.microsoft.com/office/drawing/2014/main" id="{50AEE4A3-A736-4EB8-A397-950345FDED43}"/>
                </a:ext>
              </a:extLst>
            </p:cNvPr>
            <p:cNvSpPr txBox="1"/>
            <p:nvPr/>
          </p:nvSpPr>
          <p:spPr>
            <a:xfrm>
              <a:off x="3250519" y="496836"/>
              <a:ext cx="838200" cy="464820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sv-SE" sz="1200">
                  <a:solidFill>
                    <a:schemeClr val="tx1"/>
                  </a:solidFill>
                  <a:latin typeface="Arial" panose="020B0604020202020204" pitchFamily="34" charset="0"/>
                  <a:ea typeface="Galaxie Polaris Medium" panose="02000000000000000000" pitchFamily="50" charset="0"/>
                  <a:cs typeface="Arial" panose="020B0604020202020204" pitchFamily="34" charset="0"/>
                </a:rPr>
                <a:t>110</a:t>
              </a:r>
            </a:p>
          </p:txBody>
        </p:sp>
      </p:grpSp>
      <p:grpSp>
        <p:nvGrpSpPr>
          <p:cNvPr id="50" name="Grupp 49">
            <a:extLst>
              <a:ext uri="{FF2B5EF4-FFF2-40B4-BE49-F238E27FC236}">
                <a16:creationId xmlns:a16="http://schemas.microsoft.com/office/drawing/2014/main" id="{68385448-2401-46B0-A98A-93D418F8AE34}"/>
              </a:ext>
            </a:extLst>
          </p:cNvPr>
          <p:cNvGrpSpPr/>
          <p:nvPr/>
        </p:nvGrpSpPr>
        <p:grpSpPr>
          <a:xfrm>
            <a:off x="1809184" y="3079422"/>
            <a:ext cx="3564897" cy="2774797"/>
            <a:chOff x="571700" y="2891284"/>
            <a:chExt cx="3564897" cy="2774797"/>
          </a:xfrm>
        </p:grpSpPr>
        <p:grpSp>
          <p:nvGrpSpPr>
            <p:cNvPr id="51" name="Grupp 50">
              <a:extLst>
                <a:ext uri="{FF2B5EF4-FFF2-40B4-BE49-F238E27FC236}">
                  <a16:creationId xmlns:a16="http://schemas.microsoft.com/office/drawing/2014/main" id="{6496049F-0E53-43A2-B9AA-C7D9614F0D6D}"/>
                </a:ext>
              </a:extLst>
            </p:cNvPr>
            <p:cNvGrpSpPr/>
            <p:nvPr/>
          </p:nvGrpSpPr>
          <p:grpSpPr>
            <a:xfrm>
              <a:off x="571700" y="2891284"/>
              <a:ext cx="1276596" cy="2278253"/>
              <a:chOff x="559902" y="3664778"/>
              <a:chExt cx="1276596" cy="2278253"/>
            </a:xfrm>
          </p:grpSpPr>
          <p:pic>
            <p:nvPicPr>
              <p:cNvPr id="72" name="Bildobjekt 71">
                <a:extLst>
                  <a:ext uri="{FF2B5EF4-FFF2-40B4-BE49-F238E27FC236}">
                    <a16:creationId xmlns:a16="http://schemas.microsoft.com/office/drawing/2014/main" id="{E44D20B2-537F-448D-90B3-E1C31EF5B3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38200" y="4384778"/>
                <a:ext cx="720000" cy="72000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73" name="Bildobjekt 72">
                <a:extLst>
                  <a:ext uri="{FF2B5EF4-FFF2-40B4-BE49-F238E27FC236}">
                    <a16:creationId xmlns:a16="http://schemas.microsoft.com/office/drawing/2014/main" id="{CA53E587-B20B-47D9-9579-EF751C65581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38200" y="3664778"/>
                <a:ext cx="720000" cy="720000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74" name="Bildobjekt 73">
                <a:extLst>
                  <a:ext uri="{FF2B5EF4-FFF2-40B4-BE49-F238E27FC236}">
                    <a16:creationId xmlns:a16="http://schemas.microsoft.com/office/drawing/2014/main" id="{2292B1DF-02EF-4F19-B3D0-0B494CBBF7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38200" y="5104778"/>
                <a:ext cx="720000" cy="720000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75" name="textruta 74">
                <a:extLst>
                  <a:ext uri="{FF2B5EF4-FFF2-40B4-BE49-F238E27FC236}">
                    <a16:creationId xmlns:a16="http://schemas.microsoft.com/office/drawing/2014/main" id="{83F5D0DD-9FD5-4080-A5AB-2D4C2E5CAA87}"/>
                  </a:ext>
                </a:extLst>
              </p:cNvPr>
              <p:cNvSpPr txBox="1"/>
              <p:nvPr/>
            </p:nvSpPr>
            <p:spPr>
              <a:xfrm>
                <a:off x="559902" y="4163268"/>
                <a:ext cx="127659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sv-SE" sz="1400" dirty="0"/>
                  <a:t>Försäljning</a:t>
                </a:r>
              </a:p>
            </p:txBody>
          </p:sp>
          <p:sp>
            <p:nvSpPr>
              <p:cNvPr id="76" name="textruta 75">
                <a:extLst>
                  <a:ext uri="{FF2B5EF4-FFF2-40B4-BE49-F238E27FC236}">
                    <a16:creationId xmlns:a16="http://schemas.microsoft.com/office/drawing/2014/main" id="{AE5D072A-844C-4B7C-8BDE-F23B36191169}"/>
                  </a:ext>
                </a:extLst>
              </p:cNvPr>
              <p:cNvSpPr txBox="1"/>
              <p:nvPr/>
            </p:nvSpPr>
            <p:spPr>
              <a:xfrm>
                <a:off x="559902" y="4911137"/>
                <a:ext cx="127659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sv-SE" sz="1400" dirty="0"/>
                  <a:t>Anställda</a:t>
                </a:r>
              </a:p>
            </p:txBody>
          </p:sp>
          <p:sp>
            <p:nvSpPr>
              <p:cNvPr id="77" name="textruta 76">
                <a:extLst>
                  <a:ext uri="{FF2B5EF4-FFF2-40B4-BE49-F238E27FC236}">
                    <a16:creationId xmlns:a16="http://schemas.microsoft.com/office/drawing/2014/main" id="{B7117ED5-249F-470F-B2B9-47A24539E9BD}"/>
                  </a:ext>
                </a:extLst>
              </p:cNvPr>
              <p:cNvSpPr txBox="1"/>
              <p:nvPr/>
            </p:nvSpPr>
            <p:spPr>
              <a:xfrm>
                <a:off x="559902" y="5635254"/>
                <a:ext cx="127659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sv-SE" sz="1400" dirty="0"/>
                  <a:t>Lönsamhet</a:t>
                </a:r>
              </a:p>
            </p:txBody>
          </p:sp>
        </p:grpSp>
        <p:grpSp>
          <p:nvGrpSpPr>
            <p:cNvPr id="52" name="Grupp 51">
              <a:extLst>
                <a:ext uri="{FF2B5EF4-FFF2-40B4-BE49-F238E27FC236}">
                  <a16:creationId xmlns:a16="http://schemas.microsoft.com/office/drawing/2014/main" id="{159C0183-0A5B-4F4D-BF23-4476605D0AE2}"/>
                </a:ext>
              </a:extLst>
            </p:cNvPr>
            <p:cNvGrpSpPr/>
            <p:nvPr/>
          </p:nvGrpSpPr>
          <p:grpSpPr>
            <a:xfrm>
              <a:off x="1924644" y="3038174"/>
              <a:ext cx="2211953" cy="2627907"/>
              <a:chOff x="1924644" y="3144356"/>
              <a:chExt cx="2211953" cy="2627907"/>
            </a:xfrm>
          </p:grpSpPr>
          <p:grpSp>
            <p:nvGrpSpPr>
              <p:cNvPr id="53" name="Grupp 52">
                <a:extLst>
                  <a:ext uri="{FF2B5EF4-FFF2-40B4-BE49-F238E27FC236}">
                    <a16:creationId xmlns:a16="http://schemas.microsoft.com/office/drawing/2014/main" id="{1A2C06BF-13E5-4591-AE5A-877791D205DB}"/>
                  </a:ext>
                </a:extLst>
              </p:cNvPr>
              <p:cNvGrpSpPr/>
              <p:nvPr/>
            </p:nvGrpSpPr>
            <p:grpSpPr>
              <a:xfrm>
                <a:off x="1924644" y="3144356"/>
                <a:ext cx="985192" cy="2627907"/>
                <a:chOff x="1924644" y="3144356"/>
                <a:chExt cx="985192" cy="2627907"/>
              </a:xfrm>
            </p:grpSpPr>
            <p:grpSp>
              <p:nvGrpSpPr>
                <p:cNvPr id="66" name="Grupp 65">
                  <a:extLst>
                    <a:ext uri="{FF2B5EF4-FFF2-40B4-BE49-F238E27FC236}">
                      <a16:creationId xmlns:a16="http://schemas.microsoft.com/office/drawing/2014/main" id="{4682FC9D-749D-4D78-9A78-09A466FDFE11}"/>
                    </a:ext>
                  </a:extLst>
                </p:cNvPr>
                <p:cNvGrpSpPr/>
                <p:nvPr/>
              </p:nvGrpSpPr>
              <p:grpSpPr>
                <a:xfrm>
                  <a:off x="1968465" y="5344817"/>
                  <a:ext cx="900000" cy="128103"/>
                  <a:chOff x="1891774" y="5580792"/>
                  <a:chExt cx="900000" cy="128103"/>
                </a:xfrm>
              </p:grpSpPr>
              <p:cxnSp>
                <p:nvCxnSpPr>
                  <p:cNvPr id="70" name="Rak koppling 69">
                    <a:extLst>
                      <a:ext uri="{FF2B5EF4-FFF2-40B4-BE49-F238E27FC236}">
                        <a16:creationId xmlns:a16="http://schemas.microsoft.com/office/drawing/2014/main" id="{E36BD898-CDE7-4E20-8496-0F136F8469D8}"/>
                      </a:ext>
                    </a:extLst>
                  </p:cNvPr>
                  <p:cNvCxnSpPr/>
                  <p:nvPr/>
                </p:nvCxnSpPr>
                <p:spPr>
                  <a:xfrm>
                    <a:off x="1891774" y="5580792"/>
                    <a:ext cx="900000" cy="0"/>
                  </a:xfrm>
                  <a:prstGeom prst="line">
                    <a:avLst/>
                  </a:prstGeom>
                  <a:ln w="38100" cap="rnd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Rak koppling 70">
                    <a:extLst>
                      <a:ext uri="{FF2B5EF4-FFF2-40B4-BE49-F238E27FC236}">
                        <a16:creationId xmlns:a16="http://schemas.microsoft.com/office/drawing/2014/main" id="{4712C3EE-71C8-434A-9956-5941B02EEB2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6200000">
                    <a:off x="2286549" y="5654895"/>
                    <a:ext cx="108000" cy="0"/>
                  </a:xfrm>
                  <a:prstGeom prst="line">
                    <a:avLst/>
                  </a:prstGeom>
                  <a:ln w="38100" cap="rnd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67" name="Rak koppling 66">
                  <a:extLst>
                    <a:ext uri="{FF2B5EF4-FFF2-40B4-BE49-F238E27FC236}">
                      <a16:creationId xmlns:a16="http://schemas.microsoft.com/office/drawing/2014/main" id="{96CEE88D-4854-4E6E-800A-29A3EC00CC12}"/>
                    </a:ext>
                  </a:extLst>
                </p:cNvPr>
                <p:cNvCxnSpPr/>
                <p:nvPr/>
              </p:nvCxnSpPr>
              <p:spPr>
                <a:xfrm>
                  <a:off x="1968465" y="3144356"/>
                  <a:ext cx="0" cy="2064774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" name="Rak koppling 67">
                  <a:extLst>
                    <a:ext uri="{FF2B5EF4-FFF2-40B4-BE49-F238E27FC236}">
                      <a16:creationId xmlns:a16="http://schemas.microsoft.com/office/drawing/2014/main" id="{A9693B2C-1920-4695-9043-957C0FD38A42}"/>
                    </a:ext>
                  </a:extLst>
                </p:cNvPr>
                <p:cNvCxnSpPr/>
                <p:nvPr/>
              </p:nvCxnSpPr>
              <p:spPr>
                <a:xfrm>
                  <a:off x="2870258" y="3144356"/>
                  <a:ext cx="0" cy="2064774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9" name="textruta 68">
                  <a:extLst>
                    <a:ext uri="{FF2B5EF4-FFF2-40B4-BE49-F238E27FC236}">
                      <a16:creationId xmlns:a16="http://schemas.microsoft.com/office/drawing/2014/main" id="{B1DA8315-438C-4BFA-B053-C63814585B25}"/>
                    </a:ext>
                  </a:extLst>
                </p:cNvPr>
                <p:cNvSpPr txBox="1"/>
                <p:nvPr/>
              </p:nvSpPr>
              <p:spPr>
                <a:xfrm>
                  <a:off x="1924644" y="5464486"/>
                  <a:ext cx="985192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sv-SE" sz="1400" dirty="0"/>
                    <a:t>2021 Q4</a:t>
                  </a:r>
                </a:p>
              </p:txBody>
            </p:sp>
          </p:grpSp>
          <p:grpSp>
            <p:nvGrpSpPr>
              <p:cNvPr id="54" name="Grupp 53">
                <a:extLst>
                  <a:ext uri="{FF2B5EF4-FFF2-40B4-BE49-F238E27FC236}">
                    <a16:creationId xmlns:a16="http://schemas.microsoft.com/office/drawing/2014/main" id="{4FFF1F8C-4A86-44C7-A89B-D58C74073859}"/>
                  </a:ext>
                </a:extLst>
              </p:cNvPr>
              <p:cNvGrpSpPr/>
              <p:nvPr/>
            </p:nvGrpSpPr>
            <p:grpSpPr>
              <a:xfrm>
                <a:off x="3151405" y="3144356"/>
                <a:ext cx="985192" cy="2627907"/>
                <a:chOff x="1932061" y="3144356"/>
                <a:chExt cx="985192" cy="2627907"/>
              </a:xfrm>
            </p:grpSpPr>
            <p:grpSp>
              <p:nvGrpSpPr>
                <p:cNvPr id="60" name="Grupp 59">
                  <a:extLst>
                    <a:ext uri="{FF2B5EF4-FFF2-40B4-BE49-F238E27FC236}">
                      <a16:creationId xmlns:a16="http://schemas.microsoft.com/office/drawing/2014/main" id="{C37C19AF-5993-40B4-ADD7-92CBB74159CC}"/>
                    </a:ext>
                  </a:extLst>
                </p:cNvPr>
                <p:cNvGrpSpPr/>
                <p:nvPr/>
              </p:nvGrpSpPr>
              <p:grpSpPr>
                <a:xfrm>
                  <a:off x="1975882" y="5344817"/>
                  <a:ext cx="900000" cy="128103"/>
                  <a:chOff x="1899191" y="5580792"/>
                  <a:chExt cx="900000" cy="128103"/>
                </a:xfrm>
              </p:grpSpPr>
              <p:cxnSp>
                <p:nvCxnSpPr>
                  <p:cNvPr id="64" name="Rak koppling 63">
                    <a:extLst>
                      <a:ext uri="{FF2B5EF4-FFF2-40B4-BE49-F238E27FC236}">
                        <a16:creationId xmlns:a16="http://schemas.microsoft.com/office/drawing/2014/main" id="{24963235-88A8-4534-8795-9A7E5DBD2698}"/>
                      </a:ext>
                    </a:extLst>
                  </p:cNvPr>
                  <p:cNvCxnSpPr/>
                  <p:nvPr/>
                </p:nvCxnSpPr>
                <p:spPr>
                  <a:xfrm>
                    <a:off x="1899191" y="5580792"/>
                    <a:ext cx="900000" cy="0"/>
                  </a:xfrm>
                  <a:prstGeom prst="line">
                    <a:avLst/>
                  </a:prstGeom>
                  <a:ln w="38100" cap="rnd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5" name="Rak koppling 64">
                    <a:extLst>
                      <a:ext uri="{FF2B5EF4-FFF2-40B4-BE49-F238E27FC236}">
                        <a16:creationId xmlns:a16="http://schemas.microsoft.com/office/drawing/2014/main" id="{5A98A14B-577B-4992-B24A-F6AE6834E1D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rot="16200000">
                    <a:off x="2293966" y="5654895"/>
                    <a:ext cx="108000" cy="0"/>
                  </a:xfrm>
                  <a:prstGeom prst="line">
                    <a:avLst/>
                  </a:prstGeom>
                  <a:ln w="38100" cap="rnd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61" name="Rak koppling 60">
                  <a:extLst>
                    <a:ext uri="{FF2B5EF4-FFF2-40B4-BE49-F238E27FC236}">
                      <a16:creationId xmlns:a16="http://schemas.microsoft.com/office/drawing/2014/main" id="{A6E991B5-60C1-43A8-A3B7-4419432D700D}"/>
                    </a:ext>
                  </a:extLst>
                </p:cNvPr>
                <p:cNvCxnSpPr/>
                <p:nvPr/>
              </p:nvCxnSpPr>
              <p:spPr>
                <a:xfrm>
                  <a:off x="1975882" y="3144356"/>
                  <a:ext cx="0" cy="2064774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" name="Rak koppling 61">
                  <a:extLst>
                    <a:ext uri="{FF2B5EF4-FFF2-40B4-BE49-F238E27FC236}">
                      <a16:creationId xmlns:a16="http://schemas.microsoft.com/office/drawing/2014/main" id="{F215F74E-1B26-49FB-BEBA-A89477D36B0E}"/>
                    </a:ext>
                  </a:extLst>
                </p:cNvPr>
                <p:cNvCxnSpPr/>
                <p:nvPr/>
              </p:nvCxnSpPr>
              <p:spPr>
                <a:xfrm>
                  <a:off x="2877675" y="3144356"/>
                  <a:ext cx="0" cy="2064774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3" name="textruta 62">
                  <a:extLst>
                    <a:ext uri="{FF2B5EF4-FFF2-40B4-BE49-F238E27FC236}">
                      <a16:creationId xmlns:a16="http://schemas.microsoft.com/office/drawing/2014/main" id="{0CA6C95E-5324-4B7B-B360-CAE59CB8BCA8}"/>
                    </a:ext>
                  </a:extLst>
                </p:cNvPr>
                <p:cNvSpPr txBox="1"/>
                <p:nvPr/>
              </p:nvSpPr>
              <p:spPr>
                <a:xfrm>
                  <a:off x="1932061" y="5464486"/>
                  <a:ext cx="985192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sv-SE" sz="1400" dirty="0"/>
                    <a:t>2022 Q1</a:t>
                  </a:r>
                </a:p>
              </p:txBody>
            </p:sp>
          </p:grpSp>
          <p:cxnSp>
            <p:nvCxnSpPr>
              <p:cNvPr id="55" name="Rak koppling 54">
                <a:extLst>
                  <a:ext uri="{FF2B5EF4-FFF2-40B4-BE49-F238E27FC236}">
                    <a16:creationId xmlns:a16="http://schemas.microsoft.com/office/drawing/2014/main" id="{579F2455-DD09-4A1A-84E5-B5AF44C0A09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264313" y="4031449"/>
                <a:ext cx="349494" cy="237944"/>
              </a:xfrm>
              <a:prstGeom prst="line">
                <a:avLst/>
              </a:prstGeom>
              <a:ln w="38100" cap="rnd">
                <a:solidFill>
                  <a:sysClr val="windowText" lastClr="000000"/>
                </a:solidFill>
                <a:head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Rak koppling 55">
                <a:extLst>
                  <a:ext uri="{FF2B5EF4-FFF2-40B4-BE49-F238E27FC236}">
                    <a16:creationId xmlns:a16="http://schemas.microsoft.com/office/drawing/2014/main" id="{B7855B62-03F1-4331-8933-755AAEC262D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286016" y="3303812"/>
                <a:ext cx="349494" cy="216313"/>
              </a:xfrm>
              <a:prstGeom prst="line">
                <a:avLst/>
              </a:prstGeom>
              <a:ln w="38100" cap="rnd">
                <a:solidFill>
                  <a:sysClr val="windowText" lastClr="000000"/>
                </a:solidFill>
                <a:head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Rak koppling 56">
                <a:extLst>
                  <a:ext uri="{FF2B5EF4-FFF2-40B4-BE49-F238E27FC236}">
                    <a16:creationId xmlns:a16="http://schemas.microsoft.com/office/drawing/2014/main" id="{8960FB4D-E205-4BF6-8BFD-34FADFD5B20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286016" y="4757419"/>
                <a:ext cx="349494" cy="237944"/>
              </a:xfrm>
              <a:prstGeom prst="line">
                <a:avLst/>
              </a:prstGeom>
              <a:ln w="38100" cap="rnd">
                <a:solidFill>
                  <a:sysClr val="windowText" lastClr="000000"/>
                </a:solidFill>
                <a:head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Rak koppling 57">
                <a:extLst>
                  <a:ext uri="{FF2B5EF4-FFF2-40B4-BE49-F238E27FC236}">
                    <a16:creationId xmlns:a16="http://schemas.microsoft.com/office/drawing/2014/main" id="{CFEE55C6-59F0-4D1E-8D3E-DA215C8EDE4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497805" y="4030469"/>
                <a:ext cx="349494" cy="237944"/>
              </a:xfrm>
              <a:prstGeom prst="line">
                <a:avLst/>
              </a:prstGeom>
              <a:ln w="38100" cap="rnd">
                <a:solidFill>
                  <a:sysClr val="windowText" lastClr="000000"/>
                </a:solidFill>
                <a:head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Rak koppling 58">
                <a:extLst>
                  <a:ext uri="{FF2B5EF4-FFF2-40B4-BE49-F238E27FC236}">
                    <a16:creationId xmlns:a16="http://schemas.microsoft.com/office/drawing/2014/main" id="{A8F4279E-BB35-43A5-96CF-B1FFEA2BDE5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519508" y="3302832"/>
                <a:ext cx="349494" cy="216313"/>
              </a:xfrm>
              <a:prstGeom prst="line">
                <a:avLst/>
              </a:prstGeom>
              <a:ln w="38100" cap="rnd">
                <a:solidFill>
                  <a:sysClr val="windowText" lastClr="000000"/>
                </a:solidFill>
                <a:head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7" name="textruta 106">
            <a:extLst>
              <a:ext uri="{FF2B5EF4-FFF2-40B4-BE49-F238E27FC236}">
                <a16:creationId xmlns:a16="http://schemas.microsoft.com/office/drawing/2014/main" id="{96337DA9-601F-4815-B21F-31E3604A130B}"/>
              </a:ext>
            </a:extLst>
          </p:cNvPr>
          <p:cNvSpPr txBox="1"/>
          <p:nvPr/>
        </p:nvSpPr>
        <p:spPr>
          <a:xfrm>
            <a:off x="1644056" y="2490445"/>
            <a:ext cx="9851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600" dirty="0"/>
              <a:t>Handel</a:t>
            </a:r>
          </a:p>
        </p:txBody>
      </p:sp>
      <p:grpSp>
        <p:nvGrpSpPr>
          <p:cNvPr id="3" name="Grupp 2">
            <a:extLst>
              <a:ext uri="{FF2B5EF4-FFF2-40B4-BE49-F238E27FC236}">
                <a16:creationId xmlns:a16="http://schemas.microsoft.com/office/drawing/2014/main" id="{696CDE08-7628-43BB-909B-9A6D1EB94DFE}"/>
              </a:ext>
            </a:extLst>
          </p:cNvPr>
          <p:cNvGrpSpPr/>
          <p:nvPr/>
        </p:nvGrpSpPr>
        <p:grpSpPr>
          <a:xfrm>
            <a:off x="6654726" y="3079422"/>
            <a:ext cx="3585698" cy="2774797"/>
            <a:chOff x="6654726" y="3079422"/>
            <a:chExt cx="3585698" cy="2774797"/>
          </a:xfrm>
        </p:grpSpPr>
        <p:grpSp>
          <p:nvGrpSpPr>
            <p:cNvPr id="78" name="Grupp 77">
              <a:extLst>
                <a:ext uri="{FF2B5EF4-FFF2-40B4-BE49-F238E27FC236}">
                  <a16:creationId xmlns:a16="http://schemas.microsoft.com/office/drawing/2014/main" id="{16A4CAB9-8CA8-46F6-B764-DB61226A2BA6}"/>
                </a:ext>
              </a:extLst>
            </p:cNvPr>
            <p:cNvGrpSpPr/>
            <p:nvPr/>
          </p:nvGrpSpPr>
          <p:grpSpPr>
            <a:xfrm>
              <a:off x="6654726" y="3079422"/>
              <a:ext cx="3585698" cy="2774797"/>
              <a:chOff x="6665613" y="2891284"/>
              <a:chExt cx="3585698" cy="2774797"/>
            </a:xfrm>
          </p:grpSpPr>
          <p:grpSp>
            <p:nvGrpSpPr>
              <p:cNvPr id="79" name="Grupp 78">
                <a:extLst>
                  <a:ext uri="{FF2B5EF4-FFF2-40B4-BE49-F238E27FC236}">
                    <a16:creationId xmlns:a16="http://schemas.microsoft.com/office/drawing/2014/main" id="{FC7AA152-59A4-42DB-B61B-68F805BA2849}"/>
                  </a:ext>
                </a:extLst>
              </p:cNvPr>
              <p:cNvGrpSpPr/>
              <p:nvPr/>
            </p:nvGrpSpPr>
            <p:grpSpPr>
              <a:xfrm>
                <a:off x="6665613" y="2891284"/>
                <a:ext cx="1276596" cy="2278253"/>
                <a:chOff x="2120628" y="3557894"/>
                <a:chExt cx="1276596" cy="2278253"/>
              </a:xfrm>
            </p:grpSpPr>
            <p:pic>
              <p:nvPicPr>
                <p:cNvPr id="100" name="Bildobjekt 99">
                  <a:extLst>
                    <a:ext uri="{FF2B5EF4-FFF2-40B4-BE49-F238E27FC236}">
                      <a16:creationId xmlns:a16="http://schemas.microsoft.com/office/drawing/2014/main" id="{06DE0784-429C-4FE7-AF62-6F8A753F2DE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96151" y="4289959"/>
                  <a:ext cx="720000" cy="720000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101" name="Bildobjekt 100">
                  <a:extLst>
                    <a:ext uri="{FF2B5EF4-FFF2-40B4-BE49-F238E27FC236}">
                      <a16:creationId xmlns:a16="http://schemas.microsoft.com/office/drawing/2014/main" id="{CD959381-5E18-4391-A20C-AB3A81CEDE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96754" y="3557894"/>
                  <a:ext cx="720000" cy="720000"/>
                </a:xfrm>
                <a:prstGeom prst="rect">
                  <a:avLst/>
                </a:prstGeom>
                <a:ln>
                  <a:noFill/>
                </a:ln>
              </p:spPr>
            </p:pic>
            <p:grpSp>
              <p:nvGrpSpPr>
                <p:cNvPr id="102" name="Grupp 101">
                  <a:extLst>
                    <a:ext uri="{FF2B5EF4-FFF2-40B4-BE49-F238E27FC236}">
                      <a16:creationId xmlns:a16="http://schemas.microsoft.com/office/drawing/2014/main" id="{8A48517F-C315-4851-A081-E81810839011}"/>
                    </a:ext>
                  </a:extLst>
                </p:cNvPr>
                <p:cNvGrpSpPr/>
                <p:nvPr/>
              </p:nvGrpSpPr>
              <p:grpSpPr>
                <a:xfrm>
                  <a:off x="2120628" y="4056384"/>
                  <a:ext cx="1276596" cy="1779763"/>
                  <a:chOff x="559902" y="4163268"/>
                  <a:chExt cx="1276596" cy="1779763"/>
                </a:xfrm>
              </p:grpSpPr>
              <p:pic>
                <p:nvPicPr>
                  <p:cNvPr id="103" name="Bildobjekt 102">
                    <a:extLst>
                      <a:ext uri="{FF2B5EF4-FFF2-40B4-BE49-F238E27FC236}">
                        <a16:creationId xmlns:a16="http://schemas.microsoft.com/office/drawing/2014/main" id="{3B7BEC86-A1CC-42AA-9BF8-4AD6CEEBDE4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38200" y="5104778"/>
                    <a:ext cx="720000" cy="720000"/>
                  </a:xfrm>
                  <a:prstGeom prst="rect">
                    <a:avLst/>
                  </a:prstGeom>
                  <a:ln>
                    <a:noFill/>
                  </a:ln>
                </p:spPr>
              </p:pic>
              <p:sp>
                <p:nvSpPr>
                  <p:cNvPr id="104" name="textruta 103">
                    <a:extLst>
                      <a:ext uri="{FF2B5EF4-FFF2-40B4-BE49-F238E27FC236}">
                        <a16:creationId xmlns:a16="http://schemas.microsoft.com/office/drawing/2014/main" id="{7CA3250D-67B0-409B-B71A-B5AE3B018112}"/>
                      </a:ext>
                    </a:extLst>
                  </p:cNvPr>
                  <p:cNvSpPr txBox="1"/>
                  <p:nvPr/>
                </p:nvSpPr>
                <p:spPr>
                  <a:xfrm>
                    <a:off x="559902" y="4163268"/>
                    <a:ext cx="1276596" cy="30777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sv-SE" sz="1400" dirty="0"/>
                      <a:t>Efterfrågan</a:t>
                    </a:r>
                  </a:p>
                </p:txBody>
              </p:sp>
              <p:sp>
                <p:nvSpPr>
                  <p:cNvPr id="105" name="textruta 104">
                    <a:extLst>
                      <a:ext uri="{FF2B5EF4-FFF2-40B4-BE49-F238E27FC236}">
                        <a16:creationId xmlns:a16="http://schemas.microsoft.com/office/drawing/2014/main" id="{1AA7BEE2-A395-4B6E-A46B-295ED8D6FDE6}"/>
                      </a:ext>
                    </a:extLst>
                  </p:cNvPr>
                  <p:cNvSpPr txBox="1"/>
                  <p:nvPr/>
                </p:nvSpPr>
                <p:spPr>
                  <a:xfrm>
                    <a:off x="559902" y="4911137"/>
                    <a:ext cx="1276596" cy="30777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sv-SE" sz="1400" dirty="0"/>
                      <a:t>Anställda</a:t>
                    </a:r>
                  </a:p>
                </p:txBody>
              </p:sp>
              <p:sp>
                <p:nvSpPr>
                  <p:cNvPr id="106" name="textruta 105">
                    <a:extLst>
                      <a:ext uri="{FF2B5EF4-FFF2-40B4-BE49-F238E27FC236}">
                        <a16:creationId xmlns:a16="http://schemas.microsoft.com/office/drawing/2014/main" id="{E897A5D8-F9F3-46E8-A9FE-2BB8B3117AAC}"/>
                      </a:ext>
                    </a:extLst>
                  </p:cNvPr>
                  <p:cNvSpPr txBox="1"/>
                  <p:nvPr/>
                </p:nvSpPr>
                <p:spPr>
                  <a:xfrm>
                    <a:off x="559902" y="5635254"/>
                    <a:ext cx="1276596" cy="30777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sv-SE" sz="1400" dirty="0"/>
                      <a:t>Lönsamhet</a:t>
                    </a:r>
                  </a:p>
                </p:txBody>
              </p:sp>
            </p:grpSp>
          </p:grpSp>
          <p:grpSp>
            <p:nvGrpSpPr>
              <p:cNvPr id="80" name="Grupp 79">
                <a:extLst>
                  <a:ext uri="{FF2B5EF4-FFF2-40B4-BE49-F238E27FC236}">
                    <a16:creationId xmlns:a16="http://schemas.microsoft.com/office/drawing/2014/main" id="{21F88C23-5818-4EDE-A863-7ACBDB69A297}"/>
                  </a:ext>
                </a:extLst>
              </p:cNvPr>
              <p:cNvGrpSpPr/>
              <p:nvPr/>
            </p:nvGrpSpPr>
            <p:grpSpPr>
              <a:xfrm>
                <a:off x="8032987" y="3038174"/>
                <a:ext cx="2218324" cy="2627907"/>
                <a:chOff x="1942338" y="3144356"/>
                <a:chExt cx="2218324" cy="2627907"/>
              </a:xfrm>
            </p:grpSpPr>
            <p:grpSp>
              <p:nvGrpSpPr>
                <p:cNvPr id="81" name="Grupp 80">
                  <a:extLst>
                    <a:ext uri="{FF2B5EF4-FFF2-40B4-BE49-F238E27FC236}">
                      <a16:creationId xmlns:a16="http://schemas.microsoft.com/office/drawing/2014/main" id="{4F44FE6E-B224-4AAA-B466-B0FC573CFEFF}"/>
                    </a:ext>
                  </a:extLst>
                </p:cNvPr>
                <p:cNvGrpSpPr/>
                <p:nvPr/>
              </p:nvGrpSpPr>
              <p:grpSpPr>
                <a:xfrm>
                  <a:off x="1942338" y="3144356"/>
                  <a:ext cx="985192" cy="2627907"/>
                  <a:chOff x="1942338" y="3144356"/>
                  <a:chExt cx="985192" cy="2627907"/>
                </a:xfrm>
              </p:grpSpPr>
              <p:grpSp>
                <p:nvGrpSpPr>
                  <p:cNvPr id="94" name="Grupp 93">
                    <a:extLst>
                      <a:ext uri="{FF2B5EF4-FFF2-40B4-BE49-F238E27FC236}">
                        <a16:creationId xmlns:a16="http://schemas.microsoft.com/office/drawing/2014/main" id="{5F6E4C8E-CC5E-4812-A878-A614B59377D1}"/>
                      </a:ext>
                    </a:extLst>
                  </p:cNvPr>
                  <p:cNvGrpSpPr/>
                  <p:nvPr/>
                </p:nvGrpSpPr>
                <p:grpSpPr>
                  <a:xfrm>
                    <a:off x="1986159" y="5344817"/>
                    <a:ext cx="900000" cy="128103"/>
                    <a:chOff x="1909468" y="5580792"/>
                    <a:chExt cx="900000" cy="128103"/>
                  </a:xfrm>
                </p:grpSpPr>
                <p:cxnSp>
                  <p:nvCxnSpPr>
                    <p:cNvPr id="98" name="Rak koppling 97">
                      <a:extLst>
                        <a:ext uri="{FF2B5EF4-FFF2-40B4-BE49-F238E27FC236}">
                          <a16:creationId xmlns:a16="http://schemas.microsoft.com/office/drawing/2014/main" id="{603D986D-7229-4B49-8ED4-205DEF263C1B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1909468" y="5580792"/>
                      <a:ext cx="900000" cy="0"/>
                    </a:xfrm>
                    <a:prstGeom prst="line">
                      <a:avLst/>
                    </a:prstGeom>
                    <a:ln w="38100" cap="rnd">
                      <a:solidFill>
                        <a:schemeClr val="tx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9" name="Rak koppling 98">
                      <a:extLst>
                        <a:ext uri="{FF2B5EF4-FFF2-40B4-BE49-F238E27FC236}">
                          <a16:creationId xmlns:a16="http://schemas.microsoft.com/office/drawing/2014/main" id="{03C70821-93CF-487B-892A-FD0A4738D4E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>
                      <a:off x="2304243" y="5654895"/>
                      <a:ext cx="108000" cy="0"/>
                    </a:xfrm>
                    <a:prstGeom prst="line">
                      <a:avLst/>
                    </a:prstGeom>
                    <a:ln w="38100" cap="rnd">
                      <a:solidFill>
                        <a:schemeClr val="tx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cxnSp>
                <p:nvCxnSpPr>
                  <p:cNvPr id="95" name="Rak koppling 94">
                    <a:extLst>
                      <a:ext uri="{FF2B5EF4-FFF2-40B4-BE49-F238E27FC236}">
                        <a16:creationId xmlns:a16="http://schemas.microsoft.com/office/drawing/2014/main" id="{37ABAC6C-FACB-4AB3-B17D-30055AAC00AF}"/>
                      </a:ext>
                    </a:extLst>
                  </p:cNvPr>
                  <p:cNvCxnSpPr/>
                  <p:nvPr/>
                </p:nvCxnSpPr>
                <p:spPr>
                  <a:xfrm>
                    <a:off x="1986159" y="3144356"/>
                    <a:ext cx="0" cy="2064774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6" name="Rak koppling 95">
                    <a:extLst>
                      <a:ext uri="{FF2B5EF4-FFF2-40B4-BE49-F238E27FC236}">
                        <a16:creationId xmlns:a16="http://schemas.microsoft.com/office/drawing/2014/main" id="{ECD3B201-AF1A-4E75-BC0B-BAB1E7FE67EB}"/>
                      </a:ext>
                    </a:extLst>
                  </p:cNvPr>
                  <p:cNvCxnSpPr/>
                  <p:nvPr/>
                </p:nvCxnSpPr>
                <p:spPr>
                  <a:xfrm>
                    <a:off x="2887952" y="3144356"/>
                    <a:ext cx="0" cy="2064774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97" name="textruta 96">
                    <a:extLst>
                      <a:ext uri="{FF2B5EF4-FFF2-40B4-BE49-F238E27FC236}">
                        <a16:creationId xmlns:a16="http://schemas.microsoft.com/office/drawing/2014/main" id="{AC0C4350-1819-4ED7-983E-ED5B4F185F85}"/>
                      </a:ext>
                    </a:extLst>
                  </p:cNvPr>
                  <p:cNvSpPr txBox="1"/>
                  <p:nvPr/>
                </p:nvSpPr>
                <p:spPr>
                  <a:xfrm>
                    <a:off x="1942338" y="5464486"/>
                    <a:ext cx="985192" cy="30777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sv-SE" sz="1400" dirty="0"/>
                      <a:t>2021 Q4</a:t>
                    </a:r>
                  </a:p>
                </p:txBody>
              </p:sp>
            </p:grpSp>
            <p:grpSp>
              <p:nvGrpSpPr>
                <p:cNvPr id="82" name="Grupp 81">
                  <a:extLst>
                    <a:ext uri="{FF2B5EF4-FFF2-40B4-BE49-F238E27FC236}">
                      <a16:creationId xmlns:a16="http://schemas.microsoft.com/office/drawing/2014/main" id="{FEB9D08D-AD53-41B8-A1CF-EF3EFC3F3747}"/>
                    </a:ext>
                  </a:extLst>
                </p:cNvPr>
                <p:cNvGrpSpPr/>
                <p:nvPr/>
              </p:nvGrpSpPr>
              <p:grpSpPr>
                <a:xfrm>
                  <a:off x="3175470" y="3144356"/>
                  <a:ext cx="985192" cy="2627907"/>
                  <a:chOff x="1956126" y="3144356"/>
                  <a:chExt cx="985192" cy="2627907"/>
                </a:xfrm>
              </p:grpSpPr>
              <p:grpSp>
                <p:nvGrpSpPr>
                  <p:cNvPr id="88" name="Grupp 87">
                    <a:extLst>
                      <a:ext uri="{FF2B5EF4-FFF2-40B4-BE49-F238E27FC236}">
                        <a16:creationId xmlns:a16="http://schemas.microsoft.com/office/drawing/2014/main" id="{47F85E36-2A32-49CE-AD26-0D046993D92D}"/>
                      </a:ext>
                    </a:extLst>
                  </p:cNvPr>
                  <p:cNvGrpSpPr/>
                  <p:nvPr/>
                </p:nvGrpSpPr>
                <p:grpSpPr>
                  <a:xfrm>
                    <a:off x="1999947" y="5344817"/>
                    <a:ext cx="900000" cy="128103"/>
                    <a:chOff x="1923256" y="5580792"/>
                    <a:chExt cx="900000" cy="128103"/>
                  </a:xfrm>
                </p:grpSpPr>
                <p:cxnSp>
                  <p:nvCxnSpPr>
                    <p:cNvPr id="92" name="Rak koppling 91">
                      <a:extLst>
                        <a:ext uri="{FF2B5EF4-FFF2-40B4-BE49-F238E27FC236}">
                          <a16:creationId xmlns:a16="http://schemas.microsoft.com/office/drawing/2014/main" id="{4D26EBE6-4BF1-40F2-B3DB-B005D4CD9FB5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1923256" y="5580792"/>
                      <a:ext cx="900000" cy="0"/>
                    </a:xfrm>
                    <a:prstGeom prst="line">
                      <a:avLst/>
                    </a:prstGeom>
                    <a:ln w="38100" cap="rnd">
                      <a:solidFill>
                        <a:schemeClr val="tx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3" name="Rak koppling 92">
                      <a:extLst>
                        <a:ext uri="{FF2B5EF4-FFF2-40B4-BE49-F238E27FC236}">
                          <a16:creationId xmlns:a16="http://schemas.microsoft.com/office/drawing/2014/main" id="{AFC33C01-83BC-483F-8E74-5586CE2FC5C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>
                      <a:off x="2318031" y="5654895"/>
                      <a:ext cx="108000" cy="0"/>
                    </a:xfrm>
                    <a:prstGeom prst="line">
                      <a:avLst/>
                    </a:prstGeom>
                    <a:ln w="38100" cap="rnd">
                      <a:solidFill>
                        <a:schemeClr val="tx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cxnSp>
                <p:nvCxnSpPr>
                  <p:cNvPr id="89" name="Rak koppling 88">
                    <a:extLst>
                      <a:ext uri="{FF2B5EF4-FFF2-40B4-BE49-F238E27FC236}">
                        <a16:creationId xmlns:a16="http://schemas.microsoft.com/office/drawing/2014/main" id="{89114C41-D1BC-407B-B7EB-781B706DFF83}"/>
                      </a:ext>
                    </a:extLst>
                  </p:cNvPr>
                  <p:cNvCxnSpPr/>
                  <p:nvPr/>
                </p:nvCxnSpPr>
                <p:spPr>
                  <a:xfrm>
                    <a:off x="1999947" y="3144356"/>
                    <a:ext cx="0" cy="2064774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0" name="Rak koppling 89">
                    <a:extLst>
                      <a:ext uri="{FF2B5EF4-FFF2-40B4-BE49-F238E27FC236}">
                        <a16:creationId xmlns:a16="http://schemas.microsoft.com/office/drawing/2014/main" id="{1255842A-06A2-4A33-BC3F-F466ADE00FDB}"/>
                      </a:ext>
                    </a:extLst>
                  </p:cNvPr>
                  <p:cNvCxnSpPr/>
                  <p:nvPr/>
                </p:nvCxnSpPr>
                <p:spPr>
                  <a:xfrm>
                    <a:off x="2901740" y="3144356"/>
                    <a:ext cx="0" cy="2064774"/>
                  </a:xfrm>
                  <a:prstGeom prst="line">
                    <a:avLst/>
                  </a:prstGeom>
                  <a:ln w="3175">
                    <a:solidFill>
                      <a:schemeClr val="tx1"/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91" name="textruta 90">
                    <a:extLst>
                      <a:ext uri="{FF2B5EF4-FFF2-40B4-BE49-F238E27FC236}">
                        <a16:creationId xmlns:a16="http://schemas.microsoft.com/office/drawing/2014/main" id="{92A53D66-7CEA-4A52-9997-1EAF37679CDD}"/>
                      </a:ext>
                    </a:extLst>
                  </p:cNvPr>
                  <p:cNvSpPr txBox="1"/>
                  <p:nvPr/>
                </p:nvSpPr>
                <p:spPr>
                  <a:xfrm>
                    <a:off x="1956126" y="5464486"/>
                    <a:ext cx="985192" cy="30777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sv-SE" sz="1400" dirty="0"/>
                      <a:t>2022 Q1</a:t>
                    </a:r>
                  </a:p>
                </p:txBody>
              </p:sp>
            </p:grpSp>
            <p:cxnSp>
              <p:nvCxnSpPr>
                <p:cNvPr id="83" name="Rak koppling 82">
                  <a:extLst>
                    <a:ext uri="{FF2B5EF4-FFF2-40B4-BE49-F238E27FC236}">
                      <a16:creationId xmlns:a16="http://schemas.microsoft.com/office/drawing/2014/main" id="{D6D01223-6CDC-44D7-92C4-B7E533F5F36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282007" y="4031450"/>
                  <a:ext cx="349494" cy="237944"/>
                </a:xfrm>
                <a:prstGeom prst="line">
                  <a:avLst/>
                </a:prstGeom>
                <a:ln w="38100" cap="rnd">
                  <a:solidFill>
                    <a:sysClr val="windowText" lastClr="000000"/>
                  </a:solidFill>
                  <a:head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Rak koppling 83">
                  <a:extLst>
                    <a:ext uri="{FF2B5EF4-FFF2-40B4-BE49-F238E27FC236}">
                      <a16:creationId xmlns:a16="http://schemas.microsoft.com/office/drawing/2014/main" id="{5C1263E5-C4D0-4B09-B85C-ADD83EE9E70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303710" y="3272062"/>
                  <a:ext cx="349494" cy="216313"/>
                </a:xfrm>
                <a:prstGeom prst="line">
                  <a:avLst/>
                </a:prstGeom>
                <a:ln w="38100" cap="rnd">
                  <a:solidFill>
                    <a:sysClr val="windowText" lastClr="000000"/>
                  </a:solidFill>
                  <a:head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Rak koppling 84">
                  <a:extLst>
                    <a:ext uri="{FF2B5EF4-FFF2-40B4-BE49-F238E27FC236}">
                      <a16:creationId xmlns:a16="http://schemas.microsoft.com/office/drawing/2014/main" id="{BE838138-7A9A-4844-9101-D6D975E84F7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303710" y="4757423"/>
                  <a:ext cx="349494" cy="237944"/>
                </a:xfrm>
                <a:prstGeom prst="line">
                  <a:avLst/>
                </a:prstGeom>
                <a:ln w="38100" cap="rnd">
                  <a:solidFill>
                    <a:sysClr val="windowText" lastClr="000000"/>
                  </a:solidFill>
                  <a:head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Rak koppling 85">
                  <a:extLst>
                    <a:ext uri="{FF2B5EF4-FFF2-40B4-BE49-F238E27FC236}">
                      <a16:creationId xmlns:a16="http://schemas.microsoft.com/office/drawing/2014/main" id="{B19A8930-0D1B-4799-A61B-86BA0CDA44D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3521870" y="3986020"/>
                  <a:ext cx="349494" cy="237944"/>
                </a:xfrm>
                <a:prstGeom prst="line">
                  <a:avLst/>
                </a:prstGeom>
                <a:ln w="38100" cap="rnd">
                  <a:solidFill>
                    <a:sysClr val="windowText" lastClr="000000"/>
                  </a:solidFill>
                  <a:head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Rak koppling 86">
                  <a:extLst>
                    <a:ext uri="{FF2B5EF4-FFF2-40B4-BE49-F238E27FC236}">
                      <a16:creationId xmlns:a16="http://schemas.microsoft.com/office/drawing/2014/main" id="{777FD50D-B811-49E2-9563-41E35F7A716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3543573" y="3302832"/>
                  <a:ext cx="349494" cy="216313"/>
                </a:xfrm>
                <a:prstGeom prst="line">
                  <a:avLst/>
                </a:prstGeom>
                <a:ln w="38100" cap="rnd">
                  <a:solidFill>
                    <a:sysClr val="windowText" lastClr="000000"/>
                  </a:solidFill>
                  <a:head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109" name="Rak koppling 108">
              <a:extLst>
                <a:ext uri="{FF2B5EF4-FFF2-40B4-BE49-F238E27FC236}">
                  <a16:creationId xmlns:a16="http://schemas.microsoft.com/office/drawing/2014/main" id="{6140533A-DB5A-4727-BC25-910DBA1EE4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79761" y="3533261"/>
              <a:ext cx="349494" cy="216313"/>
            </a:xfrm>
            <a:prstGeom prst="line">
              <a:avLst/>
            </a:prstGeom>
            <a:ln w="38100" cap="rnd">
              <a:solidFill>
                <a:schemeClr val="tx1"/>
              </a:solidFill>
              <a:head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Rak koppling 110">
              <a:extLst>
                <a:ext uri="{FF2B5EF4-FFF2-40B4-BE49-F238E27FC236}">
                  <a16:creationId xmlns:a16="http://schemas.microsoft.com/office/drawing/2014/main" id="{E6C6AF94-8543-4EDD-9F33-B5151538080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601632" y="4245775"/>
              <a:ext cx="349494" cy="237944"/>
            </a:xfrm>
            <a:prstGeom prst="line">
              <a:avLst/>
            </a:prstGeom>
            <a:ln w="38100" cap="rnd">
              <a:solidFill>
                <a:schemeClr val="tx1"/>
              </a:solidFill>
              <a:head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330542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92F6F36-3182-4468-84DB-7C0BF6A9D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Fortsatt jobbtillväxt inom både tjänster och handel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1B9A8955-5834-420D-8BE5-A5DFD7079B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sv-SE" dirty="0"/>
              <a:t>ANTÄLLDA PER SEKTOR I GÖTEBORGSREGIONEN - NETTOTAL PER KVARTAL FRÅN 2006</a:t>
            </a:r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C1587E4D-ECF2-428B-9D6A-0E034BEE773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898049"/>
            <a:ext cx="9866312" cy="246221"/>
          </a:xfrm>
        </p:spPr>
        <p:txBody>
          <a:bodyPr/>
          <a:lstStyle/>
          <a:p>
            <a:r>
              <a:rPr lang="sv-SE" sz="1000" dirty="0"/>
              <a:t>Källa: Konjunkturinstitutet</a:t>
            </a:r>
          </a:p>
        </p:txBody>
      </p:sp>
      <p:graphicFrame>
        <p:nvGraphicFramePr>
          <p:cNvPr id="8" name="Platshållare för innehåll 7">
            <a:extLst>
              <a:ext uri="{FF2B5EF4-FFF2-40B4-BE49-F238E27FC236}">
                <a16:creationId xmlns:a16="http://schemas.microsoft.com/office/drawing/2014/main" id="{D76D5097-A1C6-43F8-B11A-ECB8D18D1EBD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13586080"/>
              </p:ext>
            </p:extLst>
          </p:nvPr>
        </p:nvGraphicFramePr>
        <p:xfrm>
          <a:off x="839788" y="1808163"/>
          <a:ext cx="9720262" cy="3997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ruta 1">
            <a:extLst>
              <a:ext uri="{FF2B5EF4-FFF2-40B4-BE49-F238E27FC236}">
                <a16:creationId xmlns:a16="http://schemas.microsoft.com/office/drawing/2014/main" id="{11332FE6-5E9D-4821-B502-D17994DDA8ED}"/>
              </a:ext>
            </a:extLst>
          </p:cNvPr>
          <p:cNvSpPr txBox="1"/>
          <p:nvPr/>
        </p:nvSpPr>
        <p:spPr>
          <a:xfrm>
            <a:off x="4853409" y="2337880"/>
            <a:ext cx="2485181" cy="337535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äxande</a:t>
            </a:r>
            <a:r>
              <a:rPr lang="sv-SE" sz="1200" baseline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</a:t>
            </a:r>
            <a:r>
              <a:rPr lang="sv-SE" sz="12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sselsättning</a:t>
            </a:r>
          </a:p>
        </p:txBody>
      </p:sp>
      <p:sp>
        <p:nvSpPr>
          <p:cNvPr id="10" name="textruta 1">
            <a:extLst>
              <a:ext uri="{FF2B5EF4-FFF2-40B4-BE49-F238E27FC236}">
                <a16:creationId xmlns:a16="http://schemas.microsoft.com/office/drawing/2014/main" id="{98566B5A-FFAE-4862-9A49-0C2BC6823B40}"/>
              </a:ext>
            </a:extLst>
          </p:cNvPr>
          <p:cNvSpPr txBox="1"/>
          <p:nvPr/>
        </p:nvSpPr>
        <p:spPr>
          <a:xfrm>
            <a:off x="4853408" y="4150782"/>
            <a:ext cx="2485181" cy="337535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baseline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ympande s</a:t>
            </a:r>
            <a:r>
              <a:rPr lang="sv-SE" sz="12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sselsättning</a:t>
            </a:r>
          </a:p>
        </p:txBody>
      </p:sp>
      <p:sp>
        <p:nvSpPr>
          <p:cNvPr id="11" name="Frihandsfigur: Form 10">
            <a:extLst>
              <a:ext uri="{FF2B5EF4-FFF2-40B4-BE49-F238E27FC236}">
                <a16:creationId xmlns:a16="http://schemas.microsoft.com/office/drawing/2014/main" id="{2D7A0F67-10E0-4285-8908-D8C84C4E7EA4}"/>
              </a:ext>
            </a:extLst>
          </p:cNvPr>
          <p:cNvSpPr/>
          <p:nvPr/>
        </p:nvSpPr>
        <p:spPr>
          <a:xfrm>
            <a:off x="10424160" y="3005593"/>
            <a:ext cx="1267170" cy="375200"/>
          </a:xfrm>
          <a:custGeom>
            <a:avLst/>
            <a:gdLst>
              <a:gd name="connsiteX0" fmla="*/ 0 w 546505"/>
              <a:gd name="connsiteY0" fmla="*/ 373711 h 375200"/>
              <a:gd name="connsiteX1" fmla="*/ 540689 w 546505"/>
              <a:gd name="connsiteY1" fmla="*/ 318052 h 375200"/>
              <a:gd name="connsiteX2" fmla="*/ 238539 w 546505"/>
              <a:gd name="connsiteY2" fmla="*/ 0 h 37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6505" h="375200">
                <a:moveTo>
                  <a:pt x="0" y="373711"/>
                </a:moveTo>
                <a:cubicBezTo>
                  <a:pt x="250466" y="377024"/>
                  <a:pt x="500933" y="380337"/>
                  <a:pt x="540689" y="318052"/>
                </a:cubicBezTo>
                <a:cubicBezTo>
                  <a:pt x="580446" y="255767"/>
                  <a:pt x="409492" y="127883"/>
                  <a:pt x="238539" y="0"/>
                </a:cubicBezTo>
              </a:path>
            </a:pathLst>
          </a:custGeom>
          <a:noFill/>
          <a:ln w="19050" cap="rnd">
            <a:solidFill>
              <a:schemeClr val="tx1"/>
            </a:solidFill>
            <a:headEnd type="arrow"/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" name="textruta 1">
            <a:extLst>
              <a:ext uri="{FF2B5EF4-FFF2-40B4-BE49-F238E27FC236}">
                <a16:creationId xmlns:a16="http://schemas.microsoft.com/office/drawing/2014/main" id="{F2860D86-D7DB-4B70-AEE5-137271CECB43}"/>
              </a:ext>
            </a:extLst>
          </p:cNvPr>
          <p:cNvSpPr txBox="1"/>
          <p:nvPr/>
        </p:nvSpPr>
        <p:spPr>
          <a:xfrm>
            <a:off x="10400688" y="2506647"/>
            <a:ext cx="1267170" cy="337535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baseline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örändrad</a:t>
            </a:r>
          </a:p>
          <a:p>
            <a:pPr algn="ctr"/>
            <a:r>
              <a:rPr lang="sv-SE" sz="1200" baseline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sv-SE" sz="12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sselsättning</a:t>
            </a:r>
          </a:p>
        </p:txBody>
      </p:sp>
      <p:sp>
        <p:nvSpPr>
          <p:cNvPr id="13" name="textruta 1">
            <a:extLst>
              <a:ext uri="{FF2B5EF4-FFF2-40B4-BE49-F238E27FC236}">
                <a16:creationId xmlns:a16="http://schemas.microsoft.com/office/drawing/2014/main" id="{0F8B23AE-D10A-47B4-8881-1BD5577ACECA}"/>
              </a:ext>
            </a:extLst>
          </p:cNvPr>
          <p:cNvSpPr txBox="1"/>
          <p:nvPr/>
        </p:nvSpPr>
        <p:spPr>
          <a:xfrm>
            <a:off x="2099199" y="4048701"/>
            <a:ext cx="1622929" cy="337535"/>
          </a:xfrm>
          <a:prstGeom prst="rect">
            <a:avLst/>
          </a:prstGeom>
        </p:spPr>
        <p:txBody>
          <a:bodyPr wrap="squar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baseline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skris</a:t>
            </a:r>
            <a:endParaRPr lang="sv-SE" sz="12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ruta 1">
            <a:extLst>
              <a:ext uri="{FF2B5EF4-FFF2-40B4-BE49-F238E27FC236}">
                <a16:creationId xmlns:a16="http://schemas.microsoft.com/office/drawing/2014/main" id="{61CD39B9-C24B-41CF-81A4-882996200A83}"/>
              </a:ext>
            </a:extLst>
          </p:cNvPr>
          <p:cNvSpPr txBox="1"/>
          <p:nvPr/>
        </p:nvSpPr>
        <p:spPr>
          <a:xfrm>
            <a:off x="7928829" y="3861715"/>
            <a:ext cx="1622929" cy="457834"/>
          </a:xfrm>
          <a:prstGeom prst="rect">
            <a:avLst/>
          </a:prstGeom>
        </p:spPr>
        <p:txBody>
          <a:bodyPr wrap="squar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baseline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</a:t>
            </a:r>
            <a:br>
              <a:rPr lang="sv-SE" sz="1200" baseline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sv-SE" sz="1200" baseline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ndemi</a:t>
            </a:r>
          </a:p>
        </p:txBody>
      </p:sp>
    </p:spTree>
    <p:extLst>
      <p:ext uri="{BB962C8B-B14F-4D97-AF65-F5344CB8AC3E}">
        <p14:creationId xmlns:p14="http://schemas.microsoft.com/office/powerpoint/2010/main" val="27041195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92F6F36-3182-4468-84DB-7C0BF6A9D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rbetslösheten fortsätter neråt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6CAF0973-60EF-4A39-A9A1-9A1566A596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6712918" cy="468312"/>
          </a:xfrm>
        </p:spPr>
        <p:txBody>
          <a:bodyPr/>
          <a:lstStyle/>
          <a:p>
            <a:r>
              <a:rPr lang="sv-SE" dirty="0"/>
              <a:t>ÖPPET ARBETSLÖSA SAMT I ARBETSMARKNADSPOLITISKA PROGRAM – PROCENT AV ARBETSKRAFTEN 16-64 ÅR</a:t>
            </a:r>
          </a:p>
          <a:p>
            <a:endParaRPr lang="sv-SE" dirty="0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A82EC018-DA42-465E-8A67-D30BF838F2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898049"/>
            <a:ext cx="9866312" cy="246221"/>
          </a:xfrm>
        </p:spPr>
        <p:txBody>
          <a:bodyPr/>
          <a:lstStyle/>
          <a:p>
            <a:r>
              <a:rPr lang="sv-SE" sz="1000" dirty="0"/>
              <a:t>Källa: Arbetsförmedlingen och SCB</a:t>
            </a:r>
          </a:p>
        </p:txBody>
      </p:sp>
      <p:graphicFrame>
        <p:nvGraphicFramePr>
          <p:cNvPr id="7" name="Platshållare för innehåll 6">
            <a:extLst>
              <a:ext uri="{FF2B5EF4-FFF2-40B4-BE49-F238E27FC236}">
                <a16:creationId xmlns:a16="http://schemas.microsoft.com/office/drawing/2014/main" id="{00000000-0008-0000-0300-000002000000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361793739"/>
              </p:ext>
            </p:extLst>
          </p:nvPr>
        </p:nvGraphicFramePr>
        <p:xfrm>
          <a:off x="839788" y="1808163"/>
          <a:ext cx="10512425" cy="3997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8" name="Grupp 7">
            <a:extLst>
              <a:ext uri="{FF2B5EF4-FFF2-40B4-BE49-F238E27FC236}">
                <a16:creationId xmlns:a16="http://schemas.microsoft.com/office/drawing/2014/main" id="{0E3AC3DB-BABA-44CC-BE0E-0AA2A7BFA61B}"/>
              </a:ext>
            </a:extLst>
          </p:cNvPr>
          <p:cNvGrpSpPr/>
          <p:nvPr/>
        </p:nvGrpSpPr>
        <p:grpSpPr>
          <a:xfrm>
            <a:off x="7725492" y="152401"/>
            <a:ext cx="4283242" cy="1475829"/>
            <a:chOff x="7725492" y="280737"/>
            <a:chExt cx="4283242" cy="1475829"/>
          </a:xfrm>
        </p:grpSpPr>
        <p:grpSp>
          <p:nvGrpSpPr>
            <p:cNvPr id="9" name="Grupp 8">
              <a:extLst>
                <a:ext uri="{FF2B5EF4-FFF2-40B4-BE49-F238E27FC236}">
                  <a16:creationId xmlns:a16="http://schemas.microsoft.com/office/drawing/2014/main" id="{0C4A4726-69A4-464B-B397-9673844F9D5E}"/>
                </a:ext>
              </a:extLst>
            </p:cNvPr>
            <p:cNvGrpSpPr/>
            <p:nvPr/>
          </p:nvGrpSpPr>
          <p:grpSpPr>
            <a:xfrm>
              <a:off x="7725492" y="280737"/>
              <a:ext cx="4283242" cy="759912"/>
              <a:chOff x="7636041" y="1151017"/>
              <a:chExt cx="4283242" cy="759912"/>
            </a:xfrm>
          </p:grpSpPr>
          <p:sp>
            <p:nvSpPr>
              <p:cNvPr id="11" name="Vänster klammerparentes 10">
                <a:extLst>
                  <a:ext uri="{FF2B5EF4-FFF2-40B4-BE49-F238E27FC236}">
                    <a16:creationId xmlns:a16="http://schemas.microsoft.com/office/drawing/2014/main" id="{44D42AEA-758E-48EE-BB19-6973A9C09BC5}"/>
                  </a:ext>
                </a:extLst>
              </p:cNvPr>
              <p:cNvSpPr/>
              <p:nvPr/>
            </p:nvSpPr>
            <p:spPr>
              <a:xfrm rot="16200000" flipV="1">
                <a:off x="9388473" y="1497677"/>
                <a:ext cx="168779" cy="657726"/>
              </a:xfrm>
              <a:prstGeom prst="leftBrace">
                <a:avLst>
                  <a:gd name="adj1" fmla="val 28333"/>
                  <a:gd name="adj2" fmla="val 50000"/>
                </a:avLst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sv-SE"/>
              </a:p>
            </p:txBody>
          </p:sp>
          <p:grpSp>
            <p:nvGrpSpPr>
              <p:cNvPr id="12" name="Grupp 11">
                <a:extLst>
                  <a:ext uri="{FF2B5EF4-FFF2-40B4-BE49-F238E27FC236}">
                    <a16:creationId xmlns:a16="http://schemas.microsoft.com/office/drawing/2014/main" id="{DBE0F90F-37B6-4BB8-AC39-283CB9B34C13}"/>
                  </a:ext>
                </a:extLst>
              </p:cNvPr>
              <p:cNvGrpSpPr/>
              <p:nvPr/>
            </p:nvGrpSpPr>
            <p:grpSpPr>
              <a:xfrm>
                <a:off x="7636041" y="1151017"/>
                <a:ext cx="4283242" cy="600859"/>
                <a:chOff x="7636041" y="1151017"/>
                <a:chExt cx="4283242" cy="600859"/>
              </a:xfrm>
            </p:grpSpPr>
            <p:sp>
              <p:nvSpPr>
                <p:cNvPr id="13" name="Rektangel 12">
                  <a:extLst>
                    <a:ext uri="{FF2B5EF4-FFF2-40B4-BE49-F238E27FC236}">
                      <a16:creationId xmlns:a16="http://schemas.microsoft.com/office/drawing/2014/main" id="{D2A47268-F06B-4645-8B67-F18683EBF702}"/>
                    </a:ext>
                  </a:extLst>
                </p:cNvPr>
                <p:cNvSpPr/>
                <p:nvPr/>
              </p:nvSpPr>
              <p:spPr>
                <a:xfrm>
                  <a:off x="7636041" y="1151018"/>
                  <a:ext cx="1824789" cy="600858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spcAft>
                      <a:spcPts val="300"/>
                    </a:spcAft>
                  </a:pPr>
                  <a:r>
                    <a:rPr lang="sv-SE" sz="1200" b="1" dirty="0">
                      <a:solidFill>
                        <a:schemeClr val="tx1"/>
                      </a:solidFill>
                    </a:rPr>
                    <a:t>13 400 (40</a:t>
                  </a:r>
                  <a:r>
                    <a:rPr lang="sv-SE" sz="1000" dirty="0">
                      <a:solidFill>
                        <a:schemeClr val="tx1"/>
                      </a:solidFill>
                    </a:rPr>
                    <a:t>%</a:t>
                  </a:r>
                  <a:r>
                    <a:rPr lang="sv-SE" sz="1200" b="1" dirty="0">
                      <a:solidFill>
                        <a:schemeClr val="tx1"/>
                      </a:solidFill>
                    </a:rPr>
                    <a:t>)</a:t>
                  </a:r>
                </a:p>
                <a:p>
                  <a:pPr algn="ctr"/>
                  <a:r>
                    <a:rPr lang="sv-SE" sz="1200" dirty="0">
                      <a:solidFill>
                        <a:schemeClr val="tx1"/>
                      </a:solidFill>
                    </a:rPr>
                    <a:t>Inrikes födda</a:t>
                  </a:r>
                </a:p>
              </p:txBody>
            </p:sp>
            <p:sp>
              <p:nvSpPr>
                <p:cNvPr id="14" name="Rektangel 13">
                  <a:extLst>
                    <a:ext uri="{FF2B5EF4-FFF2-40B4-BE49-F238E27FC236}">
                      <a16:creationId xmlns:a16="http://schemas.microsoft.com/office/drawing/2014/main" id="{D16AC5A1-1E1C-4536-90A3-8F63807DB006}"/>
                    </a:ext>
                  </a:extLst>
                </p:cNvPr>
                <p:cNvSpPr/>
                <p:nvPr/>
              </p:nvSpPr>
              <p:spPr>
                <a:xfrm>
                  <a:off x="9460829" y="1151017"/>
                  <a:ext cx="2458454" cy="600858"/>
                </a:xfrm>
                <a:prstGeom prst="rect">
                  <a:avLst/>
                </a:prstGeom>
                <a:solidFill>
                  <a:schemeClr val="accent4"/>
                </a:solidFill>
                <a:ln w="63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spcAft>
                      <a:spcPts val="300"/>
                    </a:spcAft>
                  </a:pPr>
                  <a:r>
                    <a:rPr lang="sv-SE" sz="1200" b="1" dirty="0">
                      <a:solidFill>
                        <a:schemeClr val="tx1"/>
                      </a:solidFill>
                    </a:rPr>
                    <a:t>19 700 (60</a:t>
                  </a:r>
                  <a:r>
                    <a:rPr lang="sv-SE" sz="1000" dirty="0">
                      <a:solidFill>
                        <a:schemeClr val="tx1"/>
                      </a:solidFill>
                    </a:rPr>
                    <a:t>%</a:t>
                  </a:r>
                  <a:r>
                    <a:rPr lang="sv-SE" sz="1200" b="1" dirty="0">
                      <a:solidFill>
                        <a:schemeClr val="tx1"/>
                      </a:solidFill>
                    </a:rPr>
                    <a:t>)</a:t>
                  </a:r>
                </a:p>
                <a:p>
                  <a:pPr algn="ctr"/>
                  <a:r>
                    <a:rPr lang="sv-SE" sz="1200" dirty="0">
                      <a:solidFill>
                        <a:schemeClr val="tx1"/>
                      </a:solidFill>
                    </a:rPr>
                    <a:t>Utrikes födda</a:t>
                  </a:r>
                </a:p>
              </p:txBody>
            </p:sp>
          </p:grpSp>
        </p:grp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A0D931FF-1FF8-4EA2-A03E-5AC75154B217}"/>
                </a:ext>
              </a:extLst>
            </p:cNvPr>
            <p:cNvSpPr txBox="1"/>
            <p:nvPr/>
          </p:nvSpPr>
          <p:spPr>
            <a:xfrm>
              <a:off x="8647824" y="1071763"/>
              <a:ext cx="1824789" cy="6848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sv-SE" sz="1200" b="1" dirty="0"/>
                <a:t>3 400 (10</a:t>
              </a:r>
              <a:r>
                <a:rPr lang="sv-SE" sz="1000" dirty="0"/>
                <a:t>%</a:t>
              </a:r>
              <a:r>
                <a:rPr lang="sv-SE" sz="1200" b="1" dirty="0"/>
                <a:t>)</a:t>
              </a:r>
            </a:p>
            <a:p>
              <a:pPr algn="ctr"/>
              <a:r>
                <a:rPr lang="sv-SE" sz="1200" dirty="0"/>
                <a:t>ungdomar</a:t>
              </a:r>
            </a:p>
            <a:p>
              <a:pPr algn="ctr"/>
              <a:endParaRPr lang="sv-SE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41312026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exhörning 20">
            <a:extLst>
              <a:ext uri="{FF2B5EF4-FFF2-40B4-BE49-F238E27FC236}">
                <a16:creationId xmlns:a16="http://schemas.microsoft.com/office/drawing/2014/main" id="{DA70E17F-6FE3-490E-83A3-34FFD0573E9C}"/>
              </a:ext>
            </a:extLst>
          </p:cNvPr>
          <p:cNvSpPr/>
          <p:nvPr/>
        </p:nvSpPr>
        <p:spPr>
          <a:xfrm>
            <a:off x="807541" y="1617162"/>
            <a:ext cx="3115806" cy="2686040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 dirty="0">
              <a:solidFill>
                <a:schemeClr val="bg1"/>
              </a:solidFill>
            </a:endParaRPr>
          </a:p>
        </p:txBody>
      </p:sp>
      <p:graphicFrame>
        <p:nvGraphicFramePr>
          <p:cNvPr id="35" name="Diagram 34">
            <a:extLst>
              <a:ext uri="{FF2B5EF4-FFF2-40B4-BE49-F238E27FC236}">
                <a16:creationId xmlns:a16="http://schemas.microsoft.com/office/drawing/2014/main" id="{3BED373D-1C7A-4E28-A00F-6B1750A9114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65623513"/>
              </p:ext>
            </p:extLst>
          </p:nvPr>
        </p:nvGraphicFramePr>
        <p:xfrm>
          <a:off x="1138473" y="2220324"/>
          <a:ext cx="2340000" cy="15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C92F6F36-3182-4468-84DB-7C0BF6A9D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Rekordmånga vakanser och mycket låg nivå på varseltalen </a:t>
            </a:r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B1AD8219-5128-481C-BEEC-9B52BE29314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9627" y="5888642"/>
            <a:ext cx="9866312" cy="246221"/>
          </a:xfrm>
        </p:spPr>
        <p:txBody>
          <a:bodyPr/>
          <a:lstStyle/>
          <a:p>
            <a:r>
              <a:rPr lang="sv-SE" sz="1000" dirty="0"/>
              <a:t>Källa: Arbetsförmedlingen</a:t>
            </a:r>
          </a:p>
        </p:txBody>
      </p:sp>
      <p:grpSp>
        <p:nvGrpSpPr>
          <p:cNvPr id="7" name="Grupp 6">
            <a:extLst>
              <a:ext uri="{FF2B5EF4-FFF2-40B4-BE49-F238E27FC236}">
                <a16:creationId xmlns:a16="http://schemas.microsoft.com/office/drawing/2014/main" id="{FB40ABBB-C90D-47AB-AC8A-EAB9385E389D}"/>
              </a:ext>
            </a:extLst>
          </p:cNvPr>
          <p:cNvGrpSpPr/>
          <p:nvPr/>
        </p:nvGrpSpPr>
        <p:grpSpPr>
          <a:xfrm>
            <a:off x="8445926" y="1574533"/>
            <a:ext cx="639740" cy="1289223"/>
            <a:chOff x="8242736" y="1574534"/>
            <a:chExt cx="639740" cy="1289223"/>
          </a:xfrm>
          <a:solidFill>
            <a:schemeClr val="tx2"/>
          </a:solidFill>
        </p:grpSpPr>
        <p:cxnSp>
          <p:nvCxnSpPr>
            <p:cNvPr id="8" name="Rak koppling 7">
              <a:extLst>
                <a:ext uri="{FF2B5EF4-FFF2-40B4-BE49-F238E27FC236}">
                  <a16:creationId xmlns:a16="http://schemas.microsoft.com/office/drawing/2014/main" id="{41442C98-CBC7-4079-9203-CC1C75365D3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242736" y="1574534"/>
              <a:ext cx="639740" cy="1289223"/>
            </a:xfrm>
            <a:prstGeom prst="line">
              <a:avLst/>
            </a:prstGeom>
            <a:grpFill/>
            <a:ln w="57150"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Ellips 8">
              <a:extLst>
                <a:ext uri="{FF2B5EF4-FFF2-40B4-BE49-F238E27FC236}">
                  <a16:creationId xmlns:a16="http://schemas.microsoft.com/office/drawing/2014/main" id="{E290569B-FE24-437E-9039-C895AE45DACB}"/>
                </a:ext>
              </a:extLst>
            </p:cNvPr>
            <p:cNvSpPr/>
            <p:nvPr/>
          </p:nvSpPr>
          <p:spPr>
            <a:xfrm>
              <a:off x="8298238" y="1757181"/>
              <a:ext cx="144000" cy="144000"/>
            </a:xfrm>
            <a:prstGeom prst="ellipse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0" name="Ellips 9">
              <a:extLst>
                <a:ext uri="{FF2B5EF4-FFF2-40B4-BE49-F238E27FC236}">
                  <a16:creationId xmlns:a16="http://schemas.microsoft.com/office/drawing/2014/main" id="{31107AA5-36AA-427F-8628-0A5376886C18}"/>
                </a:ext>
              </a:extLst>
            </p:cNvPr>
            <p:cNvSpPr/>
            <p:nvPr/>
          </p:nvSpPr>
          <p:spPr>
            <a:xfrm>
              <a:off x="8491654" y="2146689"/>
              <a:ext cx="144000" cy="144000"/>
            </a:xfrm>
            <a:prstGeom prst="ellipse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1" name="Ellips 10">
              <a:extLst>
                <a:ext uri="{FF2B5EF4-FFF2-40B4-BE49-F238E27FC236}">
                  <a16:creationId xmlns:a16="http://schemas.microsoft.com/office/drawing/2014/main" id="{E094C844-4647-472B-98F4-11FA1B5ABCDF}"/>
                </a:ext>
              </a:extLst>
            </p:cNvPr>
            <p:cNvSpPr/>
            <p:nvPr/>
          </p:nvSpPr>
          <p:spPr>
            <a:xfrm>
              <a:off x="8685864" y="2538433"/>
              <a:ext cx="144000" cy="144000"/>
            </a:xfrm>
            <a:prstGeom prst="ellipse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2" name="textruta 11">
            <a:extLst>
              <a:ext uri="{FF2B5EF4-FFF2-40B4-BE49-F238E27FC236}">
                <a16:creationId xmlns:a16="http://schemas.microsoft.com/office/drawing/2014/main" id="{5EAD60BA-0E30-4F0B-98AA-ACE7E480C2E5}"/>
              </a:ext>
            </a:extLst>
          </p:cNvPr>
          <p:cNvSpPr txBox="1"/>
          <p:nvPr/>
        </p:nvSpPr>
        <p:spPr>
          <a:xfrm>
            <a:off x="978870" y="5212224"/>
            <a:ext cx="25125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Clr>
                <a:schemeClr val="tx2"/>
              </a:buClr>
              <a:buSzPct val="150000"/>
            </a:pPr>
            <a:r>
              <a:rPr lang="sv-SE" sz="1400" dirty="0"/>
              <a:t>Flest nya platser: </a:t>
            </a:r>
          </a:p>
          <a:p>
            <a:pPr algn="r">
              <a:buClr>
                <a:schemeClr val="tx2"/>
              </a:buClr>
              <a:buSzPct val="150000"/>
            </a:pPr>
            <a:r>
              <a:rPr lang="sv-SE" sz="1400" dirty="0"/>
              <a:t>    företagstjänster           </a:t>
            </a:r>
          </a:p>
        </p:txBody>
      </p:sp>
      <p:grpSp>
        <p:nvGrpSpPr>
          <p:cNvPr id="13" name="Grupp 12">
            <a:extLst>
              <a:ext uri="{FF2B5EF4-FFF2-40B4-BE49-F238E27FC236}">
                <a16:creationId xmlns:a16="http://schemas.microsoft.com/office/drawing/2014/main" id="{9AFE94EA-2CF9-429A-B777-9845C1D4F986}"/>
              </a:ext>
            </a:extLst>
          </p:cNvPr>
          <p:cNvGrpSpPr/>
          <p:nvPr/>
        </p:nvGrpSpPr>
        <p:grpSpPr>
          <a:xfrm>
            <a:off x="3143182" y="4415423"/>
            <a:ext cx="639740" cy="1289223"/>
            <a:chOff x="8242736" y="1574534"/>
            <a:chExt cx="639740" cy="1289223"/>
          </a:xfrm>
          <a:solidFill>
            <a:schemeClr val="accent2"/>
          </a:solidFill>
        </p:grpSpPr>
        <p:cxnSp>
          <p:nvCxnSpPr>
            <p:cNvPr id="14" name="Rak koppling 13">
              <a:extLst>
                <a:ext uri="{FF2B5EF4-FFF2-40B4-BE49-F238E27FC236}">
                  <a16:creationId xmlns:a16="http://schemas.microsoft.com/office/drawing/2014/main" id="{37C1EA41-5471-439E-84DF-4EE1E410B34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242736" y="1574534"/>
              <a:ext cx="639740" cy="1289223"/>
            </a:xfrm>
            <a:prstGeom prst="line">
              <a:avLst/>
            </a:prstGeom>
            <a:grpFill/>
            <a:ln w="57150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Ellips 14">
              <a:extLst>
                <a:ext uri="{FF2B5EF4-FFF2-40B4-BE49-F238E27FC236}">
                  <a16:creationId xmlns:a16="http://schemas.microsoft.com/office/drawing/2014/main" id="{136D278A-8119-4793-AD4E-E985AA26EA86}"/>
                </a:ext>
              </a:extLst>
            </p:cNvPr>
            <p:cNvSpPr/>
            <p:nvPr/>
          </p:nvSpPr>
          <p:spPr>
            <a:xfrm>
              <a:off x="8298238" y="1757181"/>
              <a:ext cx="144000" cy="144000"/>
            </a:xfrm>
            <a:prstGeom prst="ellipse">
              <a:avLst/>
            </a:prstGeom>
            <a:grp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6" name="Ellips 15">
              <a:extLst>
                <a:ext uri="{FF2B5EF4-FFF2-40B4-BE49-F238E27FC236}">
                  <a16:creationId xmlns:a16="http://schemas.microsoft.com/office/drawing/2014/main" id="{99956F97-3FA3-40E8-95AC-7A3112F6C584}"/>
                </a:ext>
              </a:extLst>
            </p:cNvPr>
            <p:cNvSpPr/>
            <p:nvPr/>
          </p:nvSpPr>
          <p:spPr>
            <a:xfrm>
              <a:off x="8491654" y="2146689"/>
              <a:ext cx="144000" cy="144000"/>
            </a:xfrm>
            <a:prstGeom prst="ellipse">
              <a:avLst/>
            </a:prstGeom>
            <a:grp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7" name="Ellips 16">
              <a:extLst>
                <a:ext uri="{FF2B5EF4-FFF2-40B4-BE49-F238E27FC236}">
                  <a16:creationId xmlns:a16="http://schemas.microsoft.com/office/drawing/2014/main" id="{DDBF8D1F-DE64-439C-B926-657BB364A09C}"/>
                </a:ext>
              </a:extLst>
            </p:cNvPr>
            <p:cNvSpPr/>
            <p:nvPr/>
          </p:nvSpPr>
          <p:spPr>
            <a:xfrm>
              <a:off x="8685864" y="2538433"/>
              <a:ext cx="144000" cy="144000"/>
            </a:xfrm>
            <a:prstGeom prst="ellipse">
              <a:avLst/>
            </a:prstGeom>
            <a:grp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8" name="Sexhörning 17">
            <a:extLst>
              <a:ext uri="{FF2B5EF4-FFF2-40B4-BE49-F238E27FC236}">
                <a16:creationId xmlns:a16="http://schemas.microsoft.com/office/drawing/2014/main" id="{AF4C82DD-70E8-4A9F-8BF4-AF3C6DCC3806}"/>
              </a:ext>
            </a:extLst>
          </p:cNvPr>
          <p:cNvSpPr/>
          <p:nvPr/>
        </p:nvSpPr>
        <p:spPr>
          <a:xfrm>
            <a:off x="3312370" y="2983549"/>
            <a:ext cx="3115806" cy="2686040"/>
          </a:xfrm>
          <a:prstGeom prst="hexagon">
            <a:avLst/>
          </a:prstGeom>
          <a:solidFill>
            <a:schemeClr val="accent2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5400" b="1" dirty="0">
                <a:solidFill>
                  <a:schemeClr val="bg1"/>
                </a:solidFill>
                <a:latin typeface="ITC New Baskerville Std" panose="02020602060506020304" pitchFamily="18" charset="0"/>
                <a:cs typeface="JasmineUPC" panose="020B0502040204020203" pitchFamily="18" charset="-34"/>
              </a:rPr>
              <a:t>9 653</a:t>
            </a:r>
          </a:p>
          <a:p>
            <a:pPr algn="ctr">
              <a:spcAft>
                <a:spcPts val="600"/>
              </a:spcAft>
            </a:pPr>
            <a:r>
              <a:rPr lang="sv-SE" dirty="0">
                <a:solidFill>
                  <a:schemeClr val="bg1"/>
                </a:solidFill>
              </a:rPr>
              <a:t>nya platser</a:t>
            </a:r>
          </a:p>
          <a:p>
            <a:pPr algn="ctr"/>
            <a:r>
              <a:rPr lang="sv-SE" sz="1400" dirty="0">
                <a:solidFill>
                  <a:schemeClr val="bg1"/>
                </a:solidFill>
              </a:rPr>
              <a:t>snitt per månad</a:t>
            </a:r>
            <a:br>
              <a:rPr lang="sv-SE" sz="1400" dirty="0">
                <a:solidFill>
                  <a:schemeClr val="bg1"/>
                </a:solidFill>
              </a:rPr>
            </a:br>
            <a:r>
              <a:rPr lang="sv-SE" sz="1400" dirty="0">
                <a:solidFill>
                  <a:schemeClr val="bg1"/>
                </a:solidFill>
              </a:rPr>
              <a:t>kvartal 4 2021</a:t>
            </a:r>
          </a:p>
        </p:txBody>
      </p:sp>
      <p:sp>
        <p:nvSpPr>
          <p:cNvPr id="19" name="Sexhörning 18">
            <a:extLst>
              <a:ext uri="{FF2B5EF4-FFF2-40B4-BE49-F238E27FC236}">
                <a16:creationId xmlns:a16="http://schemas.microsoft.com/office/drawing/2014/main" id="{ED01B089-4541-4903-B4FF-C3A1C742A034}"/>
              </a:ext>
            </a:extLst>
          </p:cNvPr>
          <p:cNvSpPr/>
          <p:nvPr/>
        </p:nvSpPr>
        <p:spPr>
          <a:xfrm>
            <a:off x="5816710" y="1614468"/>
            <a:ext cx="3117600" cy="2685600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 b="1" dirty="0">
                <a:solidFill>
                  <a:schemeClr val="bg1"/>
                </a:solidFill>
                <a:latin typeface="ITC New Baskerville Std" panose="02020602060506020304" pitchFamily="18" charset="0"/>
              </a:rPr>
              <a:t>232</a:t>
            </a:r>
          </a:p>
          <a:p>
            <a:pPr algn="ctr">
              <a:spcAft>
                <a:spcPts val="600"/>
              </a:spcAft>
            </a:pPr>
            <a:r>
              <a:rPr lang="sv-SE" dirty="0"/>
              <a:t>varsel</a:t>
            </a:r>
          </a:p>
          <a:p>
            <a:pPr algn="ctr"/>
            <a:r>
              <a:rPr lang="sv-SE" sz="1400" dirty="0"/>
              <a:t>snitt per månad</a:t>
            </a:r>
            <a:br>
              <a:rPr lang="sv-SE" sz="1400" dirty="0"/>
            </a:br>
            <a:r>
              <a:rPr lang="sv-SE" sz="1400" dirty="0"/>
              <a:t>kvartal 4 2021</a:t>
            </a:r>
          </a:p>
        </p:txBody>
      </p:sp>
      <p:sp>
        <p:nvSpPr>
          <p:cNvPr id="20" name="textruta 19">
            <a:extLst>
              <a:ext uri="{FF2B5EF4-FFF2-40B4-BE49-F238E27FC236}">
                <a16:creationId xmlns:a16="http://schemas.microsoft.com/office/drawing/2014/main" id="{00533FCF-E216-4F41-B11F-E5C998344E2E}"/>
              </a:ext>
            </a:extLst>
          </p:cNvPr>
          <p:cNvSpPr txBox="1"/>
          <p:nvPr/>
        </p:nvSpPr>
        <p:spPr>
          <a:xfrm>
            <a:off x="1285036" y="4515791"/>
            <a:ext cx="18301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  <a:buClr>
                <a:schemeClr val="tx2"/>
              </a:buClr>
              <a:buSzPct val="150000"/>
            </a:pPr>
            <a:r>
              <a:rPr lang="sv-SE" sz="1400" dirty="0"/>
              <a:t>Ökar kraftigt</a:t>
            </a:r>
          </a:p>
        </p:txBody>
      </p:sp>
      <p:sp>
        <p:nvSpPr>
          <p:cNvPr id="26" name="Sexhörning 25">
            <a:extLst>
              <a:ext uri="{FF2B5EF4-FFF2-40B4-BE49-F238E27FC236}">
                <a16:creationId xmlns:a16="http://schemas.microsoft.com/office/drawing/2014/main" id="{B8978C7A-4326-49E3-BC8F-29F48CB6C78F}"/>
              </a:ext>
            </a:extLst>
          </p:cNvPr>
          <p:cNvSpPr/>
          <p:nvPr/>
        </p:nvSpPr>
        <p:spPr>
          <a:xfrm>
            <a:off x="8297646" y="2983549"/>
            <a:ext cx="3117600" cy="2685600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 dirty="0"/>
          </a:p>
        </p:txBody>
      </p:sp>
      <p:sp>
        <p:nvSpPr>
          <p:cNvPr id="27" name="textruta 26">
            <a:extLst>
              <a:ext uri="{FF2B5EF4-FFF2-40B4-BE49-F238E27FC236}">
                <a16:creationId xmlns:a16="http://schemas.microsoft.com/office/drawing/2014/main" id="{C0305127-CF44-48E9-A98C-95818E877ADA}"/>
              </a:ext>
            </a:extLst>
          </p:cNvPr>
          <p:cNvSpPr txBox="1"/>
          <p:nvPr/>
        </p:nvSpPr>
        <p:spPr>
          <a:xfrm>
            <a:off x="9167888" y="2342382"/>
            <a:ext cx="18806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  <a:buSzPct val="150000"/>
            </a:pPr>
            <a:r>
              <a:rPr lang="sv-SE" sz="1400" dirty="0"/>
              <a:t>Historisk median:</a:t>
            </a:r>
            <a:br>
              <a:rPr lang="sv-SE" sz="1400" dirty="0"/>
            </a:br>
            <a:r>
              <a:rPr lang="sv-SE" sz="1400" dirty="0"/>
              <a:t>308 varsel / månad</a:t>
            </a:r>
          </a:p>
        </p:txBody>
      </p:sp>
      <p:sp>
        <p:nvSpPr>
          <p:cNvPr id="28" name="textruta 27">
            <a:extLst>
              <a:ext uri="{FF2B5EF4-FFF2-40B4-BE49-F238E27FC236}">
                <a16:creationId xmlns:a16="http://schemas.microsoft.com/office/drawing/2014/main" id="{CEC93336-DAFB-4161-8273-83B2D6D5FE93}"/>
              </a:ext>
            </a:extLst>
          </p:cNvPr>
          <p:cNvSpPr txBox="1"/>
          <p:nvPr/>
        </p:nvSpPr>
        <p:spPr>
          <a:xfrm>
            <a:off x="8705738" y="1673573"/>
            <a:ext cx="18301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  <a:buSzPct val="150000"/>
            </a:pPr>
            <a:r>
              <a:rPr lang="sv-SE" sz="1400" dirty="0"/>
              <a:t>Mycket låg nivå</a:t>
            </a:r>
          </a:p>
        </p:txBody>
      </p:sp>
      <p:sp>
        <p:nvSpPr>
          <p:cNvPr id="29" name="textruta 28">
            <a:extLst>
              <a:ext uri="{FF2B5EF4-FFF2-40B4-BE49-F238E27FC236}">
                <a16:creationId xmlns:a16="http://schemas.microsoft.com/office/drawing/2014/main" id="{59D5A811-FB43-4D99-A382-60999E14B5AA}"/>
              </a:ext>
            </a:extLst>
          </p:cNvPr>
          <p:cNvSpPr txBox="1"/>
          <p:nvPr/>
        </p:nvSpPr>
        <p:spPr>
          <a:xfrm>
            <a:off x="8905760" y="2059924"/>
            <a:ext cx="18301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  <a:buSzPct val="150000"/>
            </a:pPr>
            <a:r>
              <a:rPr lang="sv-SE" sz="1400" dirty="0"/>
              <a:t>-40% årsbasis</a:t>
            </a:r>
          </a:p>
        </p:txBody>
      </p:sp>
      <p:sp>
        <p:nvSpPr>
          <p:cNvPr id="30" name="textruta 29">
            <a:extLst>
              <a:ext uri="{FF2B5EF4-FFF2-40B4-BE49-F238E27FC236}">
                <a16:creationId xmlns:a16="http://schemas.microsoft.com/office/drawing/2014/main" id="{053770A0-BD46-45A9-A771-2B25D6205A30}"/>
              </a:ext>
            </a:extLst>
          </p:cNvPr>
          <p:cNvSpPr txBox="1"/>
          <p:nvPr/>
        </p:nvSpPr>
        <p:spPr>
          <a:xfrm>
            <a:off x="1470963" y="4909555"/>
            <a:ext cx="18301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  <a:buClr>
                <a:schemeClr val="tx2"/>
              </a:buClr>
              <a:buSzPct val="150000"/>
            </a:pPr>
            <a:r>
              <a:rPr lang="sv-SE" sz="1400" dirty="0"/>
              <a:t>+89% årsbasis</a:t>
            </a:r>
          </a:p>
        </p:txBody>
      </p:sp>
      <p:graphicFrame>
        <p:nvGraphicFramePr>
          <p:cNvPr id="36" name="Diagram 35">
            <a:extLst>
              <a:ext uri="{FF2B5EF4-FFF2-40B4-BE49-F238E27FC236}">
                <a16:creationId xmlns:a16="http://schemas.microsoft.com/office/drawing/2014/main" id="{3BED373D-1C7A-4E28-A00F-6B1750A9114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46453771"/>
              </p:ext>
            </p:extLst>
          </p:nvPr>
        </p:nvGraphicFramePr>
        <p:xfrm>
          <a:off x="8694844" y="3373679"/>
          <a:ext cx="2340000" cy="15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ruta 2">
            <a:extLst>
              <a:ext uri="{FF2B5EF4-FFF2-40B4-BE49-F238E27FC236}">
                <a16:creationId xmlns:a16="http://schemas.microsoft.com/office/drawing/2014/main" id="{EA094BEA-2028-4D40-BF5D-90DE6FD0F916}"/>
              </a:ext>
            </a:extLst>
          </p:cNvPr>
          <p:cNvSpPr txBox="1"/>
          <p:nvPr/>
        </p:nvSpPr>
        <p:spPr>
          <a:xfrm>
            <a:off x="1207755" y="3904837"/>
            <a:ext cx="22422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>
                <a:solidFill>
                  <a:schemeClr val="bg1"/>
                </a:solidFill>
              </a:rPr>
              <a:t>utveckling över tid</a:t>
            </a:r>
          </a:p>
        </p:txBody>
      </p:sp>
      <p:sp>
        <p:nvSpPr>
          <p:cNvPr id="31" name="textruta 30">
            <a:extLst>
              <a:ext uri="{FF2B5EF4-FFF2-40B4-BE49-F238E27FC236}">
                <a16:creationId xmlns:a16="http://schemas.microsoft.com/office/drawing/2014/main" id="{BB9BD68E-5733-4B6F-A4D5-D4B97D28C1C9}"/>
              </a:ext>
            </a:extLst>
          </p:cNvPr>
          <p:cNvSpPr txBox="1"/>
          <p:nvPr/>
        </p:nvSpPr>
        <p:spPr>
          <a:xfrm>
            <a:off x="8743710" y="5275809"/>
            <a:ext cx="22422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dirty="0">
                <a:solidFill>
                  <a:schemeClr val="bg1"/>
                </a:solidFill>
              </a:rPr>
              <a:t>utveckling över tid</a:t>
            </a:r>
          </a:p>
        </p:txBody>
      </p:sp>
    </p:spTree>
    <p:extLst>
      <p:ext uri="{BB962C8B-B14F-4D97-AF65-F5344CB8AC3E}">
        <p14:creationId xmlns:p14="http://schemas.microsoft.com/office/powerpoint/2010/main" val="35003384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4B6793B-BC57-4F54-96B5-299578B156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ydlig förbättring för regionens besöksnäring</a:t>
            </a:r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32B7B140-EB7C-4628-806A-8DF41E9B7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898049"/>
            <a:ext cx="9866312" cy="246221"/>
          </a:xfrm>
        </p:spPr>
        <p:txBody>
          <a:bodyPr/>
          <a:lstStyle/>
          <a:p>
            <a:r>
              <a:rPr lang="sv-SE" sz="1000" dirty="0"/>
              <a:t>Källa: Innerstaden, Tillväxtverket och Transportsstyrelsen</a:t>
            </a:r>
          </a:p>
        </p:txBody>
      </p:sp>
      <p:grpSp>
        <p:nvGrpSpPr>
          <p:cNvPr id="9" name="Grupp 8">
            <a:extLst>
              <a:ext uri="{FF2B5EF4-FFF2-40B4-BE49-F238E27FC236}">
                <a16:creationId xmlns:a16="http://schemas.microsoft.com/office/drawing/2014/main" id="{EDD5C063-675C-425B-B199-CEDBFB80CFE9}"/>
              </a:ext>
            </a:extLst>
          </p:cNvPr>
          <p:cNvGrpSpPr/>
          <p:nvPr/>
        </p:nvGrpSpPr>
        <p:grpSpPr>
          <a:xfrm>
            <a:off x="8057456" y="1838352"/>
            <a:ext cx="3188202" cy="2749248"/>
            <a:chOff x="7169399" y="1493707"/>
            <a:chExt cx="3188202" cy="2749248"/>
          </a:xfrm>
        </p:grpSpPr>
        <p:sp>
          <p:nvSpPr>
            <p:cNvPr id="10" name="Sexhörning 9">
              <a:extLst>
                <a:ext uri="{FF2B5EF4-FFF2-40B4-BE49-F238E27FC236}">
                  <a16:creationId xmlns:a16="http://schemas.microsoft.com/office/drawing/2014/main" id="{99834282-EF4B-40DC-BCF5-D43E5D946F9D}"/>
                </a:ext>
              </a:extLst>
            </p:cNvPr>
            <p:cNvSpPr/>
            <p:nvPr/>
          </p:nvSpPr>
          <p:spPr>
            <a:xfrm>
              <a:off x="7169399" y="1494505"/>
              <a:ext cx="3188202" cy="2748450"/>
            </a:xfrm>
            <a:prstGeom prst="hexagon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sv-SE" sz="4800" b="1" dirty="0">
                  <a:solidFill>
                    <a:schemeClr val="tx1"/>
                  </a:solidFill>
                  <a:latin typeface="ITC New Baskerville Std" panose="02020602060506020304" pitchFamily="18" charset="0"/>
                  <a:cs typeface="Arial" panose="020B0604020202020204" pitchFamily="34" charset="0"/>
                </a:rPr>
                <a:t>+242</a:t>
              </a:r>
              <a:r>
                <a:rPr lang="sv-SE" sz="3600" b="1" dirty="0">
                  <a:solidFill>
                    <a:schemeClr val="tx1"/>
                  </a:solidFill>
                  <a:latin typeface="ITC New Baskerville Std" panose="02020602060506020304" pitchFamily="18" charset="0"/>
                  <a:cs typeface="Arial" panose="020B0604020202020204" pitchFamily="34" charset="0"/>
                </a:rPr>
                <a:t>%</a:t>
              </a:r>
              <a:endParaRPr lang="sv-SE" sz="4800" b="1" dirty="0">
                <a:solidFill>
                  <a:schemeClr val="tx1"/>
                </a:solidFill>
                <a:latin typeface="ITC New Baskerville Std" panose="02020602060506020304" pitchFamily="18" charset="0"/>
                <a:cs typeface="Arial" panose="020B0604020202020204" pitchFamily="34" charset="0"/>
              </a:endParaRPr>
            </a:p>
            <a:p>
              <a:pPr algn="ctr"/>
              <a:r>
                <a:rPr lang="sv-SE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tal flygpassagerare Landvetter flygplats</a:t>
              </a:r>
            </a:p>
          </p:txBody>
        </p:sp>
        <p:pic>
          <p:nvPicPr>
            <p:cNvPr id="11" name="Bildobjekt 10">
              <a:extLst>
                <a:ext uri="{FF2B5EF4-FFF2-40B4-BE49-F238E27FC236}">
                  <a16:creationId xmlns:a16="http://schemas.microsoft.com/office/drawing/2014/main" id="{B9DE6077-CE68-4294-A022-8279AFEC696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33500" y="1493707"/>
              <a:ext cx="1260000" cy="1260000"/>
            </a:xfrm>
            <a:prstGeom prst="rect">
              <a:avLst/>
            </a:prstGeom>
          </p:spPr>
        </p:pic>
      </p:grpSp>
      <p:grpSp>
        <p:nvGrpSpPr>
          <p:cNvPr id="12" name="Grupp 11">
            <a:extLst>
              <a:ext uri="{FF2B5EF4-FFF2-40B4-BE49-F238E27FC236}">
                <a16:creationId xmlns:a16="http://schemas.microsoft.com/office/drawing/2014/main" id="{8FDC08F1-BE97-49E1-8250-ACB76CD6EA69}"/>
              </a:ext>
            </a:extLst>
          </p:cNvPr>
          <p:cNvGrpSpPr/>
          <p:nvPr/>
        </p:nvGrpSpPr>
        <p:grpSpPr>
          <a:xfrm>
            <a:off x="948143" y="1725504"/>
            <a:ext cx="3188203" cy="2861299"/>
            <a:chOff x="1265443" y="1382454"/>
            <a:chExt cx="3188203" cy="2861299"/>
          </a:xfrm>
        </p:grpSpPr>
        <p:sp>
          <p:nvSpPr>
            <p:cNvPr id="13" name="Sexhörning 12" descr="n">
              <a:extLst>
                <a:ext uri="{FF2B5EF4-FFF2-40B4-BE49-F238E27FC236}">
                  <a16:creationId xmlns:a16="http://schemas.microsoft.com/office/drawing/2014/main" id="{CB66BF37-FC61-499B-BCA9-F4C697D16D78}"/>
                </a:ext>
              </a:extLst>
            </p:cNvPr>
            <p:cNvSpPr/>
            <p:nvPr/>
          </p:nvSpPr>
          <p:spPr>
            <a:xfrm>
              <a:off x="1265443" y="1495302"/>
              <a:ext cx="3188203" cy="2748451"/>
            </a:xfrm>
            <a:prstGeom prst="hex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400" b="1" dirty="0">
                <a:solidFill>
                  <a:schemeClr val="bg1"/>
                </a:solidFill>
                <a:latin typeface="ITC New Baskerville Std" panose="02020602060506020304" pitchFamily="18" charset="0"/>
                <a:cs typeface="Arial" panose="020B0604020202020204" pitchFamily="34" charset="0"/>
              </a:endParaRPr>
            </a:p>
            <a:p>
              <a:pPr algn="ctr"/>
              <a:r>
                <a:rPr lang="sv-SE" sz="4800" b="1" dirty="0">
                  <a:solidFill>
                    <a:schemeClr val="tx1"/>
                  </a:solidFill>
                  <a:latin typeface="ITC New Baskerville Std" panose="02020602060506020304" pitchFamily="18" charset="0"/>
                  <a:cs typeface="Arial" panose="020B0604020202020204" pitchFamily="34" charset="0"/>
                </a:rPr>
                <a:t>+34</a:t>
              </a:r>
              <a:r>
                <a:rPr lang="sv-SE" sz="3600" b="1" dirty="0">
                  <a:solidFill>
                    <a:schemeClr val="tx1"/>
                  </a:solidFill>
                  <a:latin typeface="ITC New Baskerville Std" panose="02020602060506020304" pitchFamily="18" charset="0"/>
                  <a:cs typeface="Arial" panose="020B0604020202020204" pitchFamily="34" charset="0"/>
                </a:rPr>
                <a:t>%</a:t>
              </a:r>
              <a:endParaRPr lang="sv-SE" sz="4800" b="1" dirty="0">
                <a:solidFill>
                  <a:schemeClr val="tx1"/>
                </a:solidFill>
                <a:latin typeface="ITC New Baskerville Std" panose="02020602060506020304" pitchFamily="18" charset="0"/>
                <a:cs typeface="Arial" panose="020B0604020202020204" pitchFamily="34" charset="0"/>
              </a:endParaRPr>
            </a:p>
            <a:p>
              <a:pPr algn="ctr"/>
              <a:r>
                <a:rPr lang="sv-SE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tal passager i Göteborgs innerstad</a:t>
              </a:r>
            </a:p>
          </p:txBody>
        </p:sp>
        <p:pic>
          <p:nvPicPr>
            <p:cNvPr id="14" name="Bildobjekt 13" descr="En bild som visar objekt&#10;&#10;Automatiskt genererad beskrivning">
              <a:extLst>
                <a:ext uri="{FF2B5EF4-FFF2-40B4-BE49-F238E27FC236}">
                  <a16:creationId xmlns:a16="http://schemas.microsoft.com/office/drawing/2014/main" id="{BC3158D5-8040-4F9B-9B73-93DA17F7D4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29544" y="1382454"/>
              <a:ext cx="1260000" cy="1260000"/>
            </a:xfrm>
            <a:prstGeom prst="rect">
              <a:avLst/>
            </a:prstGeom>
          </p:spPr>
        </p:pic>
      </p:grpSp>
      <p:grpSp>
        <p:nvGrpSpPr>
          <p:cNvPr id="15" name="Grupp 14">
            <a:extLst>
              <a:ext uri="{FF2B5EF4-FFF2-40B4-BE49-F238E27FC236}">
                <a16:creationId xmlns:a16="http://schemas.microsoft.com/office/drawing/2014/main" id="{90548995-F734-41BA-95E7-56C6EE75282A}"/>
              </a:ext>
            </a:extLst>
          </p:cNvPr>
          <p:cNvGrpSpPr/>
          <p:nvPr/>
        </p:nvGrpSpPr>
        <p:grpSpPr>
          <a:xfrm>
            <a:off x="4501900" y="1725504"/>
            <a:ext cx="3188202" cy="2861299"/>
            <a:chOff x="4217422" y="1382454"/>
            <a:chExt cx="3188202" cy="2861299"/>
          </a:xfrm>
        </p:grpSpPr>
        <p:sp>
          <p:nvSpPr>
            <p:cNvPr id="16" name="Sexhörning 15">
              <a:extLst>
                <a:ext uri="{FF2B5EF4-FFF2-40B4-BE49-F238E27FC236}">
                  <a16:creationId xmlns:a16="http://schemas.microsoft.com/office/drawing/2014/main" id="{9EF0A5F3-DF94-49B3-97A8-C4BF9FB8635A}"/>
                </a:ext>
              </a:extLst>
            </p:cNvPr>
            <p:cNvSpPr/>
            <p:nvPr/>
          </p:nvSpPr>
          <p:spPr>
            <a:xfrm>
              <a:off x="4217422" y="1495303"/>
              <a:ext cx="3188202" cy="2748450"/>
            </a:xfrm>
            <a:prstGeom prst="hexagon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sv-SE" sz="4800" b="1" dirty="0">
                  <a:solidFill>
                    <a:schemeClr val="tx1"/>
                  </a:solidFill>
                  <a:latin typeface="ITC New Baskerville Std" panose="02020602060506020304" pitchFamily="18" charset="0"/>
                  <a:cs typeface="Arial" panose="020B0604020202020204" pitchFamily="34" charset="0"/>
                </a:rPr>
                <a:t>+119</a:t>
              </a:r>
              <a:r>
                <a:rPr lang="sv-SE" sz="3600" b="1" dirty="0">
                  <a:solidFill>
                    <a:schemeClr val="tx1"/>
                  </a:solidFill>
                  <a:latin typeface="ITC New Baskerville Std" panose="02020602060506020304" pitchFamily="18" charset="0"/>
                  <a:cs typeface="Arial" panose="020B0604020202020204" pitchFamily="34" charset="0"/>
                </a:rPr>
                <a:t>%</a:t>
              </a:r>
              <a:endParaRPr lang="sv-SE" sz="4800" b="1" dirty="0">
                <a:solidFill>
                  <a:schemeClr val="tx1"/>
                </a:solidFill>
                <a:latin typeface="ITC New Baskerville Std" panose="02020602060506020304" pitchFamily="18" charset="0"/>
                <a:cs typeface="Arial" panose="020B0604020202020204" pitchFamily="34" charset="0"/>
              </a:endParaRPr>
            </a:p>
            <a:p>
              <a:pPr algn="ctr"/>
              <a:r>
                <a:rPr lang="sv-SE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tal gästnätter i Göteborgsregionen</a:t>
              </a:r>
            </a:p>
          </p:txBody>
        </p:sp>
        <p:pic>
          <p:nvPicPr>
            <p:cNvPr id="17" name="Bildobjekt 16">
              <a:extLst>
                <a:ext uri="{FF2B5EF4-FFF2-40B4-BE49-F238E27FC236}">
                  <a16:creationId xmlns:a16="http://schemas.microsoft.com/office/drawing/2014/main" id="{650489F5-E82A-4191-9F8F-D2F15C9AC20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42944" y="1382454"/>
              <a:ext cx="1260000" cy="1260000"/>
            </a:xfrm>
            <a:prstGeom prst="rect">
              <a:avLst/>
            </a:prstGeom>
          </p:spPr>
        </p:pic>
      </p:grpSp>
      <p:sp>
        <p:nvSpPr>
          <p:cNvPr id="18" name="textruta 17">
            <a:extLst>
              <a:ext uri="{FF2B5EF4-FFF2-40B4-BE49-F238E27FC236}">
                <a16:creationId xmlns:a16="http://schemas.microsoft.com/office/drawing/2014/main" id="{E820290D-8BAA-430C-982F-D0322D232995}"/>
              </a:ext>
            </a:extLst>
          </p:cNvPr>
          <p:cNvSpPr txBox="1"/>
          <p:nvPr/>
        </p:nvSpPr>
        <p:spPr>
          <a:xfrm>
            <a:off x="2326918" y="2304711"/>
            <a:ext cx="4272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00" dirty="0"/>
              <a:t>city</a:t>
            </a:r>
          </a:p>
        </p:txBody>
      </p:sp>
      <p:sp>
        <p:nvSpPr>
          <p:cNvPr id="19" name="textruta 18">
            <a:extLst>
              <a:ext uri="{FF2B5EF4-FFF2-40B4-BE49-F238E27FC236}">
                <a16:creationId xmlns:a16="http://schemas.microsoft.com/office/drawing/2014/main" id="{B76D9348-5A46-4A8E-B7B1-218396CB155B}"/>
              </a:ext>
            </a:extLst>
          </p:cNvPr>
          <p:cNvSpPr txBox="1"/>
          <p:nvPr/>
        </p:nvSpPr>
        <p:spPr>
          <a:xfrm>
            <a:off x="838200" y="6132825"/>
            <a:ext cx="87305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00" b="1" dirty="0">
                <a:solidFill>
                  <a:schemeClr val="bg1"/>
                </a:solidFill>
              </a:rPr>
              <a:t>Not: </a:t>
            </a:r>
            <a:r>
              <a:rPr lang="sv-SE" sz="1000" dirty="0">
                <a:solidFill>
                  <a:schemeClr val="bg1"/>
                </a:solidFill>
              </a:rPr>
              <a:t>Avser procentuell förändring kvartal 4 2021 jämfört med kvartal 4 2020. 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84081D74-FC15-42F9-8286-766D09EEDFEF}"/>
              </a:ext>
            </a:extLst>
          </p:cNvPr>
          <p:cNvSpPr txBox="1"/>
          <p:nvPr/>
        </p:nvSpPr>
        <p:spPr>
          <a:xfrm>
            <a:off x="8173942" y="190510"/>
            <a:ext cx="38881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dirty="0">
                <a:solidFill>
                  <a:schemeClr val="bg1"/>
                </a:solidFill>
              </a:rPr>
              <a:t>Tolkning av utveckling här ska göras med försiktighet då jämförelseperioden är svag</a:t>
            </a:r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3BD7E4B1-20FC-4D7B-8B30-0426C483E284}"/>
              </a:ext>
            </a:extLst>
          </p:cNvPr>
          <p:cNvSpPr txBox="1"/>
          <p:nvPr/>
        </p:nvSpPr>
        <p:spPr>
          <a:xfrm>
            <a:off x="7690102" y="98177"/>
            <a:ext cx="6929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40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8149024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NdAVXJvXfn1BfT51P62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ENucILuI1MV_9EwYHE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lBrL7f8vqvxoAdb3ACD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ENucILuI1MV_9EwYHE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ENucILuI1MV_9EwYHE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D8URRfBtC07JDGolJ3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MByrUQGXf7hsQOQsox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rg6HggmY_niiEeFo37og"/>
</p:tagLst>
</file>

<file path=ppt/theme/theme1.xml><?xml version="1.0" encoding="utf-8"?>
<a:theme xmlns:a="http://schemas.openxmlformats.org/drawingml/2006/main" name="BRG Basic">
  <a:themeElements>
    <a:clrScheme name="Anpassat 106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7DB094"/>
      </a:accent5>
      <a:accent6>
        <a:srgbClr val="909090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_ht-21.potx" id="{4CC813B7-0131-420A-AC13-7F47EFDA15C9}" vid="{703A1ED2-4ED3-4F9A-B2F6-6A5539DAF1C3}"/>
    </a:ext>
  </a:extLst>
</a:theme>
</file>

<file path=ppt/theme/theme10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RG Blue">
  <a:themeElements>
    <a:clrScheme name="Anpassat 104">
      <a:dk1>
        <a:sysClr val="windowText" lastClr="000000"/>
      </a:dk1>
      <a:lt1>
        <a:sysClr val="window" lastClr="FFFFFF"/>
      </a:lt1>
      <a:dk2>
        <a:srgbClr val="D36248"/>
      </a:dk2>
      <a:lt2>
        <a:srgbClr val="E7B39E"/>
      </a:lt2>
      <a:accent1>
        <a:srgbClr val="C6D7E2"/>
      </a:accent1>
      <a:accent2>
        <a:srgbClr val="8AAEC4"/>
      </a:accent2>
      <a:accent3>
        <a:srgbClr val="6997B3"/>
      </a:accent3>
      <a:accent4>
        <a:srgbClr val="47748F"/>
      </a:accent4>
      <a:accent5>
        <a:srgbClr val="335367"/>
      </a:accent5>
      <a:accent6>
        <a:srgbClr val="223542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_ht-21.potx" id="{4CC813B7-0131-420A-AC13-7F47EFDA15C9}" vid="{EA786A2B-4450-468F-927E-59541173B0B5}"/>
    </a:ext>
  </a:extLst>
</a:theme>
</file>

<file path=ppt/theme/theme3.xml><?xml version="1.0" encoding="utf-8"?>
<a:theme xmlns:a="http://schemas.openxmlformats.org/drawingml/2006/main" name="BRG Green">
  <a:themeElements>
    <a:clrScheme name="Anpassat 101">
      <a:dk1>
        <a:sysClr val="windowText" lastClr="000000"/>
      </a:dk1>
      <a:lt1>
        <a:sysClr val="window" lastClr="FFFFFF"/>
      </a:lt1>
      <a:dk2>
        <a:srgbClr val="D36248"/>
      </a:dk2>
      <a:lt2>
        <a:srgbClr val="E7B39E"/>
      </a:lt2>
      <a:accent1>
        <a:srgbClr val="B7D1C0"/>
      </a:accent1>
      <a:accent2>
        <a:srgbClr val="8FBB9F"/>
      </a:accent2>
      <a:accent3>
        <a:srgbClr val="6AA27E"/>
      </a:accent3>
      <a:accent4>
        <a:srgbClr val="548666"/>
      </a:accent4>
      <a:accent5>
        <a:srgbClr val="2C5A58"/>
      </a:accent5>
      <a:accent6>
        <a:srgbClr val="1B3235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_ht-21.potx" id="{4CC813B7-0131-420A-AC13-7F47EFDA15C9}" vid="{76E03ED2-AD0E-40BA-967E-58F10D1FE5E0}"/>
    </a:ext>
  </a:extLst>
</a:theme>
</file>

<file path=ppt/theme/theme4.xml><?xml version="1.0" encoding="utf-8"?>
<a:theme xmlns:a="http://schemas.openxmlformats.org/drawingml/2006/main" name="BRG Red">
  <a:themeElements>
    <a:clrScheme name="Anpassat 105">
      <a:dk1>
        <a:sysClr val="windowText" lastClr="000000"/>
      </a:dk1>
      <a:lt1>
        <a:sysClr val="window" lastClr="FFFFFF"/>
      </a:lt1>
      <a:dk2>
        <a:srgbClr val="2B4158"/>
      </a:dk2>
      <a:lt2>
        <a:srgbClr val="7899BC"/>
      </a:lt2>
      <a:accent1>
        <a:srgbClr val="EEC7B8"/>
      </a:accent1>
      <a:accent2>
        <a:srgbClr val="E2A38A"/>
      </a:accent2>
      <a:accent3>
        <a:srgbClr val="DB8B6B"/>
      </a:accent3>
      <a:accent4>
        <a:srgbClr val="CD5F33"/>
      </a:accent4>
      <a:accent5>
        <a:srgbClr val="9B4826"/>
      </a:accent5>
      <a:accent6>
        <a:srgbClr val="722B1B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_ht-21.potx" id="{4CC813B7-0131-420A-AC13-7F47EFDA15C9}" vid="{AE4F2A26-7368-48D6-924F-3134D2C448F6}"/>
    </a:ext>
  </a:extLst>
</a:theme>
</file>

<file path=ppt/theme/theme5.xml><?xml version="1.0" encoding="utf-8"?>
<a:theme xmlns:a="http://schemas.openxmlformats.org/drawingml/2006/main" name="BRG Advanced">
  <a:themeElements>
    <a:clrScheme name="BRG final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7DB094"/>
      </a:accent5>
      <a:accent6>
        <a:srgbClr val="909090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_ht-21.potx" id="{4CC813B7-0131-420A-AC13-7F47EFDA15C9}" vid="{44A0E290-4582-4E71-A397-049BB59D78B8}"/>
    </a:ext>
  </a:extLst>
</a:theme>
</file>

<file path=ppt/theme/theme6.xml><?xml version="1.0" encoding="utf-8"?>
<a:theme xmlns:a="http://schemas.openxmlformats.org/drawingml/2006/main" name="BRG Utfallande bild">
  <a:themeElements>
    <a:clrScheme name="BRG final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7DB094"/>
      </a:accent5>
      <a:accent6>
        <a:srgbClr val="909090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_ht-21.potx" id="{4CC813B7-0131-420A-AC13-7F47EFDA15C9}" vid="{199FBB08-A7D2-425E-AC2E-FD945B634BFD}"/>
    </a:ext>
  </a:extLst>
</a:theme>
</file>

<file path=ppt/theme/theme7.xml><?xml version="1.0" encoding="utf-8"?>
<a:theme xmlns:a="http://schemas.openxmlformats.org/drawingml/2006/main" name="1_BRG Advanced">
  <a:themeElements>
    <a:clrScheme name="BRG final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7DB094"/>
      </a:accent5>
      <a:accent6>
        <a:srgbClr val="909090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_maj 2020.potx" id="{6AF5B1D3-C238-4FCE-B116-ED49026FADFA}" vid="{C9A069E0-8793-457E-B922-EBDDB6240942}"/>
    </a:ext>
  </a:extLst>
</a:theme>
</file>

<file path=ppt/theme/theme8.xml><?xml version="1.0" encoding="utf-8"?>
<a:theme xmlns:a="http://schemas.openxmlformats.org/drawingml/2006/main" name="2_BRG Advanced">
  <a:themeElements>
    <a:clrScheme name="BRG final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7DB094"/>
      </a:accent5>
      <a:accent6>
        <a:srgbClr val="909090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_maj 2020.potx" id="{6AF5B1D3-C238-4FCE-B116-ED49026FADFA}" vid="{C9A069E0-8793-457E-B922-EBDDB6240942}"/>
    </a:ext>
  </a:extLst>
</a:theme>
</file>

<file path=ppt/theme/theme9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RG ppt mall</Template>
  <TotalTime>0</TotalTime>
  <Words>842</Words>
  <Application>Microsoft Office PowerPoint</Application>
  <PresentationFormat>Bredbild</PresentationFormat>
  <Paragraphs>254</Paragraphs>
  <Slides>15</Slides>
  <Notes>3</Notes>
  <HiddenSlides>2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8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5</vt:i4>
      </vt:variant>
    </vt:vector>
  </HeadingPairs>
  <TitlesOfParts>
    <vt:vector size="29" baseType="lpstr">
      <vt:lpstr>Arial</vt:lpstr>
      <vt:lpstr>Arial Rounded MT Bold</vt:lpstr>
      <vt:lpstr>Calibri</vt:lpstr>
      <vt:lpstr>Galaxie Polaris Medium</vt:lpstr>
      <vt:lpstr>ITC New Baskerville Std</vt:lpstr>
      <vt:lpstr>BRG Basic</vt:lpstr>
      <vt:lpstr>BRG Blue</vt:lpstr>
      <vt:lpstr>BRG Green</vt:lpstr>
      <vt:lpstr>BRG Red</vt:lpstr>
      <vt:lpstr>BRG Advanced</vt:lpstr>
      <vt:lpstr>BRG Utfallande bild</vt:lpstr>
      <vt:lpstr>1_BRG Advanced</vt:lpstr>
      <vt:lpstr>2_BRG Advanced</vt:lpstr>
      <vt:lpstr>think-cell Slide</vt:lpstr>
      <vt:lpstr>Konjunkturen i Göteborgsregionen</vt:lpstr>
      <vt:lpstr>Hyfsad tillväxt på viktiga marknader framåt…</vt:lpstr>
      <vt:lpstr>God tillväxt väntas för den svenska ekonomin </vt:lpstr>
      <vt:lpstr>Regionens företag upplever fortsatt stark konjunktur</vt:lpstr>
      <vt:lpstr>Normalstarkt läge inom handel och tjänster i regionen</vt:lpstr>
      <vt:lpstr>Fortsatt jobbtillväxt inom både tjänster och handel</vt:lpstr>
      <vt:lpstr>Arbetslösheten fortsätter neråt</vt:lpstr>
      <vt:lpstr>Rekordmånga vakanser och mycket låg nivå på varseltalen </vt:lpstr>
      <vt:lpstr>Tydlig förbättring för regionens besöksnäring</vt:lpstr>
      <vt:lpstr>Tydlig minskning i konkurser och drabbade anställda</vt:lpstr>
      <vt:lpstr>Vad ser vi nu? Fyra snabba om nuläget!</vt:lpstr>
      <vt:lpstr>Några orosmoment som lurar…</vt:lpstr>
      <vt:lpstr>PowerPoint-presentation</vt:lpstr>
      <vt:lpstr>PowerPoint-presentation</vt:lpstr>
      <vt:lpstr>Konjunkturen i Göteborgsregion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Peter Warda</dc:creator>
  <cp:lastModifiedBy>Peter Warda</cp:lastModifiedBy>
  <cp:revision>34</cp:revision>
  <cp:lastPrinted>2019-03-29T12:26:32Z</cp:lastPrinted>
  <dcterms:created xsi:type="dcterms:W3CDTF">2022-01-31T14:43:21Z</dcterms:created>
  <dcterms:modified xsi:type="dcterms:W3CDTF">2022-02-24T08:43:35Z</dcterms:modified>
</cp:coreProperties>
</file>